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347" r:id="rId2"/>
    <p:sldId id="2147477066" r:id="rId3"/>
    <p:sldId id="2147477067" r:id="rId4"/>
    <p:sldId id="2147477072" r:id="rId5"/>
    <p:sldId id="2147477084" r:id="rId6"/>
    <p:sldId id="2147477079" r:id="rId7"/>
    <p:sldId id="2147477071" r:id="rId8"/>
    <p:sldId id="2147477085" r:id="rId9"/>
    <p:sldId id="2147477081" r:id="rId10"/>
    <p:sldId id="2147477082" r:id="rId11"/>
    <p:sldId id="2147477086" r:id="rId12"/>
    <p:sldId id="2147477083" r:id="rId13"/>
    <p:sldId id="2147477089" r:id="rId14"/>
    <p:sldId id="2147476618" r:id="rId15"/>
    <p:sldId id="2147477087" r:id="rId16"/>
    <p:sldId id="2147477088" r:id="rId17"/>
  </p:sldIdLst>
  <p:sldSz cx="12192000" cy="6858000"/>
  <p:notesSz cx="6858000" cy="9144000"/>
  <p:custDataLst>
    <p:tags r:id="rId2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5DEB46BB-3662-4B8D-A401-0D6866084649}">
          <p14:sldIdLst>
            <p14:sldId id="347"/>
            <p14:sldId id="2147477066"/>
            <p14:sldId id="2147477067"/>
            <p14:sldId id="2147477072"/>
            <p14:sldId id="2147477084"/>
            <p14:sldId id="2147477079"/>
            <p14:sldId id="2147477071"/>
            <p14:sldId id="2147477085"/>
            <p14:sldId id="2147477081"/>
            <p14:sldId id="2147477082"/>
            <p14:sldId id="2147477086"/>
            <p14:sldId id="2147477083"/>
            <p14:sldId id="2147477089"/>
            <p14:sldId id="2147476618"/>
          </p14:sldIdLst>
        </p14:section>
        <p14:section name="BackUp" id="{2A786007-CD1E-4D78-A8E3-3990FBD7079A}">
          <p14:sldIdLst>
            <p14:sldId id="2147477087"/>
            <p14:sldId id="214747708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8548928-D8A8-51EC-0DE5-7CCF3CA01912}" name="Dominik Bruckner" initials="DB" userId="S::dominik.bruckner@hydrogenious.net::2e0342a8-557a-4e93-8cc1-107415497138" providerId="AD"/>
  <p188:author id="{021A81E7-A400-84BF-73AB-1467ED00FFA6}" name="Markus Albuscheit" initials="MA" userId="S::markus.albuscheit@hydrogenious.net::4f7fce57-5076-4fe0-a4ff-e69de3a8985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ACAEE19-1F3C-44E9-AA98-7871674C48E4}" v="5571" dt="2023-12-15T08:03:40.483"/>
    <p1510:client id="{91C5B942-0591-43D8-AFFA-0A057FAB48A4}" v="866" dt="2023-12-14T14:44:47.380"/>
    <p1510:client id="{D322BF08-C27D-4E47-917A-7BC9129B055E}" v="2251" dt="2023-12-14T09:53:16.834"/>
    <p1510:client id="{F26D4D96-0AF0-4F89-BF5F-49170E28BE80}" v="1546" dt="2023-12-14T20:40:11.5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25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Relationship Id="rId27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lf Ott" userId="a652a7d6-f33f-4def-9585-086c941a7713" providerId="ADAL" clId="{F26D4D96-0AF0-4F89-BF5F-49170E28BE80}"/>
    <pc:docChg chg="undo custSel modSld sldOrd">
      <pc:chgData name="Ralf Ott" userId="a652a7d6-f33f-4def-9585-086c941a7713" providerId="ADAL" clId="{F26D4D96-0AF0-4F89-BF5F-49170E28BE80}" dt="2023-12-14T20:40:11.514" v="1546" actId="20577"/>
      <pc:docMkLst>
        <pc:docMk/>
      </pc:docMkLst>
      <pc:sldChg chg="modSp mod">
        <pc:chgData name="Ralf Ott" userId="a652a7d6-f33f-4def-9585-086c941a7713" providerId="ADAL" clId="{F26D4D96-0AF0-4F89-BF5F-49170E28BE80}" dt="2023-12-14T14:36:52.421" v="99" actId="20577"/>
        <pc:sldMkLst>
          <pc:docMk/>
          <pc:sldMk cId="3936970580" sldId="2147477066"/>
        </pc:sldMkLst>
        <pc:spChg chg="mod">
          <ac:chgData name="Ralf Ott" userId="a652a7d6-f33f-4def-9585-086c941a7713" providerId="ADAL" clId="{F26D4D96-0AF0-4F89-BF5F-49170E28BE80}" dt="2023-12-14T14:36:52.421" v="99" actId="20577"/>
          <ac:spMkLst>
            <pc:docMk/>
            <pc:sldMk cId="3936970580" sldId="2147477066"/>
            <ac:spMk id="5" creationId="{7DABA9A4-6E6E-6E9B-08E5-7A800A9587BC}"/>
          </ac:spMkLst>
        </pc:spChg>
      </pc:sldChg>
      <pc:sldChg chg="addSp delSp modSp mod modAnim">
        <pc:chgData name="Ralf Ott" userId="a652a7d6-f33f-4def-9585-086c941a7713" providerId="ADAL" clId="{F26D4D96-0AF0-4F89-BF5F-49170E28BE80}" dt="2023-12-14T20:24:51.448" v="986" actId="20577"/>
        <pc:sldMkLst>
          <pc:docMk/>
          <pc:sldMk cId="1310139768" sldId="2147477067"/>
        </pc:sldMkLst>
        <pc:spChg chg="del">
          <ac:chgData name="Ralf Ott" userId="a652a7d6-f33f-4def-9585-086c941a7713" providerId="ADAL" clId="{F26D4D96-0AF0-4F89-BF5F-49170E28BE80}" dt="2023-12-14T20:24:42.435" v="985" actId="478"/>
          <ac:spMkLst>
            <pc:docMk/>
            <pc:sldMk cId="1310139768" sldId="2147477067"/>
            <ac:spMk id="3" creationId="{EAA76DCB-7A6D-0492-5379-E06FD6902EFC}"/>
          </ac:spMkLst>
        </pc:spChg>
        <pc:spChg chg="add mod">
          <ac:chgData name="Ralf Ott" userId="a652a7d6-f33f-4def-9585-086c941a7713" providerId="ADAL" clId="{F26D4D96-0AF0-4F89-BF5F-49170E28BE80}" dt="2023-12-14T20:24:34.017" v="984" actId="20577"/>
          <ac:spMkLst>
            <pc:docMk/>
            <pc:sldMk cId="1310139768" sldId="2147477067"/>
            <ac:spMk id="4" creationId="{94D26D81-5543-6D9E-0E96-C80E2A0538DA}"/>
          </ac:spMkLst>
        </pc:spChg>
        <pc:spChg chg="mod">
          <ac:chgData name="Ralf Ott" userId="a652a7d6-f33f-4def-9585-086c941a7713" providerId="ADAL" clId="{F26D4D96-0AF0-4F89-BF5F-49170E28BE80}" dt="2023-12-14T20:24:51.448" v="986" actId="20577"/>
          <ac:spMkLst>
            <pc:docMk/>
            <pc:sldMk cId="1310139768" sldId="2147477067"/>
            <ac:spMk id="13" creationId="{34A3EE84-EB96-5E45-E2DE-231BCFCC3570}"/>
          </ac:spMkLst>
        </pc:spChg>
      </pc:sldChg>
      <pc:sldChg chg="addSp modSp mod">
        <pc:chgData name="Ralf Ott" userId="a652a7d6-f33f-4def-9585-086c941a7713" providerId="ADAL" clId="{F26D4D96-0AF0-4F89-BF5F-49170E28BE80}" dt="2023-12-14T20:25:42.658" v="1037" actId="20577"/>
        <pc:sldMkLst>
          <pc:docMk/>
          <pc:sldMk cId="276531377" sldId="2147477071"/>
        </pc:sldMkLst>
        <pc:spChg chg="mod">
          <ac:chgData name="Ralf Ott" userId="a652a7d6-f33f-4def-9585-086c941a7713" providerId="ADAL" clId="{F26D4D96-0AF0-4F89-BF5F-49170E28BE80}" dt="2023-12-14T20:25:42.658" v="1037" actId="20577"/>
          <ac:spMkLst>
            <pc:docMk/>
            <pc:sldMk cId="276531377" sldId="2147477071"/>
            <ac:spMk id="5" creationId="{4E544419-D65E-039F-C114-E329B6CA574D}"/>
          </ac:spMkLst>
        </pc:spChg>
        <pc:spChg chg="mod">
          <ac:chgData name="Ralf Ott" userId="a652a7d6-f33f-4def-9585-086c941a7713" providerId="ADAL" clId="{F26D4D96-0AF0-4F89-BF5F-49170E28BE80}" dt="2023-12-14T20:25:23.010" v="988" actId="20577"/>
          <ac:spMkLst>
            <pc:docMk/>
            <pc:sldMk cId="276531377" sldId="2147477071"/>
            <ac:spMk id="7" creationId="{B66E717E-1415-CFC3-BB39-EFBFAAE054C6}"/>
          </ac:spMkLst>
        </pc:spChg>
        <pc:spChg chg="add mod">
          <ac:chgData name="Ralf Ott" userId="a652a7d6-f33f-4def-9585-086c941a7713" providerId="ADAL" clId="{F26D4D96-0AF0-4F89-BF5F-49170E28BE80}" dt="2023-12-14T14:43:08.102" v="226" actId="20577"/>
          <ac:spMkLst>
            <pc:docMk/>
            <pc:sldMk cId="276531377" sldId="2147477071"/>
            <ac:spMk id="13" creationId="{9898B5C2-63F8-72E0-6BCB-672DE2628AE4}"/>
          </ac:spMkLst>
        </pc:spChg>
        <pc:spChg chg="add mod">
          <ac:chgData name="Ralf Ott" userId="a652a7d6-f33f-4def-9585-086c941a7713" providerId="ADAL" clId="{F26D4D96-0AF0-4F89-BF5F-49170E28BE80}" dt="2023-12-14T14:52:51.335" v="314" actId="20577"/>
          <ac:spMkLst>
            <pc:docMk/>
            <pc:sldMk cId="276531377" sldId="2147477071"/>
            <ac:spMk id="16" creationId="{2AB8683C-F711-E6C4-051B-D07D6C37C1C4}"/>
          </ac:spMkLst>
        </pc:spChg>
        <pc:spChg chg="mod">
          <ac:chgData name="Ralf Ott" userId="a652a7d6-f33f-4def-9585-086c941a7713" providerId="ADAL" clId="{F26D4D96-0AF0-4F89-BF5F-49170E28BE80}" dt="2023-12-14T20:20:52.545" v="802" actId="20577"/>
          <ac:spMkLst>
            <pc:docMk/>
            <pc:sldMk cId="276531377" sldId="2147477071"/>
            <ac:spMk id="28" creationId="{6269731B-346C-5F0D-96FA-87F926B16822}"/>
          </ac:spMkLst>
        </pc:spChg>
      </pc:sldChg>
      <pc:sldChg chg="addSp modSp mod">
        <pc:chgData name="Ralf Ott" userId="a652a7d6-f33f-4def-9585-086c941a7713" providerId="ADAL" clId="{F26D4D96-0AF0-4F89-BF5F-49170E28BE80}" dt="2023-12-14T15:21:05.028" v="727" actId="20577"/>
        <pc:sldMkLst>
          <pc:docMk/>
          <pc:sldMk cId="118445397" sldId="2147477072"/>
        </pc:sldMkLst>
        <pc:spChg chg="add mod">
          <ac:chgData name="Ralf Ott" userId="a652a7d6-f33f-4def-9585-086c941a7713" providerId="ADAL" clId="{F26D4D96-0AF0-4F89-BF5F-49170E28BE80}" dt="2023-12-14T15:21:05.028" v="727" actId="20577"/>
          <ac:spMkLst>
            <pc:docMk/>
            <pc:sldMk cId="118445397" sldId="2147477072"/>
            <ac:spMk id="5" creationId="{0BC85056-2BAA-ED53-C35A-EE166EB59A07}"/>
          </ac:spMkLst>
        </pc:spChg>
        <pc:spChg chg="mod">
          <ac:chgData name="Ralf Ott" userId="a652a7d6-f33f-4def-9585-086c941a7713" providerId="ADAL" clId="{F26D4D96-0AF0-4F89-BF5F-49170E28BE80}" dt="2023-12-14T15:16:29.162" v="577" actId="1076"/>
          <ac:spMkLst>
            <pc:docMk/>
            <pc:sldMk cId="118445397" sldId="2147477072"/>
            <ac:spMk id="36" creationId="{786C670B-C597-81BB-035A-9039A239C553}"/>
          </ac:spMkLst>
        </pc:spChg>
        <pc:spChg chg="mod">
          <ac:chgData name="Ralf Ott" userId="a652a7d6-f33f-4def-9585-086c941a7713" providerId="ADAL" clId="{F26D4D96-0AF0-4F89-BF5F-49170E28BE80}" dt="2023-12-14T15:16:29.162" v="577" actId="1076"/>
          <ac:spMkLst>
            <pc:docMk/>
            <pc:sldMk cId="118445397" sldId="2147477072"/>
            <ac:spMk id="38" creationId="{330C0211-B544-AF7E-8167-1611596FAEAA}"/>
          </ac:spMkLst>
        </pc:spChg>
        <pc:spChg chg="mod">
          <ac:chgData name="Ralf Ott" userId="a652a7d6-f33f-4def-9585-086c941a7713" providerId="ADAL" clId="{F26D4D96-0AF0-4F89-BF5F-49170E28BE80}" dt="2023-12-14T15:16:34.519" v="578" actId="1076"/>
          <ac:spMkLst>
            <pc:docMk/>
            <pc:sldMk cId="118445397" sldId="2147477072"/>
            <ac:spMk id="44" creationId="{DCFF7156-FA88-52D0-2CA6-64A1E86DE448}"/>
          </ac:spMkLst>
        </pc:spChg>
        <pc:spChg chg="mod">
          <ac:chgData name="Ralf Ott" userId="a652a7d6-f33f-4def-9585-086c941a7713" providerId="ADAL" clId="{F26D4D96-0AF0-4F89-BF5F-49170E28BE80}" dt="2023-12-14T15:16:34.519" v="578" actId="1076"/>
          <ac:spMkLst>
            <pc:docMk/>
            <pc:sldMk cId="118445397" sldId="2147477072"/>
            <ac:spMk id="46" creationId="{470270C5-4389-23DD-4D69-30E939806B1A}"/>
          </ac:spMkLst>
        </pc:spChg>
      </pc:sldChg>
      <pc:sldChg chg="addSp modSp mod">
        <pc:chgData name="Ralf Ott" userId="a652a7d6-f33f-4def-9585-086c941a7713" providerId="ADAL" clId="{F26D4D96-0AF0-4F89-BF5F-49170E28BE80}" dt="2023-12-14T20:28:24.937" v="1088" actId="20577"/>
        <pc:sldMkLst>
          <pc:docMk/>
          <pc:sldMk cId="3255267388" sldId="2147477079"/>
        </pc:sldMkLst>
        <pc:spChg chg="add mod">
          <ac:chgData name="Ralf Ott" userId="a652a7d6-f33f-4def-9585-086c941a7713" providerId="ADAL" clId="{F26D4D96-0AF0-4F89-BF5F-49170E28BE80}" dt="2023-12-14T14:42:00.688" v="133" actId="20577"/>
          <ac:spMkLst>
            <pc:docMk/>
            <pc:sldMk cId="3255267388" sldId="2147477079"/>
            <ac:spMk id="10" creationId="{D6151016-28E2-EFD8-3A27-FE0B45716FEC}"/>
          </ac:spMkLst>
        </pc:spChg>
        <pc:spChg chg="mod">
          <ac:chgData name="Ralf Ott" userId="a652a7d6-f33f-4def-9585-086c941a7713" providerId="ADAL" clId="{F26D4D96-0AF0-4F89-BF5F-49170E28BE80}" dt="2023-12-14T20:28:24.937" v="1088" actId="20577"/>
          <ac:spMkLst>
            <pc:docMk/>
            <pc:sldMk cId="3255267388" sldId="2147477079"/>
            <ac:spMk id="12" creationId="{90E40DD8-B030-C651-9715-BE7E3ABBFF3D}"/>
          </ac:spMkLst>
        </pc:spChg>
      </pc:sldChg>
      <pc:sldChg chg="addSp modSp mod">
        <pc:chgData name="Ralf Ott" userId="a652a7d6-f33f-4def-9585-086c941a7713" providerId="ADAL" clId="{F26D4D96-0AF0-4F89-BF5F-49170E28BE80}" dt="2023-12-14T20:26:21.402" v="1041" actId="20577"/>
        <pc:sldMkLst>
          <pc:docMk/>
          <pc:sldMk cId="1493155626" sldId="2147477081"/>
        </pc:sldMkLst>
        <pc:spChg chg="mod">
          <ac:chgData name="Ralf Ott" userId="a652a7d6-f33f-4def-9585-086c941a7713" providerId="ADAL" clId="{F26D4D96-0AF0-4F89-BF5F-49170E28BE80}" dt="2023-12-14T20:26:21.402" v="1041" actId="20577"/>
          <ac:spMkLst>
            <pc:docMk/>
            <pc:sldMk cId="1493155626" sldId="2147477081"/>
            <ac:spMk id="6" creationId="{7CB53F27-7AB3-C594-83F2-7F716F6860D3}"/>
          </ac:spMkLst>
        </pc:spChg>
        <pc:spChg chg="add mod">
          <ac:chgData name="Ralf Ott" userId="a652a7d6-f33f-4def-9585-086c941a7713" providerId="ADAL" clId="{F26D4D96-0AF0-4F89-BF5F-49170E28BE80}" dt="2023-12-14T15:14:28.127" v="495" actId="20577"/>
          <ac:spMkLst>
            <pc:docMk/>
            <pc:sldMk cId="1493155626" sldId="2147477081"/>
            <ac:spMk id="40" creationId="{E23A85B9-0C68-A48F-0704-B3F8BC162354}"/>
          </ac:spMkLst>
        </pc:spChg>
        <pc:spChg chg="add mod">
          <ac:chgData name="Ralf Ott" userId="a652a7d6-f33f-4def-9585-086c941a7713" providerId="ADAL" clId="{F26D4D96-0AF0-4F89-BF5F-49170E28BE80}" dt="2023-12-14T15:14:59.287" v="576" actId="20577"/>
          <ac:spMkLst>
            <pc:docMk/>
            <pc:sldMk cId="1493155626" sldId="2147477081"/>
            <ac:spMk id="41" creationId="{227DEF2D-C11C-0F78-1BB0-330AB6F5FDE3}"/>
          </ac:spMkLst>
        </pc:spChg>
      </pc:sldChg>
      <pc:sldChg chg="modSp mod">
        <pc:chgData name="Ralf Ott" userId="a652a7d6-f33f-4def-9585-086c941a7713" providerId="ADAL" clId="{F26D4D96-0AF0-4F89-BF5F-49170E28BE80}" dt="2023-12-14T20:26:59.313" v="1053" actId="20577"/>
        <pc:sldMkLst>
          <pc:docMk/>
          <pc:sldMk cId="264838600" sldId="2147477082"/>
        </pc:sldMkLst>
        <pc:spChg chg="mod">
          <ac:chgData name="Ralf Ott" userId="a652a7d6-f33f-4def-9585-086c941a7713" providerId="ADAL" clId="{F26D4D96-0AF0-4F89-BF5F-49170E28BE80}" dt="2023-12-14T20:26:59.313" v="1053" actId="20577"/>
          <ac:spMkLst>
            <pc:docMk/>
            <pc:sldMk cId="264838600" sldId="2147477082"/>
            <ac:spMk id="6" creationId="{7CB53F27-7AB3-C594-83F2-7F716F6860D3}"/>
          </ac:spMkLst>
        </pc:spChg>
      </pc:sldChg>
      <pc:sldChg chg="addSp modSp mod">
        <pc:chgData name="Ralf Ott" userId="a652a7d6-f33f-4def-9585-086c941a7713" providerId="ADAL" clId="{F26D4D96-0AF0-4F89-BF5F-49170E28BE80}" dt="2023-12-14T20:39:33.884" v="1519" actId="20577"/>
        <pc:sldMkLst>
          <pc:docMk/>
          <pc:sldMk cId="3821923725" sldId="2147477083"/>
        </pc:sldMkLst>
        <pc:spChg chg="add mod">
          <ac:chgData name="Ralf Ott" userId="a652a7d6-f33f-4def-9585-086c941a7713" providerId="ADAL" clId="{F26D4D96-0AF0-4F89-BF5F-49170E28BE80}" dt="2023-12-14T20:39:33.884" v="1519" actId="20577"/>
          <ac:spMkLst>
            <pc:docMk/>
            <pc:sldMk cId="3821923725" sldId="2147477083"/>
            <ac:spMk id="2" creationId="{04065B89-C667-AC88-15E4-9EFD1B00507E}"/>
          </ac:spMkLst>
        </pc:spChg>
      </pc:sldChg>
      <pc:sldChg chg="addSp modSp mod">
        <pc:chgData name="Ralf Ott" userId="a652a7d6-f33f-4def-9585-086c941a7713" providerId="ADAL" clId="{F26D4D96-0AF0-4F89-BF5F-49170E28BE80}" dt="2023-12-14T20:40:11.514" v="1546" actId="20577"/>
        <pc:sldMkLst>
          <pc:docMk/>
          <pc:sldMk cId="928319053" sldId="2147477087"/>
        </pc:sldMkLst>
        <pc:spChg chg="add mod">
          <ac:chgData name="Ralf Ott" userId="a652a7d6-f33f-4def-9585-086c941a7713" providerId="ADAL" clId="{F26D4D96-0AF0-4F89-BF5F-49170E28BE80}" dt="2023-12-14T20:40:11.514" v="1546" actId="20577"/>
          <ac:spMkLst>
            <pc:docMk/>
            <pc:sldMk cId="928319053" sldId="2147477087"/>
            <ac:spMk id="2" creationId="{AA3BF671-3283-AD04-E29E-F66DE392AB90}"/>
          </ac:spMkLst>
        </pc:spChg>
        <pc:spChg chg="mod">
          <ac:chgData name="Ralf Ott" userId="a652a7d6-f33f-4def-9585-086c941a7713" providerId="ADAL" clId="{F26D4D96-0AF0-4F89-BF5F-49170E28BE80}" dt="2023-12-14T20:35:09.472" v="1264" actId="20577"/>
          <ac:spMkLst>
            <pc:docMk/>
            <pc:sldMk cId="928319053" sldId="2147477087"/>
            <ac:spMk id="6" creationId="{7CB53F27-7AB3-C594-83F2-7F716F6860D3}"/>
          </ac:spMkLst>
        </pc:spChg>
        <pc:spChg chg="mod">
          <ac:chgData name="Ralf Ott" userId="a652a7d6-f33f-4def-9585-086c941a7713" providerId="ADAL" clId="{F26D4D96-0AF0-4F89-BF5F-49170E28BE80}" dt="2023-12-14T20:30:45.465" v="1146" actId="20577"/>
          <ac:spMkLst>
            <pc:docMk/>
            <pc:sldMk cId="928319053" sldId="2147477087"/>
            <ac:spMk id="163" creationId="{9EBE5F6F-FD9F-453E-FF39-49F38B8B3228}"/>
          </ac:spMkLst>
        </pc:spChg>
        <pc:spChg chg="mod">
          <ac:chgData name="Ralf Ott" userId="a652a7d6-f33f-4def-9585-086c941a7713" providerId="ADAL" clId="{F26D4D96-0AF0-4F89-BF5F-49170E28BE80}" dt="2023-12-14T20:26:37.815" v="1045" actId="313"/>
          <ac:spMkLst>
            <pc:docMk/>
            <pc:sldMk cId="928319053" sldId="2147477087"/>
            <ac:spMk id="172" creationId="{D018FD46-B33D-B597-42C1-FD58F0EFDE7C}"/>
          </ac:spMkLst>
        </pc:spChg>
      </pc:sldChg>
      <pc:sldChg chg="delSp modSp mod ord modShow">
        <pc:chgData name="Ralf Ott" userId="a652a7d6-f33f-4def-9585-086c941a7713" providerId="ADAL" clId="{F26D4D96-0AF0-4F89-BF5F-49170E28BE80}" dt="2023-12-14T20:24:24.399" v="981"/>
        <pc:sldMkLst>
          <pc:docMk/>
          <pc:sldMk cId="2779461220" sldId="2147477088"/>
        </pc:sldMkLst>
        <pc:spChg chg="mod">
          <ac:chgData name="Ralf Ott" userId="a652a7d6-f33f-4def-9585-086c941a7713" providerId="ADAL" clId="{F26D4D96-0AF0-4F89-BF5F-49170E28BE80}" dt="2023-12-14T20:17:27.731" v="734" actId="20577"/>
          <ac:spMkLst>
            <pc:docMk/>
            <pc:sldMk cId="2779461220" sldId="2147477088"/>
            <ac:spMk id="2" creationId="{B6894EC5-06D8-6E03-50A8-798D57F61E41}"/>
          </ac:spMkLst>
        </pc:spChg>
        <pc:spChg chg="del">
          <ac:chgData name="Ralf Ott" userId="a652a7d6-f33f-4def-9585-086c941a7713" providerId="ADAL" clId="{F26D4D96-0AF0-4F89-BF5F-49170E28BE80}" dt="2023-12-14T20:17:31.255" v="735" actId="478"/>
          <ac:spMkLst>
            <pc:docMk/>
            <pc:sldMk cId="2779461220" sldId="2147477088"/>
            <ac:spMk id="11" creationId="{41B7D5E9-690E-F26B-78AB-A2E09462729D}"/>
          </ac:spMkLst>
        </pc:spChg>
        <pc:graphicFrameChg chg="mod modGraphic">
          <ac:chgData name="Ralf Ott" userId="a652a7d6-f33f-4def-9585-086c941a7713" providerId="ADAL" clId="{F26D4D96-0AF0-4F89-BF5F-49170E28BE80}" dt="2023-12-14T20:23:47.634" v="979" actId="6549"/>
          <ac:graphicFrameMkLst>
            <pc:docMk/>
            <pc:sldMk cId="2779461220" sldId="2147477088"/>
            <ac:graphicFrameMk id="4" creationId="{BD075C5B-9F34-2517-7771-104F8567FD1C}"/>
          </ac:graphicFrameMkLst>
        </pc:graphicFrameChg>
      </pc:sldChg>
      <pc:sldChg chg="addSp modSp mod">
        <pc:chgData name="Ralf Ott" userId="a652a7d6-f33f-4def-9585-086c941a7713" providerId="ADAL" clId="{F26D4D96-0AF0-4F89-BF5F-49170E28BE80}" dt="2023-12-14T20:37:49.091" v="1441" actId="20577"/>
        <pc:sldMkLst>
          <pc:docMk/>
          <pc:sldMk cId="1477140183" sldId="2147477089"/>
        </pc:sldMkLst>
        <pc:spChg chg="add mod">
          <ac:chgData name="Ralf Ott" userId="a652a7d6-f33f-4def-9585-086c941a7713" providerId="ADAL" clId="{F26D4D96-0AF0-4F89-BF5F-49170E28BE80}" dt="2023-12-14T20:37:49.091" v="1441" actId="20577"/>
          <ac:spMkLst>
            <pc:docMk/>
            <pc:sldMk cId="1477140183" sldId="2147477089"/>
            <ac:spMk id="2" creationId="{732D2FE1-4EAE-0181-1DF8-9E41F40E2D5A}"/>
          </ac:spMkLst>
        </pc:spChg>
        <pc:spChg chg="mod">
          <ac:chgData name="Ralf Ott" userId="a652a7d6-f33f-4def-9585-086c941a7713" providerId="ADAL" clId="{F26D4D96-0AF0-4F89-BF5F-49170E28BE80}" dt="2023-12-14T20:18:14.735" v="750" actId="20577"/>
          <ac:spMkLst>
            <pc:docMk/>
            <pc:sldMk cId="1477140183" sldId="2147477089"/>
            <ac:spMk id="14" creationId="{CF15E402-D53B-2B82-48CA-FE580222A599}"/>
          </ac:spMkLst>
        </pc:spChg>
        <pc:spChg chg="mod">
          <ac:chgData name="Ralf Ott" userId="a652a7d6-f33f-4def-9585-086c941a7713" providerId="ADAL" clId="{F26D4D96-0AF0-4F89-BF5F-49170E28BE80}" dt="2023-12-14T20:36:58.956" v="1359" actId="20577"/>
          <ac:spMkLst>
            <pc:docMk/>
            <pc:sldMk cId="1477140183" sldId="2147477089"/>
            <ac:spMk id="28" creationId="{544F5D73-0D29-11C7-4A71-4CE4C96DA27B}"/>
          </ac:spMkLst>
        </pc:spChg>
        <pc:spChg chg="mod">
          <ac:chgData name="Ralf Ott" userId="a652a7d6-f33f-4def-9585-086c941a7713" providerId="ADAL" clId="{F26D4D96-0AF0-4F89-BF5F-49170E28BE80}" dt="2023-12-14T20:36:36.064" v="1331" actId="20577"/>
          <ac:spMkLst>
            <pc:docMk/>
            <pc:sldMk cId="1477140183" sldId="2147477089"/>
            <ac:spMk id="36" creationId="{786C670B-C597-81BB-035A-9039A239C553}"/>
          </ac:spMkLst>
        </pc:spChg>
      </pc:sldChg>
    </pc:docChg>
  </pc:docChgLst>
  <pc:docChgLst>
    <pc:chgData name="Markus Albuscheit" userId="S::markus.albuscheit@hydrogenious.net::4f7fce57-5076-4fe0-a4ff-e69de3a8985e" providerId="AD" clId="Web-{EE26D3FD-1D3C-25CF-433F-2BEBDE8C1312}"/>
    <pc:docChg chg="modSld">
      <pc:chgData name="Markus Albuscheit" userId="S::markus.albuscheit@hydrogenious.net::4f7fce57-5076-4fe0-a4ff-e69de3a8985e" providerId="AD" clId="Web-{EE26D3FD-1D3C-25CF-433F-2BEBDE8C1312}" dt="2023-12-13T09:37:56.029" v="80" actId="20577"/>
      <pc:docMkLst>
        <pc:docMk/>
      </pc:docMkLst>
      <pc:sldChg chg="modSp">
        <pc:chgData name="Markus Albuscheit" userId="S::markus.albuscheit@hydrogenious.net::4f7fce57-5076-4fe0-a4ff-e69de3a8985e" providerId="AD" clId="Web-{EE26D3FD-1D3C-25CF-433F-2BEBDE8C1312}" dt="2023-12-13T09:37:56.029" v="80" actId="20577"/>
        <pc:sldMkLst>
          <pc:docMk/>
          <pc:sldMk cId="2383463063" sldId="393"/>
        </pc:sldMkLst>
        <pc:spChg chg="mod">
          <ac:chgData name="Markus Albuscheit" userId="S::markus.albuscheit@hydrogenious.net::4f7fce57-5076-4fe0-a4ff-e69de3a8985e" providerId="AD" clId="Web-{EE26D3FD-1D3C-25CF-433F-2BEBDE8C1312}" dt="2023-12-13T09:37:56.029" v="80" actId="20577"/>
          <ac:spMkLst>
            <pc:docMk/>
            <pc:sldMk cId="2383463063" sldId="393"/>
            <ac:spMk id="6" creationId="{E87CEC53-C463-D24E-E47B-C9E494949C5E}"/>
          </ac:spMkLst>
        </pc:spChg>
      </pc:sldChg>
      <pc:sldChg chg="modSp">
        <pc:chgData name="Markus Albuscheit" userId="S::markus.albuscheit@hydrogenious.net::4f7fce57-5076-4fe0-a4ff-e69de3a8985e" providerId="AD" clId="Web-{EE26D3FD-1D3C-25CF-433F-2BEBDE8C1312}" dt="2023-12-13T09:36:34.932" v="41" actId="20577"/>
        <pc:sldMkLst>
          <pc:docMk/>
          <pc:sldMk cId="1133615932" sldId="2147477065"/>
        </pc:sldMkLst>
        <pc:spChg chg="mod">
          <ac:chgData name="Markus Albuscheit" userId="S::markus.albuscheit@hydrogenious.net::4f7fce57-5076-4fe0-a4ff-e69de3a8985e" providerId="AD" clId="Web-{EE26D3FD-1D3C-25CF-433F-2BEBDE8C1312}" dt="2023-12-13T09:36:34.932" v="41" actId="20577"/>
          <ac:spMkLst>
            <pc:docMk/>
            <pc:sldMk cId="1133615932" sldId="2147477065"/>
            <ac:spMk id="6" creationId="{A202AE0C-4ADB-D489-7312-ED9DA9C140EF}"/>
          </ac:spMkLst>
        </pc:spChg>
      </pc:sldChg>
    </pc:docChg>
  </pc:docChgLst>
  <pc:docChgLst>
    <pc:chgData name="Dr. Andreas Lehmann" userId="cb062a1d-3708-40c4-96ee-18ac474d3779" providerId="ADAL" clId="{91C5B942-0591-43D8-AFFA-0A057FAB48A4}"/>
    <pc:docChg chg="undo custSel modSld replTag">
      <pc:chgData name="Dr. Andreas Lehmann" userId="cb062a1d-3708-40c4-96ee-18ac474d3779" providerId="ADAL" clId="{91C5B942-0591-43D8-AFFA-0A057FAB48A4}" dt="2023-12-14T14:44:47.380" v="860" actId="20577"/>
      <pc:docMkLst>
        <pc:docMk/>
      </pc:docMkLst>
      <pc:sldChg chg="modSp mod">
        <pc:chgData name="Dr. Andreas Lehmann" userId="cb062a1d-3708-40c4-96ee-18ac474d3779" providerId="ADAL" clId="{91C5B942-0591-43D8-AFFA-0A057FAB48A4}" dt="2023-12-14T14:42:52.008" v="778" actId="1076"/>
        <pc:sldMkLst>
          <pc:docMk/>
          <pc:sldMk cId="276531377" sldId="2147477071"/>
        </pc:sldMkLst>
        <pc:spChg chg="mod">
          <ac:chgData name="Dr. Andreas Lehmann" userId="cb062a1d-3708-40c4-96ee-18ac474d3779" providerId="ADAL" clId="{91C5B942-0591-43D8-AFFA-0A057FAB48A4}" dt="2023-12-14T14:42:52.008" v="778" actId="1076"/>
          <ac:spMkLst>
            <pc:docMk/>
            <pc:sldMk cId="276531377" sldId="2147477071"/>
            <ac:spMk id="4" creationId="{2006E93D-9FC4-EA8D-B072-E2B40E95CD8E}"/>
          </ac:spMkLst>
        </pc:spChg>
      </pc:sldChg>
      <pc:sldChg chg="modSp mod">
        <pc:chgData name="Dr. Andreas Lehmann" userId="cb062a1d-3708-40c4-96ee-18ac474d3779" providerId="ADAL" clId="{91C5B942-0591-43D8-AFFA-0A057FAB48A4}" dt="2023-12-14T14:39:08.315" v="150" actId="1076"/>
        <pc:sldMkLst>
          <pc:docMk/>
          <pc:sldMk cId="118445397" sldId="2147477072"/>
        </pc:sldMkLst>
        <pc:spChg chg="mod">
          <ac:chgData name="Dr. Andreas Lehmann" userId="cb062a1d-3708-40c4-96ee-18ac474d3779" providerId="ADAL" clId="{91C5B942-0591-43D8-AFFA-0A057FAB48A4}" dt="2023-12-14T14:39:08.315" v="150" actId="1076"/>
          <ac:spMkLst>
            <pc:docMk/>
            <pc:sldMk cId="118445397" sldId="2147477072"/>
            <ac:spMk id="4" creationId="{48BD55AD-FE54-99FF-58AB-0FA64C2F60C4}"/>
          </ac:spMkLst>
        </pc:spChg>
      </pc:sldChg>
      <pc:sldChg chg="modSp mod">
        <pc:chgData name="Dr. Andreas Lehmann" userId="cb062a1d-3708-40c4-96ee-18ac474d3779" providerId="ADAL" clId="{91C5B942-0591-43D8-AFFA-0A057FAB48A4}" dt="2023-12-14T14:41:46.148" v="617" actId="20577"/>
        <pc:sldMkLst>
          <pc:docMk/>
          <pc:sldMk cId="3255267388" sldId="2147477079"/>
        </pc:sldMkLst>
        <pc:spChg chg="mod">
          <ac:chgData name="Dr. Andreas Lehmann" userId="cb062a1d-3708-40c4-96ee-18ac474d3779" providerId="ADAL" clId="{91C5B942-0591-43D8-AFFA-0A057FAB48A4}" dt="2023-12-14T14:41:46.148" v="617" actId="20577"/>
          <ac:spMkLst>
            <pc:docMk/>
            <pc:sldMk cId="3255267388" sldId="2147477079"/>
            <ac:spMk id="4" creationId="{14A5A785-0D0A-6118-72C7-2CC91515CA6D}"/>
          </ac:spMkLst>
        </pc:spChg>
      </pc:sldChg>
      <pc:sldChg chg="modSp mod">
        <pc:chgData name="Dr. Andreas Lehmann" userId="cb062a1d-3708-40c4-96ee-18ac474d3779" providerId="ADAL" clId="{91C5B942-0591-43D8-AFFA-0A057FAB48A4}" dt="2023-12-14T14:43:10.615" v="823" actId="313"/>
        <pc:sldMkLst>
          <pc:docMk/>
          <pc:sldMk cId="1493155626" sldId="2147477081"/>
        </pc:sldMkLst>
        <pc:spChg chg="mod">
          <ac:chgData name="Dr. Andreas Lehmann" userId="cb062a1d-3708-40c4-96ee-18ac474d3779" providerId="ADAL" clId="{91C5B942-0591-43D8-AFFA-0A057FAB48A4}" dt="2023-12-14T14:43:10.615" v="823" actId="313"/>
          <ac:spMkLst>
            <pc:docMk/>
            <pc:sldMk cId="1493155626" sldId="2147477081"/>
            <ac:spMk id="4" creationId="{F46E30C4-E15A-4488-43A8-E2F3948DE0AD}"/>
          </ac:spMkLst>
        </pc:spChg>
      </pc:sldChg>
      <pc:sldChg chg="addSp modSp mod">
        <pc:chgData name="Dr. Andreas Lehmann" userId="cb062a1d-3708-40c4-96ee-18ac474d3779" providerId="ADAL" clId="{91C5B942-0591-43D8-AFFA-0A057FAB48A4}" dt="2023-12-14T14:44:47.380" v="860" actId="20577"/>
        <pc:sldMkLst>
          <pc:docMk/>
          <pc:sldMk cId="3821923725" sldId="2147477083"/>
        </pc:sldMkLst>
        <pc:spChg chg="add mod">
          <ac:chgData name="Dr. Andreas Lehmann" userId="cb062a1d-3708-40c4-96ee-18ac474d3779" providerId="ADAL" clId="{91C5B942-0591-43D8-AFFA-0A057FAB48A4}" dt="2023-12-14T14:44:47.380" v="860" actId="20577"/>
          <ac:spMkLst>
            <pc:docMk/>
            <pc:sldMk cId="3821923725" sldId="2147477083"/>
            <ac:spMk id="83" creationId="{5987AD36-8DD6-B7F0-1492-98936955204F}"/>
          </ac:spMkLst>
        </pc:spChg>
      </pc:sldChg>
      <pc:sldChg chg="modSp mod">
        <pc:chgData name="Dr. Andreas Lehmann" userId="cb062a1d-3708-40c4-96ee-18ac474d3779" providerId="ADAL" clId="{91C5B942-0591-43D8-AFFA-0A057FAB48A4}" dt="2023-12-14T14:44:22.025" v="833" actId="20577"/>
        <pc:sldMkLst>
          <pc:docMk/>
          <pc:sldMk cId="3433202753" sldId="2147477086"/>
        </pc:sldMkLst>
        <pc:spChg chg="mod">
          <ac:chgData name="Dr. Andreas Lehmann" userId="cb062a1d-3708-40c4-96ee-18ac474d3779" providerId="ADAL" clId="{91C5B942-0591-43D8-AFFA-0A057FAB48A4}" dt="2023-12-14T14:44:22.025" v="833" actId="20577"/>
          <ac:spMkLst>
            <pc:docMk/>
            <pc:sldMk cId="3433202753" sldId="2147477086"/>
            <ac:spMk id="2" creationId="{8542F44E-DC10-F1D7-DF5E-F5A957A82F1D}"/>
          </ac:spMkLst>
        </pc:spChg>
        <pc:spChg chg="mod">
          <ac:chgData name="Dr. Andreas Lehmann" userId="cb062a1d-3708-40c4-96ee-18ac474d3779" providerId="ADAL" clId="{91C5B942-0591-43D8-AFFA-0A057FAB48A4}" dt="2023-12-14T14:44:17.449" v="825" actId="1076"/>
          <ac:spMkLst>
            <pc:docMk/>
            <pc:sldMk cId="3433202753" sldId="2147477086"/>
            <ac:spMk id="3" creationId="{73AB1F81-0C9C-415C-197E-E690E5397F68}"/>
          </ac:spMkLst>
        </pc:spChg>
      </pc:sldChg>
    </pc:docChg>
  </pc:docChgLst>
  <pc:docChgLst>
    <pc:chgData name="Dominik Bruckner" userId="2e0342a8-557a-4e93-8cc1-107415497138" providerId="ADAL" clId="{D322BF08-C27D-4E47-917A-7BC9129B055E}"/>
    <pc:docChg chg="undo redo custSel addSld delSld modSld sldOrd">
      <pc:chgData name="Dominik Bruckner" userId="2e0342a8-557a-4e93-8cc1-107415497138" providerId="ADAL" clId="{D322BF08-C27D-4E47-917A-7BC9129B055E}" dt="2023-12-14T09:53:16.834" v="2286" actId="20577"/>
      <pc:docMkLst>
        <pc:docMk/>
      </pc:docMkLst>
      <pc:sldChg chg="modSp mod">
        <pc:chgData name="Dominik Bruckner" userId="2e0342a8-557a-4e93-8cc1-107415497138" providerId="ADAL" clId="{D322BF08-C27D-4E47-917A-7BC9129B055E}" dt="2023-12-13T10:11:37.194" v="9" actId="20577"/>
        <pc:sldMkLst>
          <pc:docMk/>
          <pc:sldMk cId="2830480177" sldId="347"/>
        </pc:sldMkLst>
        <pc:spChg chg="mod">
          <ac:chgData name="Dominik Bruckner" userId="2e0342a8-557a-4e93-8cc1-107415497138" providerId="ADAL" clId="{D322BF08-C27D-4E47-917A-7BC9129B055E}" dt="2023-12-13T10:11:37.194" v="9" actId="20577"/>
          <ac:spMkLst>
            <pc:docMk/>
            <pc:sldMk cId="2830480177" sldId="347"/>
            <ac:spMk id="4" creationId="{951005CC-F4D1-8442-5018-BE97D8ED94BD}"/>
          </ac:spMkLst>
        </pc:spChg>
      </pc:sldChg>
      <pc:sldChg chg="addSp delSp mod ord addAnim delAnim">
        <pc:chgData name="Dominik Bruckner" userId="2e0342a8-557a-4e93-8cc1-107415497138" providerId="ADAL" clId="{D322BF08-C27D-4E47-917A-7BC9129B055E}" dt="2023-12-13T10:24:18.851" v="369" actId="478"/>
        <pc:sldMkLst>
          <pc:docMk/>
          <pc:sldMk cId="3011956797" sldId="402"/>
        </pc:sldMkLst>
        <pc:spChg chg="add del">
          <ac:chgData name="Dominik Bruckner" userId="2e0342a8-557a-4e93-8cc1-107415497138" providerId="ADAL" clId="{D322BF08-C27D-4E47-917A-7BC9129B055E}" dt="2023-12-13T10:24:18.851" v="369" actId="478"/>
          <ac:spMkLst>
            <pc:docMk/>
            <pc:sldMk cId="3011956797" sldId="402"/>
            <ac:spMk id="8" creationId="{B151402E-1D20-986B-E651-91FE51F82AD0}"/>
          </ac:spMkLst>
        </pc:spChg>
      </pc:sldChg>
      <pc:sldChg chg="modSp add mod">
        <pc:chgData name="Dominik Bruckner" userId="2e0342a8-557a-4e93-8cc1-107415497138" providerId="ADAL" clId="{D322BF08-C27D-4E47-917A-7BC9129B055E}" dt="2023-12-13T11:05:07.549" v="1939" actId="20577"/>
        <pc:sldMkLst>
          <pc:docMk/>
          <pc:sldMk cId="657117443" sldId="2147476221"/>
        </pc:sldMkLst>
        <pc:spChg chg="mod">
          <ac:chgData name="Dominik Bruckner" userId="2e0342a8-557a-4e93-8cc1-107415497138" providerId="ADAL" clId="{D322BF08-C27D-4E47-917A-7BC9129B055E}" dt="2023-12-13T11:05:07.549" v="1939" actId="20577"/>
          <ac:spMkLst>
            <pc:docMk/>
            <pc:sldMk cId="657117443" sldId="2147476221"/>
            <ac:spMk id="18" creationId="{7837A248-0CFF-459B-AED8-274AB8895E9F}"/>
          </ac:spMkLst>
        </pc:spChg>
      </pc:sldChg>
      <pc:sldChg chg="ord addCm">
        <pc:chgData name="Dominik Bruckner" userId="2e0342a8-557a-4e93-8cc1-107415497138" providerId="ADAL" clId="{D322BF08-C27D-4E47-917A-7BC9129B055E}" dt="2023-12-13T12:58:53.318" v="1963"/>
        <pc:sldMkLst>
          <pc:docMk/>
          <pc:sldMk cId="2227737355" sldId="214747705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Dominik Bruckner" userId="2e0342a8-557a-4e93-8cc1-107415497138" providerId="ADAL" clId="{D322BF08-C27D-4E47-917A-7BC9129B055E}" dt="2023-12-13T12:58:53.318" v="1963"/>
              <pc2:cmMkLst xmlns:pc2="http://schemas.microsoft.com/office/powerpoint/2019/9/main/command">
                <pc:docMk/>
                <pc:sldMk cId="2227737355" sldId="2147477051"/>
                <pc2:cmMk id="{49F89108-DE46-4C52-BD96-DAABA69DA321}"/>
              </pc2:cmMkLst>
            </pc226:cmChg>
          </p:ext>
        </pc:extLst>
      </pc:sldChg>
      <pc:sldChg chg="addSp delSp mod ord">
        <pc:chgData name="Dominik Bruckner" userId="2e0342a8-557a-4e93-8cc1-107415497138" providerId="ADAL" clId="{D322BF08-C27D-4E47-917A-7BC9129B055E}" dt="2023-12-13T11:06:41.695" v="1942"/>
        <pc:sldMkLst>
          <pc:docMk/>
          <pc:sldMk cId="2513784496" sldId="2147477063"/>
        </pc:sldMkLst>
        <pc:picChg chg="add del">
          <ac:chgData name="Dominik Bruckner" userId="2e0342a8-557a-4e93-8cc1-107415497138" providerId="ADAL" clId="{D322BF08-C27D-4E47-917A-7BC9129B055E}" dt="2023-12-13T11:04:02.803" v="1919" actId="21"/>
          <ac:picMkLst>
            <pc:docMk/>
            <pc:sldMk cId="2513784496" sldId="2147477063"/>
            <ac:picMk id="10" creationId="{70F393B9-7DE0-B230-0509-6033C2CA924A}"/>
          </ac:picMkLst>
        </pc:picChg>
      </pc:sldChg>
      <pc:sldChg chg="ord">
        <pc:chgData name="Dominik Bruckner" userId="2e0342a8-557a-4e93-8cc1-107415497138" providerId="ADAL" clId="{D322BF08-C27D-4E47-917A-7BC9129B055E}" dt="2023-12-13T10:18:06.642" v="79"/>
        <pc:sldMkLst>
          <pc:docMk/>
          <pc:sldMk cId="1133615932" sldId="2147477065"/>
        </pc:sldMkLst>
      </pc:sldChg>
      <pc:sldChg chg="addSp delSp modSp new mod modAnim">
        <pc:chgData name="Dominik Bruckner" userId="2e0342a8-557a-4e93-8cc1-107415497138" providerId="ADAL" clId="{D322BF08-C27D-4E47-917A-7BC9129B055E}" dt="2023-12-14T08:40:38.153" v="2227" actId="478"/>
        <pc:sldMkLst>
          <pc:docMk/>
          <pc:sldMk cId="3936970580" sldId="2147477066"/>
        </pc:sldMkLst>
        <pc:spChg chg="mod">
          <ac:chgData name="Dominik Bruckner" userId="2e0342a8-557a-4e93-8cc1-107415497138" providerId="ADAL" clId="{D322BF08-C27D-4E47-917A-7BC9129B055E}" dt="2023-12-14T08:30:14.651" v="2083" actId="122"/>
          <ac:spMkLst>
            <pc:docMk/>
            <pc:sldMk cId="3936970580" sldId="2147477066"/>
            <ac:spMk id="5" creationId="{7DABA9A4-6E6E-6E9B-08E5-7A800A9587BC}"/>
          </ac:spMkLst>
        </pc:spChg>
        <pc:spChg chg="add del mod">
          <ac:chgData name="Dominik Bruckner" userId="2e0342a8-557a-4e93-8cc1-107415497138" providerId="ADAL" clId="{D322BF08-C27D-4E47-917A-7BC9129B055E}" dt="2023-12-14T08:40:35.423" v="2225" actId="478"/>
          <ac:spMkLst>
            <pc:docMk/>
            <pc:sldMk cId="3936970580" sldId="2147477066"/>
            <ac:spMk id="7" creationId="{0A1E8DB4-A421-BEAA-C135-BDE71444A627}"/>
          </ac:spMkLst>
        </pc:spChg>
        <pc:spChg chg="add del mod">
          <ac:chgData name="Dominik Bruckner" userId="2e0342a8-557a-4e93-8cc1-107415497138" providerId="ADAL" clId="{D322BF08-C27D-4E47-917A-7BC9129B055E}" dt="2023-12-14T08:40:36.866" v="2226" actId="478"/>
          <ac:spMkLst>
            <pc:docMk/>
            <pc:sldMk cId="3936970580" sldId="2147477066"/>
            <ac:spMk id="9" creationId="{7B24C511-132D-EB3E-CBF3-84E0C13D783E}"/>
          </ac:spMkLst>
        </pc:spChg>
        <pc:spChg chg="add del mod">
          <ac:chgData name="Dominik Bruckner" userId="2e0342a8-557a-4e93-8cc1-107415497138" providerId="ADAL" clId="{D322BF08-C27D-4E47-917A-7BC9129B055E}" dt="2023-12-14T08:40:38.153" v="2227" actId="478"/>
          <ac:spMkLst>
            <pc:docMk/>
            <pc:sldMk cId="3936970580" sldId="2147477066"/>
            <ac:spMk id="11" creationId="{E8C844D8-BDD6-8962-F033-825AED81DE03}"/>
          </ac:spMkLst>
        </pc:spChg>
        <pc:picChg chg="add mod">
          <ac:chgData name="Dominik Bruckner" userId="2e0342a8-557a-4e93-8cc1-107415497138" providerId="ADAL" clId="{D322BF08-C27D-4E47-917A-7BC9129B055E}" dt="2023-12-13T10:47:36.605" v="1208" actId="1076"/>
          <ac:picMkLst>
            <pc:docMk/>
            <pc:sldMk cId="3936970580" sldId="2147477066"/>
            <ac:picMk id="8" creationId="{0BA5D1E9-F6F1-3B03-D424-056E0A0400B1}"/>
          </ac:picMkLst>
        </pc:picChg>
        <pc:picChg chg="add mod">
          <ac:chgData name="Dominik Bruckner" userId="2e0342a8-557a-4e93-8cc1-107415497138" providerId="ADAL" clId="{D322BF08-C27D-4E47-917A-7BC9129B055E}" dt="2023-12-13T10:47:36.605" v="1208" actId="1076"/>
          <ac:picMkLst>
            <pc:docMk/>
            <pc:sldMk cId="3936970580" sldId="2147477066"/>
            <ac:picMk id="10" creationId="{40B8FFA0-5124-7013-53B2-22C7B68DB87A}"/>
          </ac:picMkLst>
        </pc:picChg>
        <pc:picChg chg="add mod">
          <ac:chgData name="Dominik Bruckner" userId="2e0342a8-557a-4e93-8cc1-107415497138" providerId="ADAL" clId="{D322BF08-C27D-4E47-917A-7BC9129B055E}" dt="2023-12-13T10:47:36.605" v="1208" actId="1076"/>
          <ac:picMkLst>
            <pc:docMk/>
            <pc:sldMk cId="3936970580" sldId="2147477066"/>
            <ac:picMk id="17" creationId="{048B6B70-31AA-63AD-2F59-8299A075BFD4}"/>
          </ac:picMkLst>
        </pc:picChg>
        <pc:cxnChg chg="add del mod">
          <ac:chgData name="Dominik Bruckner" userId="2e0342a8-557a-4e93-8cc1-107415497138" providerId="ADAL" clId="{D322BF08-C27D-4E47-917A-7BC9129B055E}" dt="2023-12-13T10:46:54.726" v="1202" actId="478"/>
          <ac:cxnSpMkLst>
            <pc:docMk/>
            <pc:sldMk cId="3936970580" sldId="2147477066"/>
            <ac:cxnSpMk id="12" creationId="{3D418B09-14EA-3105-9EC6-E96A9EBDE350}"/>
          </ac:cxnSpMkLst>
        </pc:cxnChg>
        <pc:cxnChg chg="add del mod">
          <ac:chgData name="Dominik Bruckner" userId="2e0342a8-557a-4e93-8cc1-107415497138" providerId="ADAL" clId="{D322BF08-C27D-4E47-917A-7BC9129B055E}" dt="2023-12-13T10:15:58.076" v="64"/>
          <ac:cxnSpMkLst>
            <pc:docMk/>
            <pc:sldMk cId="3936970580" sldId="2147477066"/>
            <ac:cxnSpMk id="13" creationId="{2DC6E060-83A7-B87E-3F57-DB39CBB792F3}"/>
          </ac:cxnSpMkLst>
        </pc:cxnChg>
        <pc:cxnChg chg="add del mod">
          <ac:chgData name="Dominik Bruckner" userId="2e0342a8-557a-4e93-8cc1-107415497138" providerId="ADAL" clId="{D322BF08-C27D-4E47-917A-7BC9129B055E}" dt="2023-12-13T10:46:54.726" v="1202" actId="478"/>
          <ac:cxnSpMkLst>
            <pc:docMk/>
            <pc:sldMk cId="3936970580" sldId="2147477066"/>
            <ac:cxnSpMk id="15" creationId="{591114D5-05CD-8E19-4353-3A754E3EB08C}"/>
          </ac:cxnSpMkLst>
        </pc:cxnChg>
      </pc:sldChg>
      <pc:sldChg chg="addSp delSp modSp add mod ord delAnim modAnim">
        <pc:chgData name="Dominik Bruckner" userId="2e0342a8-557a-4e93-8cc1-107415497138" providerId="ADAL" clId="{D322BF08-C27D-4E47-917A-7BC9129B055E}" dt="2023-12-13T10:48:48.211" v="1356" actId="20577"/>
        <pc:sldMkLst>
          <pc:docMk/>
          <pc:sldMk cId="1310139768" sldId="2147477067"/>
        </pc:sldMkLst>
        <pc:spChg chg="mod">
          <ac:chgData name="Dominik Bruckner" userId="2e0342a8-557a-4e93-8cc1-107415497138" providerId="ADAL" clId="{D322BF08-C27D-4E47-917A-7BC9129B055E}" dt="2023-12-13T10:20:48.938" v="115" actId="113"/>
          <ac:spMkLst>
            <pc:docMk/>
            <pc:sldMk cId="1310139768" sldId="2147477067"/>
            <ac:spMk id="2" creationId="{5C697361-A5AE-6152-CBF4-6B50ECCA4127}"/>
          </ac:spMkLst>
        </pc:spChg>
        <pc:spChg chg="del">
          <ac:chgData name="Dominik Bruckner" userId="2e0342a8-557a-4e93-8cc1-107415497138" providerId="ADAL" clId="{D322BF08-C27D-4E47-917A-7BC9129B055E}" dt="2023-12-13T10:19:39.191" v="85" actId="478"/>
          <ac:spMkLst>
            <pc:docMk/>
            <pc:sldMk cId="1310139768" sldId="2147477067"/>
            <ac:spMk id="7" creationId="{171D6E5A-20C3-7054-8EBB-FAD975E842BF}"/>
          </ac:spMkLst>
        </pc:spChg>
        <pc:spChg chg="mod">
          <ac:chgData name="Dominik Bruckner" userId="2e0342a8-557a-4e93-8cc1-107415497138" providerId="ADAL" clId="{D322BF08-C27D-4E47-917A-7BC9129B055E}" dt="2023-12-13T10:23:34.303" v="367" actId="20577"/>
          <ac:spMkLst>
            <pc:docMk/>
            <pc:sldMk cId="1310139768" sldId="2147477067"/>
            <ac:spMk id="10" creationId="{31BBB231-CA48-0342-0095-4D32213D058D}"/>
          </ac:spMkLst>
        </pc:spChg>
        <pc:spChg chg="mod">
          <ac:chgData name="Dominik Bruckner" userId="2e0342a8-557a-4e93-8cc1-107415497138" providerId="ADAL" clId="{D322BF08-C27D-4E47-917A-7BC9129B055E}" dt="2023-12-13T10:22:04.520" v="195" actId="20577"/>
          <ac:spMkLst>
            <pc:docMk/>
            <pc:sldMk cId="1310139768" sldId="2147477067"/>
            <ac:spMk id="13" creationId="{34A3EE84-EB96-5E45-E2DE-231BCFCC3570}"/>
          </ac:spMkLst>
        </pc:spChg>
        <pc:spChg chg="add mod">
          <ac:chgData name="Dominik Bruckner" userId="2e0342a8-557a-4e93-8cc1-107415497138" providerId="ADAL" clId="{D322BF08-C27D-4E47-917A-7BC9129B055E}" dt="2023-12-13T10:23:11.792" v="334" actId="6549"/>
          <ac:spMkLst>
            <pc:docMk/>
            <pc:sldMk cId="1310139768" sldId="2147477067"/>
            <ac:spMk id="15" creationId="{93535922-3085-9BC8-E427-77C8979C6B1D}"/>
          </ac:spMkLst>
        </pc:spChg>
        <pc:spChg chg="mod">
          <ac:chgData name="Dominik Bruckner" userId="2e0342a8-557a-4e93-8cc1-107415497138" providerId="ADAL" clId="{D322BF08-C27D-4E47-917A-7BC9129B055E}" dt="2023-12-13T10:48:48.211" v="1356" actId="20577"/>
          <ac:spMkLst>
            <pc:docMk/>
            <pc:sldMk cId="1310139768" sldId="2147477067"/>
            <ac:spMk id="17" creationId="{3C3E2F1C-A89F-96BD-F40D-C43BF2520C06}"/>
          </ac:spMkLst>
        </pc:spChg>
        <pc:spChg chg="del">
          <ac:chgData name="Dominik Bruckner" userId="2e0342a8-557a-4e93-8cc1-107415497138" providerId="ADAL" clId="{D322BF08-C27D-4E47-917A-7BC9129B055E}" dt="2023-12-13T10:20:40.562" v="113" actId="478"/>
          <ac:spMkLst>
            <pc:docMk/>
            <pc:sldMk cId="1310139768" sldId="2147477067"/>
            <ac:spMk id="19" creationId="{67C43125-5920-EAEB-D17A-0C5845D50CEB}"/>
          </ac:spMkLst>
        </pc:spChg>
        <pc:spChg chg="mod">
          <ac:chgData name="Dominik Bruckner" userId="2e0342a8-557a-4e93-8cc1-107415497138" providerId="ADAL" clId="{D322BF08-C27D-4E47-917A-7BC9129B055E}" dt="2023-12-13T10:48:13.183" v="1251" actId="20577"/>
          <ac:spMkLst>
            <pc:docMk/>
            <pc:sldMk cId="1310139768" sldId="2147477067"/>
            <ac:spMk id="21" creationId="{B1BA1B41-2EAA-6265-E37B-222D42F0B6F6}"/>
          </ac:spMkLst>
        </pc:spChg>
        <pc:grpChg chg="add mod">
          <ac:chgData name="Dominik Bruckner" userId="2e0342a8-557a-4e93-8cc1-107415497138" providerId="ADAL" clId="{D322BF08-C27D-4E47-917A-7BC9129B055E}" dt="2023-12-13T10:21:23.048" v="118" actId="1076"/>
          <ac:grpSpMkLst>
            <pc:docMk/>
            <pc:sldMk cId="1310139768" sldId="2147477067"/>
            <ac:grpSpMk id="9" creationId="{A145BBD4-673C-236F-8790-93D5EC004361}"/>
          </ac:grpSpMkLst>
        </pc:grpChg>
        <pc:grpChg chg="add mod">
          <ac:chgData name="Dominik Bruckner" userId="2e0342a8-557a-4e93-8cc1-107415497138" providerId="ADAL" clId="{D322BF08-C27D-4E47-917A-7BC9129B055E}" dt="2023-12-13T10:21:23.048" v="118" actId="1076"/>
          <ac:grpSpMkLst>
            <pc:docMk/>
            <pc:sldMk cId="1310139768" sldId="2147477067"/>
            <ac:grpSpMk id="12" creationId="{CE69A0B4-8A9A-BC8D-3980-5432B0FEAF5A}"/>
          </ac:grpSpMkLst>
        </pc:grpChg>
        <pc:grpChg chg="add mod">
          <ac:chgData name="Dominik Bruckner" userId="2e0342a8-557a-4e93-8cc1-107415497138" providerId="ADAL" clId="{D322BF08-C27D-4E47-917A-7BC9129B055E}" dt="2023-12-13T10:23:08.886" v="330" actId="1076"/>
          <ac:grpSpMkLst>
            <pc:docMk/>
            <pc:sldMk cId="1310139768" sldId="2147477067"/>
            <ac:grpSpMk id="16" creationId="{1DA1CEAE-6EC8-8BF6-C11E-505DCEDCD5E2}"/>
          </ac:grpSpMkLst>
        </pc:grpChg>
        <pc:grpChg chg="add mod">
          <ac:chgData name="Dominik Bruckner" userId="2e0342a8-557a-4e93-8cc1-107415497138" providerId="ADAL" clId="{D322BF08-C27D-4E47-917A-7BC9129B055E}" dt="2023-12-13T10:23:08.886" v="330" actId="1076"/>
          <ac:grpSpMkLst>
            <pc:docMk/>
            <pc:sldMk cId="1310139768" sldId="2147477067"/>
            <ac:grpSpMk id="20" creationId="{4F0C633C-1260-FC67-3715-B7FCB86EC118}"/>
          </ac:grpSpMkLst>
        </pc:grpChg>
        <pc:graphicFrameChg chg="del">
          <ac:chgData name="Dominik Bruckner" userId="2e0342a8-557a-4e93-8cc1-107415497138" providerId="ADAL" clId="{D322BF08-C27D-4E47-917A-7BC9129B055E}" dt="2023-12-13T10:20:42.525" v="114" actId="478"/>
          <ac:graphicFrameMkLst>
            <pc:docMk/>
            <pc:sldMk cId="1310139768" sldId="2147477067"/>
            <ac:graphicFrameMk id="8" creationId="{A8D3E3D1-697A-4C02-B505-4014E6AE35C4}"/>
          </ac:graphicFrameMkLst>
        </pc:graphicFrameChg>
        <pc:picChg chg="mod">
          <ac:chgData name="Dominik Bruckner" userId="2e0342a8-557a-4e93-8cc1-107415497138" providerId="ADAL" clId="{D322BF08-C27D-4E47-917A-7BC9129B055E}" dt="2023-12-13T10:21:20.430" v="117"/>
          <ac:picMkLst>
            <pc:docMk/>
            <pc:sldMk cId="1310139768" sldId="2147477067"/>
            <ac:picMk id="11" creationId="{FA3CDD72-B650-76A3-7CA4-6DF2685E1485}"/>
          </ac:picMkLst>
        </pc:picChg>
        <pc:picChg chg="mod">
          <ac:chgData name="Dominik Bruckner" userId="2e0342a8-557a-4e93-8cc1-107415497138" providerId="ADAL" clId="{D322BF08-C27D-4E47-917A-7BC9129B055E}" dt="2023-12-13T10:21:20.430" v="117"/>
          <ac:picMkLst>
            <pc:docMk/>
            <pc:sldMk cId="1310139768" sldId="2147477067"/>
            <ac:picMk id="14" creationId="{985BF76F-61D0-C8EE-2E55-0A5D502C1125}"/>
          </ac:picMkLst>
        </pc:picChg>
        <pc:picChg chg="mod">
          <ac:chgData name="Dominik Bruckner" userId="2e0342a8-557a-4e93-8cc1-107415497138" providerId="ADAL" clId="{D322BF08-C27D-4E47-917A-7BC9129B055E}" dt="2023-12-13T10:23:05.733" v="329"/>
          <ac:picMkLst>
            <pc:docMk/>
            <pc:sldMk cId="1310139768" sldId="2147477067"/>
            <ac:picMk id="18" creationId="{13EAFB72-BC28-C0E4-8915-34EC7196A93B}"/>
          </ac:picMkLst>
        </pc:picChg>
        <pc:picChg chg="mod">
          <ac:chgData name="Dominik Bruckner" userId="2e0342a8-557a-4e93-8cc1-107415497138" providerId="ADAL" clId="{D322BF08-C27D-4E47-917A-7BC9129B055E}" dt="2023-12-13T10:23:05.733" v="329"/>
          <ac:picMkLst>
            <pc:docMk/>
            <pc:sldMk cId="1310139768" sldId="2147477067"/>
            <ac:picMk id="22" creationId="{5BE148EF-848E-C145-4E80-927388583C67}"/>
          </ac:picMkLst>
        </pc:picChg>
        <pc:picChg chg="add mod modCrop">
          <ac:chgData name="Dominik Bruckner" userId="2e0342a8-557a-4e93-8cc1-107415497138" providerId="ADAL" clId="{D322BF08-C27D-4E47-917A-7BC9129B055E}" dt="2023-12-13T10:24:48.277" v="372" actId="1076"/>
          <ac:picMkLst>
            <pc:docMk/>
            <pc:sldMk cId="1310139768" sldId="2147477067"/>
            <ac:picMk id="23" creationId="{F44E831A-26BE-CDF6-308F-B9AC9C3DFB56}"/>
          </ac:picMkLst>
        </pc:picChg>
      </pc:sldChg>
      <pc:sldChg chg="new del">
        <pc:chgData name="Dominik Bruckner" userId="2e0342a8-557a-4e93-8cc1-107415497138" providerId="ADAL" clId="{D322BF08-C27D-4E47-917A-7BC9129B055E}" dt="2023-12-13T10:26:39.127" v="495" actId="47"/>
        <pc:sldMkLst>
          <pc:docMk/>
          <pc:sldMk cId="1518775455" sldId="2147477068"/>
        </pc:sldMkLst>
      </pc:sldChg>
      <pc:sldChg chg="add del">
        <pc:chgData name="Dominik Bruckner" userId="2e0342a8-557a-4e93-8cc1-107415497138" providerId="ADAL" clId="{D322BF08-C27D-4E47-917A-7BC9129B055E}" dt="2023-12-13T10:26:12.219" v="493" actId="47"/>
        <pc:sldMkLst>
          <pc:docMk/>
          <pc:sldMk cId="3035963062" sldId="2147477068"/>
        </pc:sldMkLst>
      </pc:sldChg>
      <pc:sldChg chg="addSp delSp modSp add mod ord delAnim addCm modCm">
        <pc:chgData name="Dominik Bruckner" userId="2e0342a8-557a-4e93-8cc1-107415497138" providerId="ADAL" clId="{D322BF08-C27D-4E47-917A-7BC9129B055E}" dt="2023-12-14T09:53:16.834" v="2286" actId="20577"/>
        <pc:sldMkLst>
          <pc:docMk/>
          <pc:sldMk cId="3510813731" sldId="2147477068"/>
        </pc:sldMkLst>
        <pc:spChg chg="mod">
          <ac:chgData name="Dominik Bruckner" userId="2e0342a8-557a-4e93-8cc1-107415497138" providerId="ADAL" clId="{D322BF08-C27D-4E47-917A-7BC9129B055E}" dt="2023-12-14T09:53:16.834" v="2286" actId="20577"/>
          <ac:spMkLst>
            <pc:docMk/>
            <pc:sldMk cId="3510813731" sldId="2147477068"/>
            <ac:spMk id="5" creationId="{CA329B8B-B069-D5CB-5560-9CC0386B88FD}"/>
          </ac:spMkLst>
        </pc:spChg>
        <pc:spChg chg="add mod">
          <ac:chgData name="Dominik Bruckner" userId="2e0342a8-557a-4e93-8cc1-107415497138" providerId="ADAL" clId="{D322BF08-C27D-4E47-917A-7BC9129B055E}" dt="2023-12-13T10:34:22.811" v="719" actId="14100"/>
          <ac:spMkLst>
            <pc:docMk/>
            <pc:sldMk cId="3510813731" sldId="2147477068"/>
            <ac:spMk id="15" creationId="{F06D81C6-C2A7-A038-0F7F-8F8D6FB026B0}"/>
          </ac:spMkLst>
        </pc:spChg>
        <pc:spChg chg="add mod">
          <ac:chgData name="Dominik Bruckner" userId="2e0342a8-557a-4e93-8cc1-107415497138" providerId="ADAL" clId="{D322BF08-C27D-4E47-917A-7BC9129B055E}" dt="2023-12-13T10:31:10.718" v="651" actId="404"/>
          <ac:spMkLst>
            <pc:docMk/>
            <pc:sldMk cId="3510813731" sldId="2147477068"/>
            <ac:spMk id="16" creationId="{73705FD8-05E2-5871-1521-6AC3F864E753}"/>
          </ac:spMkLst>
        </pc:spChg>
        <pc:spChg chg="mod">
          <ac:chgData name="Dominik Bruckner" userId="2e0342a8-557a-4e93-8cc1-107415497138" providerId="ADAL" clId="{D322BF08-C27D-4E47-917A-7BC9129B055E}" dt="2023-12-13T10:32:37.374" v="654"/>
          <ac:spMkLst>
            <pc:docMk/>
            <pc:sldMk cId="3510813731" sldId="2147477068"/>
            <ac:spMk id="18" creationId="{610C8850-7847-C336-E41B-0BF587DBD89F}"/>
          </ac:spMkLst>
        </pc:spChg>
        <pc:spChg chg="mod">
          <ac:chgData name="Dominik Bruckner" userId="2e0342a8-557a-4e93-8cc1-107415497138" providerId="ADAL" clId="{D322BF08-C27D-4E47-917A-7BC9129B055E}" dt="2023-12-13T10:32:48.053" v="669" actId="20577"/>
          <ac:spMkLst>
            <pc:docMk/>
            <pc:sldMk cId="3510813731" sldId="2147477068"/>
            <ac:spMk id="19" creationId="{F86F0771-D09E-A698-661C-61C06CB01432}"/>
          </ac:spMkLst>
        </pc:spChg>
        <pc:spChg chg="mod">
          <ac:chgData name="Dominik Bruckner" userId="2e0342a8-557a-4e93-8cc1-107415497138" providerId="ADAL" clId="{D322BF08-C27D-4E47-917A-7BC9129B055E}" dt="2023-12-13T10:55:52.752" v="1362" actId="164"/>
          <ac:spMkLst>
            <pc:docMk/>
            <pc:sldMk cId="3510813731" sldId="2147477068"/>
            <ac:spMk id="21" creationId="{C0514807-C79A-A2DE-2273-AB6AC7A16B5D}"/>
          </ac:spMkLst>
        </pc:spChg>
        <pc:spChg chg="mod">
          <ac:chgData name="Dominik Bruckner" userId="2e0342a8-557a-4e93-8cc1-107415497138" providerId="ADAL" clId="{D322BF08-C27D-4E47-917A-7BC9129B055E}" dt="2023-12-13T10:55:52.752" v="1362" actId="164"/>
          <ac:spMkLst>
            <pc:docMk/>
            <pc:sldMk cId="3510813731" sldId="2147477068"/>
            <ac:spMk id="22" creationId="{26AEE0AB-5046-EE4D-9B8B-ADE2DB20F54C}"/>
          </ac:spMkLst>
        </pc:spChg>
        <pc:spChg chg="add del mod ord">
          <ac:chgData name="Dominik Bruckner" userId="2e0342a8-557a-4e93-8cc1-107415497138" providerId="ADAL" clId="{D322BF08-C27D-4E47-917A-7BC9129B055E}" dt="2023-12-13T10:57:36.796" v="1510" actId="478"/>
          <ac:spMkLst>
            <pc:docMk/>
            <pc:sldMk cId="3510813731" sldId="2147477068"/>
            <ac:spMk id="23" creationId="{FB60E6CB-1A49-888D-1035-69070E78B15F}"/>
          </ac:spMkLst>
        </pc:spChg>
        <pc:spChg chg="add del mod ord">
          <ac:chgData name="Dominik Bruckner" userId="2e0342a8-557a-4e93-8cc1-107415497138" providerId="ADAL" clId="{D322BF08-C27D-4E47-917A-7BC9129B055E}" dt="2023-12-13T10:59:00.484" v="1703" actId="478"/>
          <ac:spMkLst>
            <pc:docMk/>
            <pc:sldMk cId="3510813731" sldId="2147477068"/>
            <ac:spMk id="24" creationId="{9D216640-C699-F72C-E37F-AB470C5F8DF1}"/>
          </ac:spMkLst>
        </pc:spChg>
        <pc:spChg chg="add del mod ord">
          <ac:chgData name="Dominik Bruckner" userId="2e0342a8-557a-4e93-8cc1-107415497138" providerId="ADAL" clId="{D322BF08-C27D-4E47-917A-7BC9129B055E}" dt="2023-12-13T11:00:41.692" v="1880" actId="478"/>
          <ac:spMkLst>
            <pc:docMk/>
            <pc:sldMk cId="3510813731" sldId="2147477068"/>
            <ac:spMk id="25" creationId="{695064E2-459E-2BC3-EFFC-E620F103F37C}"/>
          </ac:spMkLst>
        </pc:spChg>
        <pc:spChg chg="mod">
          <ac:chgData name="Dominik Bruckner" userId="2e0342a8-557a-4e93-8cc1-107415497138" providerId="ADAL" clId="{D322BF08-C27D-4E47-917A-7BC9129B055E}" dt="2023-12-13T11:07:34.273" v="1961" actId="20577"/>
          <ac:spMkLst>
            <pc:docMk/>
            <pc:sldMk cId="3510813731" sldId="2147477068"/>
            <ac:spMk id="28" creationId="{544F5D73-0D29-11C7-4A71-4CE4C96DA27B}"/>
          </ac:spMkLst>
        </pc:spChg>
        <pc:spChg chg="add mod">
          <ac:chgData name="Dominik Bruckner" userId="2e0342a8-557a-4e93-8cc1-107415497138" providerId="ADAL" clId="{D322BF08-C27D-4E47-917A-7BC9129B055E}" dt="2023-12-14T08:26:02.886" v="1997" actId="20577"/>
          <ac:spMkLst>
            <pc:docMk/>
            <pc:sldMk cId="3510813731" sldId="2147477068"/>
            <ac:spMk id="30" creationId="{E687CA82-968E-BFC6-6D7C-EC1156C5E5ED}"/>
          </ac:spMkLst>
        </pc:spChg>
        <pc:spChg chg="mod">
          <ac:chgData name="Dominik Bruckner" userId="2e0342a8-557a-4e93-8cc1-107415497138" providerId="ADAL" clId="{D322BF08-C27D-4E47-917A-7BC9129B055E}" dt="2023-12-13T10:57:47.210" v="1514"/>
          <ac:spMkLst>
            <pc:docMk/>
            <pc:sldMk cId="3510813731" sldId="2147477068"/>
            <ac:spMk id="32" creationId="{47EEA897-7C2A-83C3-FA6A-BDAAF7F89C9E}"/>
          </ac:spMkLst>
        </pc:spChg>
        <pc:spChg chg="add del mod">
          <ac:chgData name="Dominik Bruckner" userId="2e0342a8-557a-4e93-8cc1-107415497138" providerId="ADAL" clId="{D322BF08-C27D-4E47-917A-7BC9129B055E}" dt="2023-12-13T10:57:52.119" v="1515"/>
          <ac:spMkLst>
            <pc:docMk/>
            <pc:sldMk cId="3510813731" sldId="2147477068"/>
            <ac:spMk id="34" creationId="{AF503629-BABD-C8D5-4C4A-C9C07AC5F1B6}"/>
          </ac:spMkLst>
        </pc:spChg>
        <pc:spChg chg="mod">
          <ac:chgData name="Dominik Bruckner" userId="2e0342a8-557a-4e93-8cc1-107415497138" providerId="ADAL" clId="{D322BF08-C27D-4E47-917A-7BC9129B055E}" dt="2023-12-13T11:01:18.011" v="1903" actId="20577"/>
          <ac:spMkLst>
            <pc:docMk/>
            <pc:sldMk cId="3510813731" sldId="2147477068"/>
            <ac:spMk id="36" creationId="{786C670B-C597-81BB-035A-9039A239C553}"/>
          </ac:spMkLst>
        </pc:spChg>
        <pc:spChg chg="add mod">
          <ac:chgData name="Dominik Bruckner" userId="2e0342a8-557a-4e93-8cc1-107415497138" providerId="ADAL" clId="{D322BF08-C27D-4E47-917A-7BC9129B055E}" dt="2023-12-14T08:26:02.532" v="1996" actId="20577"/>
          <ac:spMkLst>
            <pc:docMk/>
            <pc:sldMk cId="3510813731" sldId="2147477068"/>
            <ac:spMk id="38" creationId="{330C0211-B544-AF7E-8167-1611596FAEAA}"/>
          </ac:spMkLst>
        </pc:spChg>
        <pc:spChg chg="mod">
          <ac:chgData name="Dominik Bruckner" userId="2e0342a8-557a-4e93-8cc1-107415497138" providerId="ADAL" clId="{D322BF08-C27D-4E47-917A-7BC9129B055E}" dt="2023-12-13T10:59:05.709" v="1705"/>
          <ac:spMkLst>
            <pc:docMk/>
            <pc:sldMk cId="3510813731" sldId="2147477068"/>
            <ac:spMk id="40" creationId="{7C2BFD5A-648F-8D74-BF1C-7F539CDEB077}"/>
          </ac:spMkLst>
        </pc:spChg>
        <pc:spChg chg="add del mod">
          <ac:chgData name="Dominik Bruckner" userId="2e0342a8-557a-4e93-8cc1-107415497138" providerId="ADAL" clId="{D322BF08-C27D-4E47-917A-7BC9129B055E}" dt="2023-12-13T10:59:08.509" v="1706"/>
          <ac:spMkLst>
            <pc:docMk/>
            <pc:sldMk cId="3510813731" sldId="2147477068"/>
            <ac:spMk id="42" creationId="{06245DF8-7E07-5E8D-86FF-4A1D734BED40}"/>
          </ac:spMkLst>
        </pc:spChg>
        <pc:spChg chg="mod">
          <ac:chgData name="Dominik Bruckner" userId="2e0342a8-557a-4e93-8cc1-107415497138" providerId="ADAL" clId="{D322BF08-C27D-4E47-917A-7BC9129B055E}" dt="2023-12-13T11:01:02.181" v="1885" actId="12"/>
          <ac:spMkLst>
            <pc:docMk/>
            <pc:sldMk cId="3510813731" sldId="2147477068"/>
            <ac:spMk id="44" creationId="{DCFF7156-FA88-52D0-2CA6-64A1E86DE448}"/>
          </ac:spMkLst>
        </pc:spChg>
        <pc:spChg chg="add mod">
          <ac:chgData name="Dominik Bruckner" userId="2e0342a8-557a-4e93-8cc1-107415497138" providerId="ADAL" clId="{D322BF08-C27D-4E47-917A-7BC9129B055E}" dt="2023-12-13T11:00:45.908" v="1881" actId="1076"/>
          <ac:spMkLst>
            <pc:docMk/>
            <pc:sldMk cId="3510813731" sldId="2147477068"/>
            <ac:spMk id="46" creationId="{470270C5-4389-23DD-4D69-30E939806B1A}"/>
          </ac:spMkLst>
        </pc:spChg>
        <pc:grpChg chg="del">
          <ac:chgData name="Dominik Bruckner" userId="2e0342a8-557a-4e93-8cc1-107415497138" providerId="ADAL" clId="{D322BF08-C27D-4E47-917A-7BC9129B055E}" dt="2023-12-13T10:27:45.994" v="581" actId="478"/>
          <ac:grpSpMkLst>
            <pc:docMk/>
            <pc:sldMk cId="3510813731" sldId="2147477068"/>
            <ac:grpSpMk id="8" creationId="{3FC6119E-4FF4-1B65-F9BA-D5DB40477102}"/>
          </ac:grpSpMkLst>
        </pc:grpChg>
        <pc:grpChg chg="del">
          <ac:chgData name="Dominik Bruckner" userId="2e0342a8-557a-4e93-8cc1-107415497138" providerId="ADAL" clId="{D322BF08-C27D-4E47-917A-7BC9129B055E}" dt="2023-12-13T10:27:46.441" v="582" actId="478"/>
          <ac:grpSpMkLst>
            <pc:docMk/>
            <pc:sldMk cId="3510813731" sldId="2147477068"/>
            <ac:grpSpMk id="11" creationId="{F7C8D8F1-DB1B-D58C-FDF6-80678B0CC19A}"/>
          </ac:grpSpMkLst>
        </pc:grpChg>
        <pc:grpChg chg="add del mod">
          <ac:chgData name="Dominik Bruckner" userId="2e0342a8-557a-4e93-8cc1-107415497138" providerId="ADAL" clId="{D322BF08-C27D-4E47-917A-7BC9129B055E}" dt="2023-12-13T10:57:37.540" v="1511" actId="478"/>
          <ac:grpSpMkLst>
            <pc:docMk/>
            <pc:sldMk cId="3510813731" sldId="2147477068"/>
            <ac:grpSpMk id="14" creationId="{4C36BC98-241C-9B10-1600-5270858DD0DA}"/>
          </ac:grpSpMkLst>
        </pc:grpChg>
        <pc:grpChg chg="add del mod">
          <ac:chgData name="Dominik Bruckner" userId="2e0342a8-557a-4e93-8cc1-107415497138" providerId="ADAL" clId="{D322BF08-C27D-4E47-917A-7BC9129B055E}" dt="2023-12-13T10:59:00.484" v="1703" actId="478"/>
          <ac:grpSpMkLst>
            <pc:docMk/>
            <pc:sldMk cId="3510813731" sldId="2147477068"/>
            <ac:grpSpMk id="17" creationId="{3CF46B05-65D1-42E0-3DEC-B084EB04CF09}"/>
          </ac:grpSpMkLst>
        </pc:grpChg>
        <pc:grpChg chg="add del mod">
          <ac:chgData name="Dominik Bruckner" userId="2e0342a8-557a-4e93-8cc1-107415497138" providerId="ADAL" clId="{D322BF08-C27D-4E47-917A-7BC9129B055E}" dt="2023-12-13T11:00:41.692" v="1880" actId="478"/>
          <ac:grpSpMkLst>
            <pc:docMk/>
            <pc:sldMk cId="3510813731" sldId="2147477068"/>
            <ac:grpSpMk id="20" creationId="{CD828CAF-7191-3701-5E38-0D5BF4964A36}"/>
          </ac:grpSpMkLst>
        </pc:grpChg>
        <pc:grpChg chg="add mod">
          <ac:chgData name="Dominik Bruckner" userId="2e0342a8-557a-4e93-8cc1-107415497138" providerId="ADAL" clId="{D322BF08-C27D-4E47-917A-7BC9129B055E}" dt="2023-12-13T10:55:52.752" v="1362" actId="164"/>
          <ac:grpSpMkLst>
            <pc:docMk/>
            <pc:sldMk cId="3510813731" sldId="2147477068"/>
            <ac:grpSpMk id="26" creationId="{38F1F343-4F23-AC7D-8ACB-A47DB5B21349}"/>
          </ac:grpSpMkLst>
        </pc:grpChg>
        <pc:grpChg chg="add mod">
          <ac:chgData name="Dominik Bruckner" userId="2e0342a8-557a-4e93-8cc1-107415497138" providerId="ADAL" clId="{D322BF08-C27D-4E47-917A-7BC9129B055E}" dt="2023-12-13T12:58:17.079" v="1962" actId="1076"/>
          <ac:grpSpMkLst>
            <pc:docMk/>
            <pc:sldMk cId="3510813731" sldId="2147477068"/>
            <ac:grpSpMk id="27" creationId="{BFA56BFA-0A2E-3FFE-8C6D-0A6D941E53FD}"/>
          </ac:grpSpMkLst>
        </pc:grpChg>
        <pc:grpChg chg="add del mod">
          <ac:chgData name="Dominik Bruckner" userId="2e0342a8-557a-4e93-8cc1-107415497138" providerId="ADAL" clId="{D322BF08-C27D-4E47-917A-7BC9129B055E}" dt="2023-12-13T10:57:52.119" v="1515"/>
          <ac:grpSpMkLst>
            <pc:docMk/>
            <pc:sldMk cId="3510813731" sldId="2147477068"/>
            <ac:grpSpMk id="31" creationId="{116AE74C-9C50-0778-AD22-76FA5539990F}"/>
          </ac:grpSpMkLst>
        </pc:grpChg>
        <pc:grpChg chg="add mod">
          <ac:chgData name="Dominik Bruckner" userId="2e0342a8-557a-4e93-8cc1-107415497138" providerId="ADAL" clId="{D322BF08-C27D-4E47-917A-7BC9129B055E}" dt="2023-12-13T13:02:54.526" v="1966" actId="1076"/>
          <ac:grpSpMkLst>
            <pc:docMk/>
            <pc:sldMk cId="3510813731" sldId="2147477068"/>
            <ac:grpSpMk id="35" creationId="{9E365B1B-7C47-6A2E-4AC3-410ACD935AF4}"/>
          </ac:grpSpMkLst>
        </pc:grpChg>
        <pc:grpChg chg="add del mod">
          <ac:chgData name="Dominik Bruckner" userId="2e0342a8-557a-4e93-8cc1-107415497138" providerId="ADAL" clId="{D322BF08-C27D-4E47-917A-7BC9129B055E}" dt="2023-12-13T10:59:08.509" v="1706"/>
          <ac:grpSpMkLst>
            <pc:docMk/>
            <pc:sldMk cId="3510813731" sldId="2147477068"/>
            <ac:grpSpMk id="39" creationId="{A312C4F3-72EE-2556-C42B-79868328FCCD}"/>
          </ac:grpSpMkLst>
        </pc:grpChg>
        <pc:grpChg chg="add mod">
          <ac:chgData name="Dominik Bruckner" userId="2e0342a8-557a-4e93-8cc1-107415497138" providerId="ADAL" clId="{D322BF08-C27D-4E47-917A-7BC9129B055E}" dt="2023-12-13T11:00:45.908" v="1881" actId="1076"/>
          <ac:grpSpMkLst>
            <pc:docMk/>
            <pc:sldMk cId="3510813731" sldId="2147477068"/>
            <ac:grpSpMk id="43" creationId="{43CBAE9F-A7A0-058E-68E2-060E6FE05AE7}"/>
          </ac:grpSpMkLst>
        </pc:grpChg>
        <pc:graphicFrameChg chg="add del mod modGraphic">
          <ac:chgData name="Dominik Bruckner" userId="2e0342a8-557a-4e93-8cc1-107415497138" providerId="ADAL" clId="{D322BF08-C27D-4E47-917A-7BC9129B055E}" dt="2023-12-13T10:33:03.940" v="680" actId="478"/>
          <ac:graphicFrameMkLst>
            <pc:docMk/>
            <pc:sldMk cId="3510813731" sldId="2147477068"/>
            <ac:graphicFrameMk id="6" creationId="{1914561E-4FB7-C4D8-A73A-7C756D408C3A}"/>
          </ac:graphicFrameMkLst>
        </pc:graphicFrameChg>
        <pc:picChg chg="del">
          <ac:chgData name="Dominik Bruckner" userId="2e0342a8-557a-4e93-8cc1-107415497138" providerId="ADAL" clId="{D322BF08-C27D-4E47-917A-7BC9129B055E}" dt="2023-12-13T10:27:33.126" v="580" actId="478"/>
          <ac:picMkLst>
            <pc:docMk/>
            <pc:sldMk cId="3510813731" sldId="2147477068"/>
            <ac:picMk id="7" creationId="{864ADB9F-7F66-FCF0-1F8A-0723C117B211}"/>
          </ac:picMkLst>
        </pc:picChg>
        <pc:picChg chg="mod">
          <ac:chgData name="Dominik Bruckner" userId="2e0342a8-557a-4e93-8cc1-107415497138" providerId="ADAL" clId="{D322BF08-C27D-4E47-917A-7BC9129B055E}" dt="2023-12-13T10:56:25.646" v="1363"/>
          <ac:picMkLst>
            <pc:docMk/>
            <pc:sldMk cId="3510813731" sldId="2147477068"/>
            <ac:picMk id="29" creationId="{991ECC61-CC20-BB3D-6FB1-38C0155868DE}"/>
          </ac:picMkLst>
        </pc:picChg>
        <pc:picChg chg="mod">
          <ac:chgData name="Dominik Bruckner" userId="2e0342a8-557a-4e93-8cc1-107415497138" providerId="ADAL" clId="{D322BF08-C27D-4E47-917A-7BC9129B055E}" dt="2023-12-13T10:57:47.210" v="1514"/>
          <ac:picMkLst>
            <pc:docMk/>
            <pc:sldMk cId="3510813731" sldId="2147477068"/>
            <ac:picMk id="33" creationId="{402782BE-C888-0DCD-D5B3-555F130D1ED3}"/>
          </ac:picMkLst>
        </pc:picChg>
        <pc:picChg chg="mod">
          <ac:chgData name="Dominik Bruckner" userId="2e0342a8-557a-4e93-8cc1-107415497138" providerId="ADAL" clId="{D322BF08-C27D-4E47-917A-7BC9129B055E}" dt="2023-12-13T10:57:58.002" v="1518"/>
          <ac:picMkLst>
            <pc:docMk/>
            <pc:sldMk cId="3510813731" sldId="2147477068"/>
            <ac:picMk id="37" creationId="{1AF28F47-A3F5-DEEE-A004-1CE75DF30A07}"/>
          </ac:picMkLst>
        </pc:picChg>
        <pc:picChg chg="mod">
          <ac:chgData name="Dominik Bruckner" userId="2e0342a8-557a-4e93-8cc1-107415497138" providerId="ADAL" clId="{D322BF08-C27D-4E47-917A-7BC9129B055E}" dt="2023-12-13T10:59:05.709" v="1705"/>
          <ac:picMkLst>
            <pc:docMk/>
            <pc:sldMk cId="3510813731" sldId="2147477068"/>
            <ac:picMk id="41" creationId="{1AE822FC-C4D2-A277-8531-4320EA3736F2}"/>
          </ac:picMkLst>
        </pc:picChg>
        <pc:picChg chg="mod">
          <ac:chgData name="Dominik Bruckner" userId="2e0342a8-557a-4e93-8cc1-107415497138" providerId="ADAL" clId="{D322BF08-C27D-4E47-917A-7BC9129B055E}" dt="2023-12-13T10:59:09.775" v="1707"/>
          <ac:picMkLst>
            <pc:docMk/>
            <pc:sldMk cId="3510813731" sldId="2147477068"/>
            <ac:picMk id="45" creationId="{5CA8B771-1922-BFBC-B45A-AEBE7D708A75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Dominik Bruckner" userId="2e0342a8-557a-4e93-8cc1-107415497138" providerId="ADAL" clId="{D322BF08-C27D-4E47-917A-7BC9129B055E}" dt="2023-12-13T10:42:17.106" v="1175"/>
              <pc2:cmMkLst xmlns:pc2="http://schemas.microsoft.com/office/powerpoint/2019/9/main/command">
                <pc:docMk/>
                <pc:sldMk cId="3510813731" sldId="2147477068"/>
                <pc2:cmMk id="{513DAE03-D6B8-44DE-8F68-18B47AEDDFEB}"/>
              </pc2:cmMkLst>
            </pc226:cmChg>
            <pc226:cmChg xmlns:pc226="http://schemas.microsoft.com/office/powerpoint/2022/06/main/command" chg="add">
              <pc226:chgData name="Dominik Bruckner" userId="2e0342a8-557a-4e93-8cc1-107415497138" providerId="ADAL" clId="{D322BF08-C27D-4E47-917A-7BC9129B055E}" dt="2023-12-13T11:01:51.053" v="1916"/>
              <pc2:cmMkLst xmlns:pc2="http://schemas.microsoft.com/office/powerpoint/2019/9/main/command">
                <pc:docMk/>
                <pc:sldMk cId="3510813731" sldId="2147477068"/>
                <pc2:cmMk id="{09777D39-3083-4272-9B71-D094A195ABDB}"/>
              </pc2:cmMkLst>
            </pc226:cmChg>
            <pc226:cmChg xmlns:pc226="http://schemas.microsoft.com/office/powerpoint/2022/06/main/command" chg="add mod">
              <pc226:chgData name="Dominik Bruckner" userId="2e0342a8-557a-4e93-8cc1-107415497138" providerId="ADAL" clId="{D322BF08-C27D-4E47-917A-7BC9129B055E}" dt="2023-12-14T09:53:16.834" v="2286" actId="20577"/>
              <pc2:cmMkLst xmlns:pc2="http://schemas.microsoft.com/office/powerpoint/2019/9/main/command">
                <pc:docMk/>
                <pc:sldMk cId="3510813731" sldId="2147477068"/>
                <pc2:cmMk id="{54C85474-88F3-4E22-A554-D679D24110D0}"/>
              </pc2:cmMkLst>
            </pc226:cmChg>
            <pc226:cmChg xmlns:pc226="http://schemas.microsoft.com/office/powerpoint/2022/06/main/command" chg="add">
              <pc226:chgData name="Dominik Bruckner" userId="2e0342a8-557a-4e93-8cc1-107415497138" providerId="ADAL" clId="{D322BF08-C27D-4E47-917A-7BC9129B055E}" dt="2023-12-13T11:06:29.590" v="1940"/>
              <pc2:cmMkLst xmlns:pc2="http://schemas.microsoft.com/office/powerpoint/2019/9/main/command">
                <pc:docMk/>
                <pc:sldMk cId="3510813731" sldId="2147477068"/>
                <pc2:cmMk id="{C006F9F9-35EF-46E2-AB9C-B96ABBB278BD}"/>
              </pc2:cmMkLst>
            </pc226:cmChg>
          </p:ext>
        </pc:extLst>
      </pc:sldChg>
      <pc:sldChg chg="new del">
        <pc:chgData name="Dominik Bruckner" userId="2e0342a8-557a-4e93-8cc1-107415497138" providerId="ADAL" clId="{D322BF08-C27D-4E47-917A-7BC9129B055E}" dt="2023-12-13T10:25:22.091" v="385" actId="47"/>
        <pc:sldMkLst>
          <pc:docMk/>
          <pc:sldMk cId="813563135" sldId="2147477069"/>
        </pc:sldMkLst>
      </pc:sldChg>
      <pc:sldChg chg="addSp modSp new mod">
        <pc:chgData name="Dominik Bruckner" userId="2e0342a8-557a-4e93-8cc1-107415497138" providerId="ADAL" clId="{D322BF08-C27D-4E47-917A-7BC9129B055E}" dt="2023-12-13T13:00:49.920" v="1965" actId="1076"/>
        <pc:sldMkLst>
          <pc:docMk/>
          <pc:sldMk cId="3186864219" sldId="2147477069"/>
        </pc:sldMkLst>
        <pc:spChg chg="mod">
          <ac:chgData name="Dominik Bruckner" userId="2e0342a8-557a-4e93-8cc1-107415497138" providerId="ADAL" clId="{D322BF08-C27D-4E47-917A-7BC9129B055E}" dt="2023-12-13T11:04:10.105" v="1934" actId="20577"/>
          <ac:spMkLst>
            <pc:docMk/>
            <pc:sldMk cId="3186864219" sldId="2147477069"/>
            <ac:spMk id="5" creationId="{4E544419-D65E-039F-C114-E329B6CA574D}"/>
          </ac:spMkLst>
        </pc:spChg>
        <pc:picChg chg="add mod">
          <ac:chgData name="Dominik Bruckner" userId="2e0342a8-557a-4e93-8cc1-107415497138" providerId="ADAL" clId="{D322BF08-C27D-4E47-917A-7BC9129B055E}" dt="2023-12-13T13:00:49.920" v="1965" actId="1076"/>
          <ac:picMkLst>
            <pc:docMk/>
            <pc:sldMk cId="3186864219" sldId="2147477069"/>
            <ac:picMk id="7" creationId="{3BFA7D0A-1C94-F38C-94DE-0B57BF85314A}"/>
          </ac:picMkLst>
        </pc:picChg>
      </pc:sldChg>
      <pc:sldChg chg="modSp mod">
        <pc:chgData name="Dominik Bruckner" userId="2e0342a8-557a-4e93-8cc1-107415497138" providerId="ADAL" clId="{D322BF08-C27D-4E47-917A-7BC9129B055E}" dt="2023-12-14T08:25:17.430" v="1989" actId="20577"/>
        <pc:sldMkLst>
          <pc:docMk/>
          <pc:sldMk cId="276531377" sldId="2147477071"/>
        </pc:sldMkLst>
        <pc:spChg chg="mod">
          <ac:chgData name="Dominik Bruckner" userId="2e0342a8-557a-4e93-8cc1-107415497138" providerId="ADAL" clId="{D322BF08-C27D-4E47-917A-7BC9129B055E}" dt="2023-12-14T08:25:17.430" v="1989" actId="20577"/>
          <ac:spMkLst>
            <pc:docMk/>
            <pc:sldMk cId="276531377" sldId="2147477071"/>
            <ac:spMk id="14" creationId="{243114D7-9AA6-0403-F042-FF03D979227E}"/>
          </ac:spMkLst>
        </pc:spChg>
      </pc:sldChg>
      <pc:sldChg chg="addCm">
        <pc:chgData name="Dominik Bruckner" userId="2e0342a8-557a-4e93-8cc1-107415497138" providerId="ADAL" clId="{D322BF08-C27D-4E47-917A-7BC9129B055E}" dt="2023-12-14T09:14:20.247" v="2277"/>
        <pc:sldMkLst>
          <pc:docMk/>
          <pc:sldMk cId="2808918165" sldId="2147477074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Dominik Bruckner" userId="2e0342a8-557a-4e93-8cc1-107415497138" providerId="ADAL" clId="{D322BF08-C27D-4E47-917A-7BC9129B055E}" dt="2023-12-14T09:14:20.247" v="2277"/>
              <pc2:cmMkLst xmlns:pc2="http://schemas.microsoft.com/office/powerpoint/2019/9/main/command">
                <pc:docMk/>
                <pc:sldMk cId="2808918165" sldId="2147477074"/>
                <pc2:cmMk id="{B6496A67-5F93-45EE-9C0F-96C665B46FBD}"/>
              </pc2:cmMkLst>
            </pc226:cmChg>
          </p:ext>
        </pc:extLst>
      </pc:sldChg>
      <pc:sldChg chg="addSp delSp modSp mod modAnim addCm">
        <pc:chgData name="Dominik Bruckner" userId="2e0342a8-557a-4e93-8cc1-107415497138" providerId="ADAL" clId="{D322BF08-C27D-4E47-917A-7BC9129B055E}" dt="2023-12-14T09:16:19.606" v="2278"/>
        <pc:sldMkLst>
          <pc:docMk/>
          <pc:sldMk cId="294971200" sldId="2147477076"/>
        </pc:sldMkLst>
        <pc:grpChg chg="add mod">
          <ac:chgData name="Dominik Bruckner" userId="2e0342a8-557a-4e93-8cc1-107415497138" providerId="ADAL" clId="{D322BF08-C27D-4E47-917A-7BC9129B055E}" dt="2023-12-14T08:33:05.958" v="2146" actId="1076"/>
          <ac:grpSpMkLst>
            <pc:docMk/>
            <pc:sldMk cId="294971200" sldId="2147477076"/>
            <ac:grpSpMk id="10" creationId="{EF20D02E-C1D6-DDE0-1EA6-795BB4751D3E}"/>
          </ac:grpSpMkLst>
        </pc:grpChg>
        <pc:picChg chg="add del mod">
          <ac:chgData name="Dominik Bruckner" userId="2e0342a8-557a-4e93-8cc1-107415497138" providerId="ADAL" clId="{D322BF08-C27D-4E47-917A-7BC9129B055E}" dt="2023-12-14T08:30:27.709" v="2084" actId="478"/>
          <ac:picMkLst>
            <pc:docMk/>
            <pc:sldMk cId="294971200" sldId="2147477076"/>
            <ac:picMk id="9" creationId="{1F79F950-706E-E469-B78D-C25C2C315F40}"/>
          </ac:picMkLst>
        </pc:picChg>
        <pc:picChg chg="mod">
          <ac:chgData name="Dominik Bruckner" userId="2e0342a8-557a-4e93-8cc1-107415497138" providerId="ADAL" clId="{D322BF08-C27D-4E47-917A-7BC9129B055E}" dt="2023-12-14T08:33:03.141" v="2145"/>
          <ac:picMkLst>
            <pc:docMk/>
            <pc:sldMk cId="294971200" sldId="2147477076"/>
            <ac:picMk id="11" creationId="{498F617E-98AD-1320-654A-0D1665C1B2AE}"/>
          </ac:picMkLst>
        </pc:picChg>
        <pc:picChg chg="mod">
          <ac:chgData name="Dominik Bruckner" userId="2e0342a8-557a-4e93-8cc1-107415497138" providerId="ADAL" clId="{D322BF08-C27D-4E47-917A-7BC9129B055E}" dt="2023-12-14T08:33:03.141" v="2145"/>
          <ac:picMkLst>
            <pc:docMk/>
            <pc:sldMk cId="294971200" sldId="2147477076"/>
            <ac:picMk id="12" creationId="{1B143864-F3BE-7DA5-38B4-50D131D3BB7B}"/>
          </ac:picMkLst>
        </pc:picChg>
        <pc:picChg chg="add mod">
          <ac:chgData name="Dominik Bruckner" userId="2e0342a8-557a-4e93-8cc1-107415497138" providerId="ADAL" clId="{D322BF08-C27D-4E47-917A-7BC9129B055E}" dt="2023-12-14T08:33:28.428" v="2154" actId="1076"/>
          <ac:picMkLst>
            <pc:docMk/>
            <pc:sldMk cId="294971200" sldId="2147477076"/>
            <ac:picMk id="13" creationId="{5905BC56-F8DE-36F8-3EE7-66819B9E5DDE}"/>
          </ac:picMkLst>
        </pc:picChg>
        <pc:picChg chg="add mod">
          <ac:chgData name="Dominik Bruckner" userId="2e0342a8-557a-4e93-8cc1-107415497138" providerId="ADAL" clId="{D322BF08-C27D-4E47-917A-7BC9129B055E}" dt="2023-12-14T08:33:24.847" v="2152" actId="1076"/>
          <ac:picMkLst>
            <pc:docMk/>
            <pc:sldMk cId="294971200" sldId="2147477076"/>
            <ac:picMk id="16" creationId="{170EFF63-ECC7-6053-66A4-1ABF3D6F4C4E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Dominik Bruckner" userId="2e0342a8-557a-4e93-8cc1-107415497138" providerId="ADAL" clId="{D322BF08-C27D-4E47-917A-7BC9129B055E}" dt="2023-12-14T09:16:19.606" v="2278"/>
              <pc2:cmMkLst xmlns:pc2="http://schemas.microsoft.com/office/powerpoint/2019/9/main/command">
                <pc:docMk/>
                <pc:sldMk cId="294971200" sldId="2147477076"/>
                <pc2:cmMk id="{5A559B26-C3A3-4046-BE66-C536E43A2124}"/>
              </pc2:cmMkLst>
            </pc226:cmChg>
          </p:ext>
        </pc:extLst>
      </pc:sldChg>
      <pc:sldChg chg="modSp add del mod">
        <pc:chgData name="Dominik Bruckner" userId="2e0342a8-557a-4e93-8cc1-107415497138" providerId="ADAL" clId="{D322BF08-C27D-4E47-917A-7BC9129B055E}" dt="2023-12-14T08:30:32.956" v="2085" actId="47"/>
        <pc:sldMkLst>
          <pc:docMk/>
          <pc:sldMk cId="230968340" sldId="2147477077"/>
        </pc:sldMkLst>
        <pc:spChg chg="mod">
          <ac:chgData name="Dominik Bruckner" userId="2e0342a8-557a-4e93-8cc1-107415497138" providerId="ADAL" clId="{D322BF08-C27D-4E47-917A-7BC9129B055E}" dt="2023-12-14T08:28:58.771" v="2018" actId="20577"/>
          <ac:spMkLst>
            <pc:docMk/>
            <pc:sldMk cId="230968340" sldId="2147477077"/>
            <ac:spMk id="5" creationId="{4E544419-D65E-039F-C114-E329B6CA574D}"/>
          </ac:spMkLst>
        </pc:spChg>
      </pc:sldChg>
      <pc:sldChg chg="addSp delSp modSp add mod delAnim modAnim">
        <pc:chgData name="Dominik Bruckner" userId="2e0342a8-557a-4e93-8cc1-107415497138" providerId="ADAL" clId="{D322BF08-C27D-4E47-917A-7BC9129B055E}" dt="2023-12-14T08:43:14.238" v="2275" actId="20577"/>
        <pc:sldMkLst>
          <pc:docMk/>
          <pc:sldMk cId="3576104105" sldId="2147477078"/>
        </pc:sldMkLst>
        <pc:spChg chg="mod">
          <ac:chgData name="Dominik Bruckner" userId="2e0342a8-557a-4e93-8cc1-107415497138" providerId="ADAL" clId="{D322BF08-C27D-4E47-917A-7BC9129B055E}" dt="2023-12-14T08:43:14.238" v="2275" actId="20577"/>
          <ac:spMkLst>
            <pc:docMk/>
            <pc:sldMk cId="3576104105" sldId="2147477078"/>
            <ac:spMk id="5" creationId="{7DABA9A4-6E6E-6E9B-08E5-7A800A9587BC}"/>
          </ac:spMkLst>
        </pc:spChg>
        <pc:spChg chg="add del mod">
          <ac:chgData name="Dominik Bruckner" userId="2e0342a8-557a-4e93-8cc1-107415497138" providerId="ADAL" clId="{D322BF08-C27D-4E47-917A-7BC9129B055E}" dt="2023-12-14T08:41:36.737" v="2242" actId="21"/>
          <ac:spMkLst>
            <pc:docMk/>
            <pc:sldMk cId="3576104105" sldId="2147477078"/>
            <ac:spMk id="12" creationId="{0B4725EC-D5F4-09C8-0E01-E0E76EB90A16}"/>
          </ac:spMkLst>
        </pc:spChg>
        <pc:spChg chg="add mod">
          <ac:chgData name="Dominik Bruckner" userId="2e0342a8-557a-4e93-8cc1-107415497138" providerId="ADAL" clId="{D322BF08-C27D-4E47-917A-7BC9129B055E}" dt="2023-12-14T08:42:38.057" v="2258" actId="20577"/>
          <ac:spMkLst>
            <pc:docMk/>
            <pc:sldMk cId="3576104105" sldId="2147477078"/>
            <ac:spMk id="18" creationId="{A9CD75C6-6E47-2F36-8363-5DBDD4D90AF5}"/>
          </ac:spMkLst>
        </pc:spChg>
        <pc:grpChg chg="add del mod">
          <ac:chgData name="Dominik Bruckner" userId="2e0342a8-557a-4e93-8cc1-107415497138" providerId="ADAL" clId="{D322BF08-C27D-4E47-917A-7BC9129B055E}" dt="2023-12-14T08:36:15.445" v="2173" actId="478"/>
          <ac:grpSpMkLst>
            <pc:docMk/>
            <pc:sldMk cId="3576104105" sldId="2147477078"/>
            <ac:grpSpMk id="7" creationId="{89DD10E6-9C61-0D5C-A544-91D169D57C15}"/>
          </ac:grpSpMkLst>
        </pc:grpChg>
        <pc:picChg chg="del mod">
          <ac:chgData name="Dominik Bruckner" userId="2e0342a8-557a-4e93-8cc1-107415497138" providerId="ADAL" clId="{D322BF08-C27D-4E47-917A-7BC9129B055E}" dt="2023-12-14T08:36:16.068" v="2174" actId="478"/>
          <ac:picMkLst>
            <pc:docMk/>
            <pc:sldMk cId="3576104105" sldId="2147477078"/>
            <ac:picMk id="8" creationId="{0BA5D1E9-F6F1-3B03-D424-056E0A0400B1}"/>
          </ac:picMkLst>
        </pc:picChg>
        <pc:picChg chg="add del mod">
          <ac:chgData name="Dominik Bruckner" userId="2e0342a8-557a-4e93-8cc1-107415497138" providerId="ADAL" clId="{D322BF08-C27D-4E47-917A-7BC9129B055E}" dt="2023-12-14T08:35:02.764" v="2155" actId="478"/>
          <ac:picMkLst>
            <pc:docMk/>
            <pc:sldMk cId="3576104105" sldId="2147477078"/>
            <ac:picMk id="9" creationId="{BC7689A4-3903-8BB6-8CA4-525EFD20549B}"/>
          </ac:picMkLst>
        </pc:picChg>
        <pc:picChg chg="mod">
          <ac:chgData name="Dominik Bruckner" userId="2e0342a8-557a-4e93-8cc1-107415497138" providerId="ADAL" clId="{D322BF08-C27D-4E47-917A-7BC9129B055E}" dt="2023-12-14T08:29:42.872" v="2071" actId="164"/>
          <ac:picMkLst>
            <pc:docMk/>
            <pc:sldMk cId="3576104105" sldId="2147477078"/>
            <ac:picMk id="10" creationId="{40B8FFA0-5124-7013-53B2-22C7B68DB87A}"/>
          </ac:picMkLst>
        </pc:picChg>
        <pc:picChg chg="add del mod">
          <ac:chgData name="Dominik Bruckner" userId="2e0342a8-557a-4e93-8cc1-107415497138" providerId="ADAL" clId="{D322BF08-C27D-4E47-917A-7BC9129B055E}" dt="2023-12-14T08:36:26.609" v="2177" actId="478"/>
          <ac:picMkLst>
            <pc:docMk/>
            <pc:sldMk cId="3576104105" sldId="2147477078"/>
            <ac:picMk id="11" creationId="{57D76586-49FC-2E6C-A34F-84C7EA7D4291}"/>
          </ac:picMkLst>
        </pc:picChg>
        <pc:picChg chg="add del mod">
          <ac:chgData name="Dominik Bruckner" userId="2e0342a8-557a-4e93-8cc1-107415497138" providerId="ADAL" clId="{D322BF08-C27D-4E47-917A-7BC9129B055E}" dt="2023-12-14T08:36:04.633" v="2163" actId="478"/>
          <ac:picMkLst>
            <pc:docMk/>
            <pc:sldMk cId="3576104105" sldId="2147477078"/>
            <ac:picMk id="14" creationId="{FAB6B571-6415-B773-DD18-80EB16ECD2AF}"/>
          </ac:picMkLst>
        </pc:picChg>
        <pc:picChg chg="add mod">
          <ac:chgData name="Dominik Bruckner" userId="2e0342a8-557a-4e93-8cc1-107415497138" providerId="ADAL" clId="{D322BF08-C27D-4E47-917A-7BC9129B055E}" dt="2023-12-14T08:37:52.470" v="2185" actId="1076"/>
          <ac:picMkLst>
            <pc:docMk/>
            <pc:sldMk cId="3576104105" sldId="2147477078"/>
            <ac:picMk id="16" creationId="{92C920C5-153B-B4E4-DC81-653A50879493}"/>
          </ac:picMkLst>
        </pc:picChg>
        <pc:picChg chg="mod">
          <ac:chgData name="Dominik Bruckner" userId="2e0342a8-557a-4e93-8cc1-107415497138" providerId="ADAL" clId="{D322BF08-C27D-4E47-917A-7BC9129B055E}" dt="2023-12-14T08:29:42.872" v="2071" actId="164"/>
          <ac:picMkLst>
            <pc:docMk/>
            <pc:sldMk cId="3576104105" sldId="2147477078"/>
            <ac:picMk id="17" creationId="{048B6B70-31AA-63AD-2F59-8299A075BFD4}"/>
          </ac:picMkLst>
        </pc:picChg>
        <pc:picChg chg="del">
          <ac:chgData name="Dominik Bruckner" userId="2e0342a8-557a-4e93-8cc1-107415497138" providerId="ADAL" clId="{D322BF08-C27D-4E47-917A-7BC9129B055E}" dt="2023-12-14T08:30:08.605" v="2082" actId="478"/>
          <ac:picMkLst>
            <pc:docMk/>
            <pc:sldMk cId="3576104105" sldId="2147477078"/>
            <ac:picMk id="23" creationId="{858E54D6-0233-FF7C-80AF-DDD406D36489}"/>
          </ac:picMkLst>
        </pc:picChg>
      </pc:sldChg>
    </pc:docChg>
  </pc:docChgLst>
  <pc:docChgLst>
    <pc:chgData name="Markus Albuscheit" userId="4f7fce57-5076-4fe0-a4ff-e69de3a8985e" providerId="ADAL" clId="{A8FA4690-0697-4B52-97D3-D294990C9BCF}"/>
    <pc:docChg chg="undo redo custSel addSld modSld sldOrd">
      <pc:chgData name="Markus Albuscheit" userId="4f7fce57-5076-4fe0-a4ff-e69de3a8985e" providerId="ADAL" clId="{A8FA4690-0697-4B52-97D3-D294990C9BCF}" dt="2023-12-11T17:36:31.083" v="2717" actId="20577"/>
      <pc:docMkLst>
        <pc:docMk/>
      </pc:docMkLst>
      <pc:sldChg chg="modSp mod">
        <pc:chgData name="Markus Albuscheit" userId="4f7fce57-5076-4fe0-a4ff-e69de3a8985e" providerId="ADAL" clId="{A8FA4690-0697-4B52-97D3-D294990C9BCF}" dt="2023-12-11T16:46:46.655" v="59" actId="21"/>
        <pc:sldMkLst>
          <pc:docMk/>
          <pc:sldMk cId="2383463063" sldId="393"/>
        </pc:sldMkLst>
        <pc:spChg chg="mod">
          <ac:chgData name="Markus Albuscheit" userId="4f7fce57-5076-4fe0-a4ff-e69de3a8985e" providerId="ADAL" clId="{A8FA4690-0697-4B52-97D3-D294990C9BCF}" dt="2023-12-11T16:46:46.655" v="59" actId="21"/>
          <ac:spMkLst>
            <pc:docMk/>
            <pc:sldMk cId="2383463063" sldId="393"/>
            <ac:spMk id="6" creationId="{E87CEC53-C463-D24E-E47B-C9E494949C5E}"/>
          </ac:spMkLst>
        </pc:spChg>
      </pc:sldChg>
      <pc:sldChg chg="ord">
        <pc:chgData name="Markus Albuscheit" userId="4f7fce57-5076-4fe0-a4ff-e69de3a8985e" providerId="ADAL" clId="{A8FA4690-0697-4B52-97D3-D294990C9BCF}" dt="2023-12-11T16:47:15.989" v="72"/>
        <pc:sldMkLst>
          <pc:docMk/>
          <pc:sldMk cId="2316862765" sldId="2147476629"/>
        </pc:sldMkLst>
      </pc:sldChg>
      <pc:sldChg chg="addSp modSp mod">
        <pc:chgData name="Markus Albuscheit" userId="4f7fce57-5076-4fe0-a4ff-e69de3a8985e" providerId="ADAL" clId="{A8FA4690-0697-4B52-97D3-D294990C9BCF}" dt="2023-12-11T17:36:31.083" v="2717" actId="20577"/>
        <pc:sldMkLst>
          <pc:docMk/>
          <pc:sldMk cId="2227737355" sldId="2147477051"/>
        </pc:sldMkLst>
        <pc:spChg chg="add mod">
          <ac:chgData name="Markus Albuscheit" userId="4f7fce57-5076-4fe0-a4ff-e69de3a8985e" providerId="ADAL" clId="{A8FA4690-0697-4B52-97D3-D294990C9BCF}" dt="2023-12-11T17:36:31.083" v="2717" actId="20577"/>
          <ac:spMkLst>
            <pc:docMk/>
            <pc:sldMk cId="2227737355" sldId="2147477051"/>
            <ac:spMk id="8" creationId="{47C35105-0AD0-B64C-375A-724BE2DF0CAC}"/>
          </ac:spMkLst>
        </pc:spChg>
      </pc:sldChg>
      <pc:sldChg chg="addSp modSp mod">
        <pc:chgData name="Markus Albuscheit" userId="4f7fce57-5076-4fe0-a4ff-e69de3a8985e" providerId="ADAL" clId="{A8FA4690-0697-4B52-97D3-D294990C9BCF}" dt="2023-12-11T17:31:15.348" v="2350" actId="20577"/>
        <pc:sldMkLst>
          <pc:docMk/>
          <pc:sldMk cId="2513784496" sldId="2147477063"/>
        </pc:sldMkLst>
        <pc:spChg chg="mod">
          <ac:chgData name="Markus Albuscheit" userId="4f7fce57-5076-4fe0-a4ff-e69de3a8985e" providerId="ADAL" clId="{A8FA4690-0697-4B52-97D3-D294990C9BCF}" dt="2023-12-11T15:31:21.667" v="50" actId="20577"/>
          <ac:spMkLst>
            <pc:docMk/>
            <pc:sldMk cId="2513784496" sldId="2147477063"/>
            <ac:spMk id="4" creationId="{C7C93A5E-F2E1-2DB7-6635-D8ABC0ECE356}"/>
          </ac:spMkLst>
        </pc:spChg>
        <pc:spChg chg="add mod">
          <ac:chgData name="Markus Albuscheit" userId="4f7fce57-5076-4fe0-a4ff-e69de3a8985e" providerId="ADAL" clId="{A8FA4690-0697-4B52-97D3-D294990C9BCF}" dt="2023-12-11T17:31:15.348" v="2350" actId="20577"/>
          <ac:spMkLst>
            <pc:docMk/>
            <pc:sldMk cId="2513784496" sldId="2147477063"/>
            <ac:spMk id="7" creationId="{171D6E5A-20C3-7054-8EBB-FAD975E842BF}"/>
          </ac:spMkLst>
        </pc:spChg>
        <pc:graphicFrameChg chg="mod">
          <ac:chgData name="Markus Albuscheit" userId="4f7fce57-5076-4fe0-a4ff-e69de3a8985e" providerId="ADAL" clId="{A8FA4690-0697-4B52-97D3-D294990C9BCF}" dt="2023-12-11T17:05:24.630" v="897" actId="20577"/>
          <ac:graphicFrameMkLst>
            <pc:docMk/>
            <pc:sldMk cId="2513784496" sldId="2147477063"/>
            <ac:graphicFrameMk id="8" creationId="{A8D3E3D1-697A-4C02-B505-4014E6AE35C4}"/>
          </ac:graphicFrameMkLst>
        </pc:graphicFrameChg>
      </pc:sldChg>
      <pc:sldChg chg="modSp new mod">
        <pc:chgData name="Markus Albuscheit" userId="4f7fce57-5076-4fe0-a4ff-e69de3a8985e" providerId="ADAL" clId="{A8FA4690-0697-4B52-97D3-D294990C9BCF}" dt="2023-12-11T16:48:26.134" v="81" actId="20577"/>
        <pc:sldMkLst>
          <pc:docMk/>
          <pc:sldMk cId="2588567871" sldId="2147477064"/>
        </pc:sldMkLst>
        <pc:spChg chg="mod">
          <ac:chgData name="Markus Albuscheit" userId="4f7fce57-5076-4fe0-a4ff-e69de3a8985e" providerId="ADAL" clId="{A8FA4690-0697-4B52-97D3-D294990C9BCF}" dt="2023-12-11T16:46:56.207" v="65" actId="20577"/>
          <ac:spMkLst>
            <pc:docMk/>
            <pc:sldMk cId="2588567871" sldId="2147477064"/>
            <ac:spMk id="2" creationId="{8B41B946-2C3B-E953-EE99-DDD14760928F}"/>
          </ac:spMkLst>
        </pc:spChg>
        <pc:spChg chg="mod">
          <ac:chgData name="Markus Albuscheit" userId="4f7fce57-5076-4fe0-a4ff-e69de3a8985e" providerId="ADAL" clId="{A8FA4690-0697-4B52-97D3-D294990C9BCF}" dt="2023-12-11T16:48:26.134" v="81" actId="20577"/>
          <ac:spMkLst>
            <pc:docMk/>
            <pc:sldMk cId="2588567871" sldId="2147477064"/>
            <ac:spMk id="3" creationId="{390F13AC-9083-172F-C095-B1CC38271FE0}"/>
          </ac:spMkLst>
        </pc:spChg>
      </pc:sldChg>
      <pc:sldChg chg="addSp delSp modSp new mod modClrScheme chgLayout">
        <pc:chgData name="Markus Albuscheit" userId="4f7fce57-5076-4fe0-a4ff-e69de3a8985e" providerId="ADAL" clId="{A8FA4690-0697-4B52-97D3-D294990C9BCF}" dt="2023-12-11T17:00:50.257" v="470" actId="6549"/>
        <pc:sldMkLst>
          <pc:docMk/>
          <pc:sldMk cId="1133615932" sldId="2147477065"/>
        </pc:sldMkLst>
        <pc:spChg chg="del mod ord">
          <ac:chgData name="Markus Albuscheit" userId="4f7fce57-5076-4fe0-a4ff-e69de3a8985e" providerId="ADAL" clId="{A8FA4690-0697-4B52-97D3-D294990C9BCF}" dt="2023-12-11T16:58:22.741" v="104" actId="700"/>
          <ac:spMkLst>
            <pc:docMk/>
            <pc:sldMk cId="1133615932" sldId="2147477065"/>
            <ac:spMk id="2" creationId="{923E0884-43A2-3530-9DD7-DCC6C8CBF013}"/>
          </ac:spMkLst>
        </pc:spChg>
        <pc:spChg chg="del mod ord">
          <ac:chgData name="Markus Albuscheit" userId="4f7fce57-5076-4fe0-a4ff-e69de3a8985e" providerId="ADAL" clId="{A8FA4690-0697-4B52-97D3-D294990C9BCF}" dt="2023-12-11T16:58:22.741" v="104" actId="700"/>
          <ac:spMkLst>
            <pc:docMk/>
            <pc:sldMk cId="1133615932" sldId="2147477065"/>
            <ac:spMk id="3" creationId="{6D8DA7B7-4BF2-7409-1DBC-DFB75DCB9850}"/>
          </ac:spMkLst>
        </pc:spChg>
        <pc:spChg chg="del mod ord">
          <ac:chgData name="Markus Albuscheit" userId="4f7fce57-5076-4fe0-a4ff-e69de3a8985e" providerId="ADAL" clId="{A8FA4690-0697-4B52-97D3-D294990C9BCF}" dt="2023-12-11T16:58:22.741" v="104" actId="700"/>
          <ac:spMkLst>
            <pc:docMk/>
            <pc:sldMk cId="1133615932" sldId="2147477065"/>
            <ac:spMk id="4" creationId="{EBAC2714-7938-82A4-CE2A-4F95EF298490}"/>
          </ac:spMkLst>
        </pc:spChg>
        <pc:spChg chg="add mod ord">
          <ac:chgData name="Markus Albuscheit" userId="4f7fce57-5076-4fe0-a4ff-e69de3a8985e" providerId="ADAL" clId="{A8FA4690-0697-4B52-97D3-D294990C9BCF}" dt="2023-12-11T17:00:50.257" v="470" actId="6549"/>
          <ac:spMkLst>
            <pc:docMk/>
            <pc:sldMk cId="1133615932" sldId="2147477065"/>
            <ac:spMk id="5" creationId="{B245328B-0EDD-AB3F-5A31-EED3F6BA44D6}"/>
          </ac:spMkLst>
        </pc:spChg>
        <pc:spChg chg="add mod ord">
          <ac:chgData name="Markus Albuscheit" userId="4f7fce57-5076-4fe0-a4ff-e69de3a8985e" providerId="ADAL" clId="{A8FA4690-0697-4B52-97D3-D294990C9BCF}" dt="2023-12-11T17:00:39.351" v="455" actId="14100"/>
          <ac:spMkLst>
            <pc:docMk/>
            <pc:sldMk cId="1133615932" sldId="2147477065"/>
            <ac:spMk id="6" creationId="{A202AE0C-4ADB-D489-7312-ED9DA9C140EF}"/>
          </ac:spMkLst>
        </pc:spChg>
        <pc:spChg chg="add mod ord">
          <ac:chgData name="Markus Albuscheit" userId="4f7fce57-5076-4fe0-a4ff-e69de3a8985e" providerId="ADAL" clId="{A8FA4690-0697-4B52-97D3-D294990C9BCF}" dt="2023-12-11T16:58:22.741" v="104" actId="700"/>
          <ac:spMkLst>
            <pc:docMk/>
            <pc:sldMk cId="1133615932" sldId="2147477065"/>
            <ac:spMk id="7" creationId="{365A0607-08DA-5039-92A0-03D4BE6186F3}"/>
          </ac:spMkLst>
        </pc:spChg>
      </pc:sldChg>
    </pc:docChg>
  </pc:docChgLst>
  <pc:docChgLst>
    <pc:chgData name="Markus Albuscheit" userId="S::markus.albuscheit@hydrogenious.net::4f7fce57-5076-4fe0-a4ff-e69de3a8985e" providerId="AD" clId="Web-{DEB1EA9A-7512-74FD-69F4-E7E421059214}"/>
    <pc:docChg chg="modSld">
      <pc:chgData name="Markus Albuscheit" userId="S::markus.albuscheit@hydrogenious.net::4f7fce57-5076-4fe0-a4ff-e69de3a8985e" providerId="AD" clId="Web-{DEB1EA9A-7512-74FD-69F4-E7E421059214}" dt="2023-12-11T17:41:00.005" v="2" actId="20577"/>
      <pc:docMkLst>
        <pc:docMk/>
      </pc:docMkLst>
      <pc:sldChg chg="modSp">
        <pc:chgData name="Markus Albuscheit" userId="S::markus.albuscheit@hydrogenious.net::4f7fce57-5076-4fe0-a4ff-e69de3a8985e" providerId="AD" clId="Web-{DEB1EA9A-7512-74FD-69F4-E7E421059214}" dt="2023-12-11T17:41:00.005" v="2" actId="20577"/>
        <pc:sldMkLst>
          <pc:docMk/>
          <pc:sldMk cId="1133615932" sldId="2147477065"/>
        </pc:sldMkLst>
        <pc:spChg chg="mod">
          <ac:chgData name="Markus Albuscheit" userId="S::markus.albuscheit@hydrogenious.net::4f7fce57-5076-4fe0-a4ff-e69de3a8985e" providerId="AD" clId="Web-{DEB1EA9A-7512-74FD-69F4-E7E421059214}" dt="2023-12-11T17:41:00.005" v="2" actId="20577"/>
          <ac:spMkLst>
            <pc:docMk/>
            <pc:sldMk cId="1133615932" sldId="2147477065"/>
            <ac:spMk id="6" creationId="{A202AE0C-4ADB-D489-7312-ED9DA9C140EF}"/>
          </ac:spMkLst>
        </pc:spChg>
      </pc:sldChg>
    </pc:docChg>
  </pc:docChgLst>
  <pc:docChgLst>
    <pc:chgData name="Markus Albuscheit" userId="4f7fce57-5076-4fe0-a4ff-e69de3a8985e" providerId="ADAL" clId="{0ACAEE19-1F3C-44E9-AA98-7871674C48E4}"/>
    <pc:docChg chg="undo redo custSel addSld delSld modSld sldOrd addSection modSection">
      <pc:chgData name="Markus Albuscheit" userId="4f7fce57-5076-4fe0-a4ff-e69de3a8985e" providerId="ADAL" clId="{0ACAEE19-1F3C-44E9-AA98-7871674C48E4}" dt="2023-12-15T08:03:40.483" v="8057" actId="20577"/>
      <pc:docMkLst>
        <pc:docMk/>
      </pc:docMkLst>
      <pc:sldChg chg="modSp mod ord modNotesTx">
        <pc:chgData name="Markus Albuscheit" userId="4f7fce57-5076-4fe0-a4ff-e69de3a8985e" providerId="ADAL" clId="{0ACAEE19-1F3C-44E9-AA98-7871674C48E4}" dt="2023-12-15T08:03:40.483" v="8057" actId="20577"/>
        <pc:sldMkLst>
          <pc:docMk/>
          <pc:sldMk cId="2830480177" sldId="347"/>
        </pc:sldMkLst>
        <pc:spChg chg="mod">
          <ac:chgData name="Markus Albuscheit" userId="4f7fce57-5076-4fe0-a4ff-e69de3a8985e" providerId="ADAL" clId="{0ACAEE19-1F3C-44E9-AA98-7871674C48E4}" dt="2023-12-13T14:38:13.522" v="73" actId="20577"/>
          <ac:spMkLst>
            <pc:docMk/>
            <pc:sldMk cId="2830480177" sldId="347"/>
            <ac:spMk id="2" creationId="{1D17E2BE-ED98-B1D5-A366-132B0EB487D6}"/>
          </ac:spMkLst>
        </pc:spChg>
        <pc:spChg chg="mod">
          <ac:chgData name="Markus Albuscheit" userId="4f7fce57-5076-4fe0-a4ff-e69de3a8985e" providerId="ADAL" clId="{0ACAEE19-1F3C-44E9-AA98-7871674C48E4}" dt="2023-12-13T14:38:03.838" v="70" actId="20577"/>
          <ac:spMkLst>
            <pc:docMk/>
            <pc:sldMk cId="2830480177" sldId="347"/>
            <ac:spMk id="7" creationId="{2D5D698F-29D6-FCC4-E5CD-798B19D5959A}"/>
          </ac:spMkLst>
        </pc:spChg>
      </pc:sldChg>
      <pc:sldChg chg="del">
        <pc:chgData name="Markus Albuscheit" userId="4f7fce57-5076-4fe0-a4ff-e69de3a8985e" providerId="ADAL" clId="{0ACAEE19-1F3C-44E9-AA98-7871674C48E4}" dt="2023-12-13T17:48:08.315" v="2037" actId="47"/>
        <pc:sldMkLst>
          <pc:docMk/>
          <pc:sldMk cId="4164601373" sldId="380"/>
        </pc:sldMkLst>
      </pc:sldChg>
      <pc:sldChg chg="del">
        <pc:chgData name="Markus Albuscheit" userId="4f7fce57-5076-4fe0-a4ff-e69de3a8985e" providerId="ADAL" clId="{0ACAEE19-1F3C-44E9-AA98-7871674C48E4}" dt="2023-12-13T17:48:08.315" v="2037" actId="47"/>
        <pc:sldMkLst>
          <pc:docMk/>
          <pc:sldMk cId="1902951207" sldId="381"/>
        </pc:sldMkLst>
      </pc:sldChg>
      <pc:sldChg chg="del">
        <pc:chgData name="Markus Albuscheit" userId="4f7fce57-5076-4fe0-a4ff-e69de3a8985e" providerId="ADAL" clId="{0ACAEE19-1F3C-44E9-AA98-7871674C48E4}" dt="2023-12-13T17:48:08.315" v="2037" actId="47"/>
        <pc:sldMkLst>
          <pc:docMk/>
          <pc:sldMk cId="3311576971" sldId="382"/>
        </pc:sldMkLst>
      </pc:sldChg>
      <pc:sldChg chg="del">
        <pc:chgData name="Markus Albuscheit" userId="4f7fce57-5076-4fe0-a4ff-e69de3a8985e" providerId="ADAL" clId="{0ACAEE19-1F3C-44E9-AA98-7871674C48E4}" dt="2023-12-13T17:48:08.315" v="2037" actId="47"/>
        <pc:sldMkLst>
          <pc:docMk/>
          <pc:sldMk cId="4276402843" sldId="386"/>
        </pc:sldMkLst>
      </pc:sldChg>
      <pc:sldChg chg="del">
        <pc:chgData name="Markus Albuscheit" userId="4f7fce57-5076-4fe0-a4ff-e69de3a8985e" providerId="ADAL" clId="{0ACAEE19-1F3C-44E9-AA98-7871674C48E4}" dt="2023-12-13T17:48:08.315" v="2037" actId="47"/>
        <pc:sldMkLst>
          <pc:docMk/>
          <pc:sldMk cId="3145550580" sldId="388"/>
        </pc:sldMkLst>
      </pc:sldChg>
      <pc:sldChg chg="del">
        <pc:chgData name="Markus Albuscheit" userId="4f7fce57-5076-4fe0-a4ff-e69de3a8985e" providerId="ADAL" clId="{0ACAEE19-1F3C-44E9-AA98-7871674C48E4}" dt="2023-12-13T17:48:08.315" v="2037" actId="47"/>
        <pc:sldMkLst>
          <pc:docMk/>
          <pc:sldMk cId="1302279198" sldId="390"/>
        </pc:sldMkLst>
      </pc:sldChg>
      <pc:sldChg chg="del">
        <pc:chgData name="Markus Albuscheit" userId="4f7fce57-5076-4fe0-a4ff-e69de3a8985e" providerId="ADAL" clId="{0ACAEE19-1F3C-44E9-AA98-7871674C48E4}" dt="2023-12-13T17:48:08.315" v="2037" actId="47"/>
        <pc:sldMkLst>
          <pc:docMk/>
          <pc:sldMk cId="180552469" sldId="391"/>
        </pc:sldMkLst>
      </pc:sldChg>
      <pc:sldChg chg="del mod ord modShow">
        <pc:chgData name="Markus Albuscheit" userId="4f7fce57-5076-4fe0-a4ff-e69de3a8985e" providerId="ADAL" clId="{0ACAEE19-1F3C-44E9-AA98-7871674C48E4}" dt="2023-12-15T08:00:00.145" v="8041" actId="47"/>
        <pc:sldMkLst>
          <pc:docMk/>
          <pc:sldMk cId="2383463063" sldId="393"/>
        </pc:sldMkLst>
      </pc:sldChg>
      <pc:sldChg chg="del mod ord modShow">
        <pc:chgData name="Markus Albuscheit" userId="4f7fce57-5076-4fe0-a4ff-e69de3a8985e" providerId="ADAL" clId="{0ACAEE19-1F3C-44E9-AA98-7871674C48E4}" dt="2023-12-15T07:59:58.929" v="8039" actId="47"/>
        <pc:sldMkLst>
          <pc:docMk/>
          <pc:sldMk cId="3011956797" sldId="402"/>
        </pc:sldMkLst>
      </pc:sldChg>
      <pc:sldChg chg="del">
        <pc:chgData name="Markus Albuscheit" userId="4f7fce57-5076-4fe0-a4ff-e69de3a8985e" providerId="ADAL" clId="{0ACAEE19-1F3C-44E9-AA98-7871674C48E4}" dt="2023-12-13T17:48:08.315" v="2037" actId="47"/>
        <pc:sldMkLst>
          <pc:docMk/>
          <pc:sldMk cId="3067365942" sldId="404"/>
        </pc:sldMkLst>
      </pc:sldChg>
      <pc:sldChg chg="del">
        <pc:chgData name="Markus Albuscheit" userId="4f7fce57-5076-4fe0-a4ff-e69de3a8985e" providerId="ADAL" clId="{0ACAEE19-1F3C-44E9-AA98-7871674C48E4}" dt="2023-12-13T17:48:08.315" v="2037" actId="47"/>
        <pc:sldMkLst>
          <pc:docMk/>
          <pc:sldMk cId="673318510" sldId="405"/>
        </pc:sldMkLst>
      </pc:sldChg>
      <pc:sldChg chg="del">
        <pc:chgData name="Markus Albuscheit" userId="4f7fce57-5076-4fe0-a4ff-e69de3a8985e" providerId="ADAL" clId="{0ACAEE19-1F3C-44E9-AA98-7871674C48E4}" dt="2023-12-13T17:48:08.315" v="2037" actId="47"/>
        <pc:sldMkLst>
          <pc:docMk/>
          <pc:sldMk cId="855357205" sldId="406"/>
        </pc:sldMkLst>
      </pc:sldChg>
      <pc:sldChg chg="del">
        <pc:chgData name="Markus Albuscheit" userId="4f7fce57-5076-4fe0-a4ff-e69de3a8985e" providerId="ADAL" clId="{0ACAEE19-1F3C-44E9-AA98-7871674C48E4}" dt="2023-12-13T17:48:08.315" v="2037" actId="47"/>
        <pc:sldMkLst>
          <pc:docMk/>
          <pc:sldMk cId="1315747012" sldId="407"/>
        </pc:sldMkLst>
      </pc:sldChg>
      <pc:sldChg chg="del">
        <pc:chgData name="Markus Albuscheit" userId="4f7fce57-5076-4fe0-a4ff-e69de3a8985e" providerId="ADAL" clId="{0ACAEE19-1F3C-44E9-AA98-7871674C48E4}" dt="2023-12-13T17:48:08.315" v="2037" actId="47"/>
        <pc:sldMkLst>
          <pc:docMk/>
          <pc:sldMk cId="2468253467" sldId="2147476044"/>
        </pc:sldMkLst>
      </pc:sldChg>
      <pc:sldChg chg="del">
        <pc:chgData name="Markus Albuscheit" userId="4f7fce57-5076-4fe0-a4ff-e69de3a8985e" providerId="ADAL" clId="{0ACAEE19-1F3C-44E9-AA98-7871674C48E4}" dt="2023-12-13T17:48:08.315" v="2037" actId="47"/>
        <pc:sldMkLst>
          <pc:docMk/>
          <pc:sldMk cId="1323225996" sldId="2147476045"/>
        </pc:sldMkLst>
      </pc:sldChg>
      <pc:sldChg chg="del">
        <pc:chgData name="Markus Albuscheit" userId="4f7fce57-5076-4fe0-a4ff-e69de3a8985e" providerId="ADAL" clId="{0ACAEE19-1F3C-44E9-AA98-7871674C48E4}" dt="2023-12-13T17:48:08.315" v="2037" actId="47"/>
        <pc:sldMkLst>
          <pc:docMk/>
          <pc:sldMk cId="3373645313" sldId="2147476201"/>
        </pc:sldMkLst>
      </pc:sldChg>
      <pc:sldChg chg="del">
        <pc:chgData name="Markus Albuscheit" userId="4f7fce57-5076-4fe0-a4ff-e69de3a8985e" providerId="ADAL" clId="{0ACAEE19-1F3C-44E9-AA98-7871674C48E4}" dt="2023-12-13T17:48:08.315" v="2037" actId="47"/>
        <pc:sldMkLst>
          <pc:docMk/>
          <pc:sldMk cId="3958030241" sldId="2147476202"/>
        </pc:sldMkLst>
      </pc:sldChg>
      <pc:sldChg chg="del">
        <pc:chgData name="Markus Albuscheit" userId="4f7fce57-5076-4fe0-a4ff-e69de3a8985e" providerId="ADAL" clId="{0ACAEE19-1F3C-44E9-AA98-7871674C48E4}" dt="2023-12-13T17:48:08.315" v="2037" actId="47"/>
        <pc:sldMkLst>
          <pc:docMk/>
          <pc:sldMk cId="1445960574" sldId="2147476204"/>
        </pc:sldMkLst>
      </pc:sldChg>
      <pc:sldChg chg="modSp del mod">
        <pc:chgData name="Markus Albuscheit" userId="4f7fce57-5076-4fe0-a4ff-e69de3a8985e" providerId="ADAL" clId="{0ACAEE19-1F3C-44E9-AA98-7871674C48E4}" dt="2023-12-13T17:17:19.804" v="1655" actId="47"/>
        <pc:sldMkLst>
          <pc:docMk/>
          <pc:sldMk cId="657117443" sldId="2147476221"/>
        </pc:sldMkLst>
        <pc:spChg chg="mod">
          <ac:chgData name="Markus Albuscheit" userId="4f7fce57-5076-4fe0-a4ff-e69de3a8985e" providerId="ADAL" clId="{0ACAEE19-1F3C-44E9-AA98-7871674C48E4}" dt="2023-12-13T16:58:22.528" v="1374" actId="14100"/>
          <ac:spMkLst>
            <pc:docMk/>
            <pc:sldMk cId="657117443" sldId="2147476221"/>
            <ac:spMk id="100" creationId="{432DB58B-81DB-9CAE-3793-E211489DE401}"/>
          </ac:spMkLst>
        </pc:spChg>
      </pc:sldChg>
      <pc:sldChg chg="del">
        <pc:chgData name="Markus Albuscheit" userId="4f7fce57-5076-4fe0-a4ff-e69de3a8985e" providerId="ADAL" clId="{0ACAEE19-1F3C-44E9-AA98-7871674C48E4}" dt="2023-12-13T17:48:08.315" v="2037" actId="47"/>
        <pc:sldMkLst>
          <pc:docMk/>
          <pc:sldMk cId="4197777872" sldId="2147476617"/>
        </pc:sldMkLst>
      </pc:sldChg>
      <pc:sldChg chg="addSp delSp modSp mod modNotesTx">
        <pc:chgData name="Markus Albuscheit" userId="4f7fce57-5076-4fe0-a4ff-e69de3a8985e" providerId="ADAL" clId="{0ACAEE19-1F3C-44E9-AA98-7871674C48E4}" dt="2023-12-15T08:02:51.328" v="8048" actId="6549"/>
        <pc:sldMkLst>
          <pc:docMk/>
          <pc:sldMk cId="3462455352" sldId="2147476618"/>
        </pc:sldMkLst>
        <pc:spChg chg="mod">
          <ac:chgData name="Markus Albuscheit" userId="4f7fce57-5076-4fe0-a4ff-e69de3a8985e" providerId="ADAL" clId="{0ACAEE19-1F3C-44E9-AA98-7871674C48E4}" dt="2023-12-14T10:56:57.536" v="4213" actId="14100"/>
          <ac:spMkLst>
            <pc:docMk/>
            <pc:sldMk cId="3462455352" sldId="2147476618"/>
            <ac:spMk id="3" creationId="{3B837011-1F4E-E498-9CB0-E8F92A8EB9B8}"/>
          </ac:spMkLst>
        </pc:spChg>
        <pc:spChg chg="add del">
          <ac:chgData name="Markus Albuscheit" userId="4f7fce57-5076-4fe0-a4ff-e69de3a8985e" providerId="ADAL" clId="{0ACAEE19-1F3C-44E9-AA98-7871674C48E4}" dt="2023-12-14T10:57:02.440" v="4215" actId="22"/>
          <ac:spMkLst>
            <pc:docMk/>
            <pc:sldMk cId="3462455352" sldId="2147476618"/>
            <ac:spMk id="5" creationId="{D0F8A807-A832-B763-FB95-09DD18BFFEBE}"/>
          </ac:spMkLst>
        </pc:spChg>
        <pc:spChg chg="add mod">
          <ac:chgData name="Markus Albuscheit" userId="4f7fce57-5076-4fe0-a4ff-e69de3a8985e" providerId="ADAL" clId="{0ACAEE19-1F3C-44E9-AA98-7871674C48E4}" dt="2023-12-14T10:57:22.121" v="4222" actId="113"/>
          <ac:spMkLst>
            <pc:docMk/>
            <pc:sldMk cId="3462455352" sldId="2147476618"/>
            <ac:spMk id="7" creationId="{0A7C13B3-5921-4DA1-ABBB-EC83A3E28911}"/>
          </ac:spMkLst>
        </pc:spChg>
        <pc:picChg chg="del">
          <ac:chgData name="Markus Albuscheit" userId="4f7fce57-5076-4fe0-a4ff-e69de3a8985e" providerId="ADAL" clId="{0ACAEE19-1F3C-44E9-AA98-7871674C48E4}" dt="2023-12-13T17:48:26.413" v="2058" actId="478"/>
          <ac:picMkLst>
            <pc:docMk/>
            <pc:sldMk cId="3462455352" sldId="2147476618"/>
            <ac:picMk id="12" creationId="{70AE2C1E-85E0-83BA-D731-984C541DAD71}"/>
          </ac:picMkLst>
        </pc:picChg>
      </pc:sldChg>
      <pc:sldChg chg="del">
        <pc:chgData name="Markus Albuscheit" userId="4f7fce57-5076-4fe0-a4ff-e69de3a8985e" providerId="ADAL" clId="{0ACAEE19-1F3C-44E9-AA98-7871674C48E4}" dt="2023-12-13T17:48:08.315" v="2037" actId="47"/>
        <pc:sldMkLst>
          <pc:docMk/>
          <pc:sldMk cId="4074600120" sldId="2147476619"/>
        </pc:sldMkLst>
      </pc:sldChg>
      <pc:sldChg chg="del">
        <pc:chgData name="Markus Albuscheit" userId="4f7fce57-5076-4fe0-a4ff-e69de3a8985e" providerId="ADAL" clId="{0ACAEE19-1F3C-44E9-AA98-7871674C48E4}" dt="2023-12-13T17:48:08.315" v="2037" actId="47"/>
        <pc:sldMkLst>
          <pc:docMk/>
          <pc:sldMk cId="813117496" sldId="2147476621"/>
        </pc:sldMkLst>
      </pc:sldChg>
      <pc:sldChg chg="del">
        <pc:chgData name="Markus Albuscheit" userId="4f7fce57-5076-4fe0-a4ff-e69de3a8985e" providerId="ADAL" clId="{0ACAEE19-1F3C-44E9-AA98-7871674C48E4}" dt="2023-12-13T17:48:08.315" v="2037" actId="47"/>
        <pc:sldMkLst>
          <pc:docMk/>
          <pc:sldMk cId="2969344889" sldId="2147476622"/>
        </pc:sldMkLst>
      </pc:sldChg>
      <pc:sldChg chg="del">
        <pc:chgData name="Markus Albuscheit" userId="4f7fce57-5076-4fe0-a4ff-e69de3a8985e" providerId="ADAL" clId="{0ACAEE19-1F3C-44E9-AA98-7871674C48E4}" dt="2023-12-13T17:48:08.315" v="2037" actId="47"/>
        <pc:sldMkLst>
          <pc:docMk/>
          <pc:sldMk cId="773167794" sldId="2147476623"/>
        </pc:sldMkLst>
      </pc:sldChg>
      <pc:sldChg chg="del">
        <pc:chgData name="Markus Albuscheit" userId="4f7fce57-5076-4fe0-a4ff-e69de3a8985e" providerId="ADAL" clId="{0ACAEE19-1F3C-44E9-AA98-7871674C48E4}" dt="2023-12-13T17:48:08.315" v="2037" actId="47"/>
        <pc:sldMkLst>
          <pc:docMk/>
          <pc:sldMk cId="1640491924" sldId="2147476625"/>
        </pc:sldMkLst>
      </pc:sldChg>
      <pc:sldChg chg="del">
        <pc:chgData name="Markus Albuscheit" userId="4f7fce57-5076-4fe0-a4ff-e69de3a8985e" providerId="ADAL" clId="{0ACAEE19-1F3C-44E9-AA98-7871674C48E4}" dt="2023-12-13T17:48:08.315" v="2037" actId="47"/>
        <pc:sldMkLst>
          <pc:docMk/>
          <pc:sldMk cId="1077770112" sldId="2147476626"/>
        </pc:sldMkLst>
      </pc:sldChg>
      <pc:sldChg chg="del">
        <pc:chgData name="Markus Albuscheit" userId="4f7fce57-5076-4fe0-a4ff-e69de3a8985e" providerId="ADAL" clId="{0ACAEE19-1F3C-44E9-AA98-7871674C48E4}" dt="2023-12-13T17:48:08.315" v="2037" actId="47"/>
        <pc:sldMkLst>
          <pc:docMk/>
          <pc:sldMk cId="2892558721" sldId="2147476627"/>
        </pc:sldMkLst>
      </pc:sldChg>
      <pc:sldChg chg="del">
        <pc:chgData name="Markus Albuscheit" userId="4f7fce57-5076-4fe0-a4ff-e69de3a8985e" providerId="ADAL" clId="{0ACAEE19-1F3C-44E9-AA98-7871674C48E4}" dt="2023-12-13T17:48:08.315" v="2037" actId="47"/>
        <pc:sldMkLst>
          <pc:docMk/>
          <pc:sldMk cId="2316862765" sldId="2147476629"/>
        </pc:sldMkLst>
      </pc:sldChg>
      <pc:sldChg chg="del">
        <pc:chgData name="Markus Albuscheit" userId="4f7fce57-5076-4fe0-a4ff-e69de3a8985e" providerId="ADAL" clId="{0ACAEE19-1F3C-44E9-AA98-7871674C48E4}" dt="2023-12-13T17:48:08.315" v="2037" actId="47"/>
        <pc:sldMkLst>
          <pc:docMk/>
          <pc:sldMk cId="2307807336" sldId="2147476630"/>
        </pc:sldMkLst>
      </pc:sldChg>
      <pc:sldChg chg="del">
        <pc:chgData name="Markus Albuscheit" userId="4f7fce57-5076-4fe0-a4ff-e69de3a8985e" providerId="ADAL" clId="{0ACAEE19-1F3C-44E9-AA98-7871674C48E4}" dt="2023-12-13T17:48:08.315" v="2037" actId="47"/>
        <pc:sldMkLst>
          <pc:docMk/>
          <pc:sldMk cId="1433177276" sldId="2147476631"/>
        </pc:sldMkLst>
      </pc:sldChg>
      <pc:sldChg chg="modSp del mod ord modShow">
        <pc:chgData name="Markus Albuscheit" userId="4f7fce57-5076-4fe0-a4ff-e69de3a8985e" providerId="ADAL" clId="{0ACAEE19-1F3C-44E9-AA98-7871674C48E4}" dt="2023-12-15T07:58:57.634" v="8030" actId="47"/>
        <pc:sldMkLst>
          <pc:docMk/>
          <pc:sldMk cId="2227737355" sldId="2147477051"/>
        </pc:sldMkLst>
        <pc:spChg chg="mod">
          <ac:chgData name="Markus Albuscheit" userId="4f7fce57-5076-4fe0-a4ff-e69de3a8985e" providerId="ADAL" clId="{0ACAEE19-1F3C-44E9-AA98-7871674C48E4}" dt="2023-12-13T16:49:57.444" v="1241" actId="1076"/>
          <ac:spMkLst>
            <pc:docMk/>
            <pc:sldMk cId="2227737355" sldId="2147477051"/>
            <ac:spMk id="8" creationId="{47C35105-0AD0-B64C-375A-724BE2DF0CAC}"/>
          </ac:spMkLst>
        </pc:spChg>
      </pc:sldChg>
      <pc:sldChg chg="modSp del mod ord modShow">
        <pc:chgData name="Markus Albuscheit" userId="4f7fce57-5076-4fe0-a4ff-e69de3a8985e" providerId="ADAL" clId="{0ACAEE19-1F3C-44E9-AA98-7871674C48E4}" dt="2023-12-15T07:58:58.156" v="8031" actId="47"/>
        <pc:sldMkLst>
          <pc:docMk/>
          <pc:sldMk cId="2513784496" sldId="2147477063"/>
        </pc:sldMkLst>
        <pc:spChg chg="mod">
          <ac:chgData name="Markus Albuscheit" userId="4f7fce57-5076-4fe0-a4ff-e69de3a8985e" providerId="ADAL" clId="{0ACAEE19-1F3C-44E9-AA98-7871674C48E4}" dt="2023-12-13T14:44:05.444" v="121" actId="1076"/>
          <ac:spMkLst>
            <pc:docMk/>
            <pc:sldMk cId="2513784496" sldId="2147477063"/>
            <ac:spMk id="7" creationId="{171D6E5A-20C3-7054-8EBB-FAD975E842BF}"/>
          </ac:spMkLst>
        </pc:spChg>
      </pc:sldChg>
      <pc:sldChg chg="modSp del mod ord modShow">
        <pc:chgData name="Markus Albuscheit" userId="4f7fce57-5076-4fe0-a4ff-e69de3a8985e" providerId="ADAL" clId="{0ACAEE19-1F3C-44E9-AA98-7871674C48E4}" dt="2023-12-15T07:59:58.185" v="8038" actId="47"/>
        <pc:sldMkLst>
          <pc:docMk/>
          <pc:sldMk cId="2588567871" sldId="2147477064"/>
        </pc:sldMkLst>
        <pc:spChg chg="mod">
          <ac:chgData name="Markus Albuscheit" userId="4f7fce57-5076-4fe0-a4ff-e69de3a8985e" providerId="ADAL" clId="{0ACAEE19-1F3C-44E9-AA98-7871674C48E4}" dt="2023-12-14T10:56:05.750" v="4206" actId="20577"/>
          <ac:spMkLst>
            <pc:docMk/>
            <pc:sldMk cId="2588567871" sldId="2147477064"/>
            <ac:spMk id="3" creationId="{390F13AC-9083-172F-C095-B1CC38271FE0}"/>
          </ac:spMkLst>
        </pc:spChg>
      </pc:sldChg>
      <pc:sldChg chg="modSp del mod ord modShow">
        <pc:chgData name="Markus Albuscheit" userId="4f7fce57-5076-4fe0-a4ff-e69de3a8985e" providerId="ADAL" clId="{0ACAEE19-1F3C-44E9-AA98-7871674C48E4}" dt="2023-12-15T07:59:57.595" v="8037" actId="47"/>
        <pc:sldMkLst>
          <pc:docMk/>
          <pc:sldMk cId="1133615932" sldId="2147477065"/>
        </pc:sldMkLst>
        <pc:spChg chg="mod">
          <ac:chgData name="Markus Albuscheit" userId="4f7fce57-5076-4fe0-a4ff-e69de3a8985e" providerId="ADAL" clId="{0ACAEE19-1F3C-44E9-AA98-7871674C48E4}" dt="2023-12-14T10:08:13.171" v="3062" actId="20577"/>
          <ac:spMkLst>
            <pc:docMk/>
            <pc:sldMk cId="1133615932" sldId="2147477065"/>
            <ac:spMk id="6" creationId="{A202AE0C-4ADB-D489-7312-ED9DA9C140EF}"/>
          </ac:spMkLst>
        </pc:spChg>
      </pc:sldChg>
      <pc:sldChg chg="addSp delSp modSp mod addAnim delAnim modAnim modNotesTx">
        <pc:chgData name="Markus Albuscheit" userId="4f7fce57-5076-4fe0-a4ff-e69de3a8985e" providerId="ADAL" clId="{0ACAEE19-1F3C-44E9-AA98-7871674C48E4}" dt="2023-12-15T08:03:35.988" v="8056" actId="20577"/>
        <pc:sldMkLst>
          <pc:docMk/>
          <pc:sldMk cId="3936970580" sldId="2147477066"/>
        </pc:sldMkLst>
        <pc:spChg chg="mod">
          <ac:chgData name="Markus Albuscheit" userId="4f7fce57-5076-4fe0-a4ff-e69de3a8985e" providerId="ADAL" clId="{0ACAEE19-1F3C-44E9-AA98-7871674C48E4}" dt="2023-12-14T10:30:48.555" v="3296" actId="1076"/>
          <ac:spMkLst>
            <pc:docMk/>
            <pc:sldMk cId="3936970580" sldId="2147477066"/>
            <ac:spMk id="5" creationId="{7DABA9A4-6E6E-6E9B-08E5-7A800A9587BC}"/>
          </ac:spMkLst>
        </pc:spChg>
        <pc:spChg chg="mod">
          <ac:chgData name="Markus Albuscheit" userId="4f7fce57-5076-4fe0-a4ff-e69de3a8985e" providerId="ADAL" clId="{0ACAEE19-1F3C-44E9-AA98-7871674C48E4}" dt="2023-12-14T10:06:50.898" v="2814" actId="20577"/>
          <ac:spMkLst>
            <pc:docMk/>
            <pc:sldMk cId="3936970580" sldId="2147477066"/>
            <ac:spMk id="6" creationId="{C11C766E-AA5E-7DD3-598C-112FC78C5BAB}"/>
          </ac:spMkLst>
        </pc:spChg>
        <pc:picChg chg="mod">
          <ac:chgData name="Markus Albuscheit" userId="4f7fce57-5076-4fe0-a4ff-e69de3a8985e" providerId="ADAL" clId="{0ACAEE19-1F3C-44E9-AA98-7871674C48E4}" dt="2023-12-14T10:30:54.247" v="3306" actId="1036"/>
          <ac:picMkLst>
            <pc:docMk/>
            <pc:sldMk cId="3936970580" sldId="2147477066"/>
            <ac:picMk id="8" creationId="{0BA5D1E9-F6F1-3B03-D424-056E0A0400B1}"/>
          </ac:picMkLst>
        </pc:picChg>
        <pc:picChg chg="add del mod">
          <ac:chgData name="Markus Albuscheit" userId="4f7fce57-5076-4fe0-a4ff-e69de3a8985e" providerId="ADAL" clId="{0ACAEE19-1F3C-44E9-AA98-7871674C48E4}" dt="2023-12-13T14:40:24.312" v="93" actId="478"/>
          <ac:picMkLst>
            <pc:docMk/>
            <pc:sldMk cId="3936970580" sldId="2147477066"/>
            <ac:picMk id="9" creationId="{8BC9CCFD-DB2A-868D-DB06-65893D1E7338}"/>
          </ac:picMkLst>
        </pc:picChg>
        <pc:picChg chg="mod">
          <ac:chgData name="Markus Albuscheit" userId="4f7fce57-5076-4fe0-a4ff-e69de3a8985e" providerId="ADAL" clId="{0ACAEE19-1F3C-44E9-AA98-7871674C48E4}" dt="2023-12-14T10:30:54.247" v="3306" actId="1036"/>
          <ac:picMkLst>
            <pc:docMk/>
            <pc:sldMk cId="3936970580" sldId="2147477066"/>
            <ac:picMk id="10" creationId="{40B8FFA0-5124-7013-53B2-22C7B68DB87A}"/>
          </ac:picMkLst>
        </pc:picChg>
        <pc:picChg chg="add del mod">
          <ac:chgData name="Markus Albuscheit" userId="4f7fce57-5076-4fe0-a4ff-e69de3a8985e" providerId="ADAL" clId="{0ACAEE19-1F3C-44E9-AA98-7871674C48E4}" dt="2023-12-13T14:40:19.578" v="89" actId="478"/>
          <ac:picMkLst>
            <pc:docMk/>
            <pc:sldMk cId="3936970580" sldId="2147477066"/>
            <ac:picMk id="12" creationId="{B5701B2F-9BA7-BE7D-C6ED-27CA57DD3A07}"/>
          </ac:picMkLst>
        </pc:picChg>
        <pc:picChg chg="add del mod">
          <ac:chgData name="Markus Albuscheit" userId="4f7fce57-5076-4fe0-a4ff-e69de3a8985e" providerId="ADAL" clId="{0ACAEE19-1F3C-44E9-AA98-7871674C48E4}" dt="2023-12-13T14:40:23.629" v="92" actId="478"/>
          <ac:picMkLst>
            <pc:docMk/>
            <pc:sldMk cId="3936970580" sldId="2147477066"/>
            <ac:picMk id="14" creationId="{5849E027-E365-8DC5-5CD3-9582797CB03C}"/>
          </ac:picMkLst>
        </pc:picChg>
        <pc:picChg chg="add del mod">
          <ac:chgData name="Markus Albuscheit" userId="4f7fce57-5076-4fe0-a4ff-e69de3a8985e" providerId="ADAL" clId="{0ACAEE19-1F3C-44E9-AA98-7871674C48E4}" dt="2023-12-13T14:40:23.629" v="92" actId="478"/>
          <ac:picMkLst>
            <pc:docMk/>
            <pc:sldMk cId="3936970580" sldId="2147477066"/>
            <ac:picMk id="16" creationId="{A430E8F4-09D6-6CE1-2072-1D7A73F29E1A}"/>
          </ac:picMkLst>
        </pc:picChg>
        <pc:picChg chg="add del mod">
          <ac:chgData name="Markus Albuscheit" userId="4f7fce57-5076-4fe0-a4ff-e69de3a8985e" providerId="ADAL" clId="{0ACAEE19-1F3C-44E9-AA98-7871674C48E4}" dt="2023-12-14T10:30:54.247" v="3306" actId="1036"/>
          <ac:picMkLst>
            <pc:docMk/>
            <pc:sldMk cId="3936970580" sldId="2147477066"/>
            <ac:picMk id="17" creationId="{048B6B70-31AA-63AD-2F59-8299A075BFD4}"/>
          </ac:picMkLst>
        </pc:picChg>
        <pc:picChg chg="add del mod">
          <ac:chgData name="Markus Albuscheit" userId="4f7fce57-5076-4fe0-a4ff-e69de3a8985e" providerId="ADAL" clId="{0ACAEE19-1F3C-44E9-AA98-7871674C48E4}" dt="2023-12-13T14:40:23.629" v="92" actId="478"/>
          <ac:picMkLst>
            <pc:docMk/>
            <pc:sldMk cId="3936970580" sldId="2147477066"/>
            <ac:picMk id="19" creationId="{B841110C-21B0-50EE-2152-F1F929E2082F}"/>
          </ac:picMkLst>
        </pc:picChg>
        <pc:picChg chg="add del mod">
          <ac:chgData name="Markus Albuscheit" userId="4f7fce57-5076-4fe0-a4ff-e69de3a8985e" providerId="ADAL" clId="{0ACAEE19-1F3C-44E9-AA98-7871674C48E4}" dt="2023-12-13T14:40:23.629" v="92" actId="478"/>
          <ac:picMkLst>
            <pc:docMk/>
            <pc:sldMk cId="3936970580" sldId="2147477066"/>
            <ac:picMk id="21" creationId="{E6F59703-0272-4E2F-A790-66CC60694D92}"/>
          </ac:picMkLst>
        </pc:picChg>
        <pc:picChg chg="add mod">
          <ac:chgData name="Markus Albuscheit" userId="4f7fce57-5076-4fe0-a4ff-e69de3a8985e" providerId="ADAL" clId="{0ACAEE19-1F3C-44E9-AA98-7871674C48E4}" dt="2023-12-14T10:30:54.247" v="3306" actId="1036"/>
          <ac:picMkLst>
            <pc:docMk/>
            <pc:sldMk cId="3936970580" sldId="2147477066"/>
            <ac:picMk id="23" creationId="{858E54D6-0233-FF7C-80AF-DDD406D36489}"/>
          </ac:picMkLst>
        </pc:picChg>
        <pc:picChg chg="add del mod">
          <ac:chgData name="Markus Albuscheit" userId="4f7fce57-5076-4fe0-a4ff-e69de3a8985e" providerId="ADAL" clId="{0ACAEE19-1F3C-44E9-AA98-7871674C48E4}" dt="2023-12-13T14:40:54.305" v="97" actId="478"/>
          <ac:picMkLst>
            <pc:docMk/>
            <pc:sldMk cId="3936970580" sldId="2147477066"/>
            <ac:picMk id="25" creationId="{95B5840B-90A9-00FF-9D36-08E3B1147FF6}"/>
          </ac:picMkLst>
        </pc:picChg>
      </pc:sldChg>
      <pc:sldChg chg="addSp delSp modSp mod ord delAnim modAnim addCm delCm modCm modNotesTx">
        <pc:chgData name="Markus Albuscheit" userId="4f7fce57-5076-4fe0-a4ff-e69de3a8985e" providerId="ADAL" clId="{0ACAEE19-1F3C-44E9-AA98-7871674C48E4}" dt="2023-12-15T08:03:30.883" v="8055" actId="20577"/>
        <pc:sldMkLst>
          <pc:docMk/>
          <pc:sldMk cId="1310139768" sldId="2147477067"/>
        </pc:sldMkLst>
        <pc:spChg chg="mod">
          <ac:chgData name="Markus Albuscheit" userId="4f7fce57-5076-4fe0-a4ff-e69de3a8985e" providerId="ADAL" clId="{0ACAEE19-1F3C-44E9-AA98-7871674C48E4}" dt="2023-12-14T20:27:03.952" v="7739" actId="1036"/>
          <ac:spMkLst>
            <pc:docMk/>
            <pc:sldMk cId="1310139768" sldId="2147477067"/>
            <ac:spMk id="2" creationId="{5C697361-A5AE-6152-CBF4-6B50ECCA4127}"/>
          </ac:spMkLst>
        </pc:spChg>
        <pc:spChg chg="add mod">
          <ac:chgData name="Markus Albuscheit" userId="4f7fce57-5076-4fe0-a4ff-e69de3a8985e" providerId="ADAL" clId="{0ACAEE19-1F3C-44E9-AA98-7871674C48E4}" dt="2023-12-14T17:29:32.789" v="7594" actId="1076"/>
          <ac:spMkLst>
            <pc:docMk/>
            <pc:sldMk cId="1310139768" sldId="2147477067"/>
            <ac:spMk id="3" creationId="{EAA76DCB-7A6D-0492-5379-E06FD6902EFC}"/>
          </ac:spMkLst>
        </pc:spChg>
        <pc:spChg chg="mod">
          <ac:chgData name="Markus Albuscheit" userId="4f7fce57-5076-4fe0-a4ff-e69de3a8985e" providerId="ADAL" clId="{0ACAEE19-1F3C-44E9-AA98-7871674C48E4}" dt="2023-12-14T20:27:37.934" v="7750" actId="14100"/>
          <ac:spMkLst>
            <pc:docMk/>
            <pc:sldMk cId="1310139768" sldId="2147477067"/>
            <ac:spMk id="4" creationId="{94D26D81-5543-6D9E-0E96-C80E2A0538DA}"/>
          </ac:spMkLst>
        </pc:spChg>
        <pc:spChg chg="mod">
          <ac:chgData name="Markus Albuscheit" userId="4f7fce57-5076-4fe0-a4ff-e69de3a8985e" providerId="ADAL" clId="{0ACAEE19-1F3C-44E9-AA98-7871674C48E4}" dt="2023-12-13T15:13:54.947" v="534" actId="20577"/>
          <ac:spMkLst>
            <pc:docMk/>
            <pc:sldMk cId="1310139768" sldId="2147477067"/>
            <ac:spMk id="6" creationId="{C94C6101-3BF9-6602-0310-068FBE56C5A6}"/>
          </ac:spMkLst>
        </pc:spChg>
        <pc:spChg chg="mod">
          <ac:chgData name="Markus Albuscheit" userId="4f7fce57-5076-4fe0-a4ff-e69de3a8985e" providerId="ADAL" clId="{0ACAEE19-1F3C-44E9-AA98-7871674C48E4}" dt="2023-12-13T15:05:00.948" v="353" actId="20577"/>
          <ac:spMkLst>
            <pc:docMk/>
            <pc:sldMk cId="1310139768" sldId="2147477067"/>
            <ac:spMk id="10" creationId="{31BBB231-CA48-0342-0095-4D32213D058D}"/>
          </ac:spMkLst>
        </pc:spChg>
        <pc:spChg chg="mod">
          <ac:chgData name="Markus Albuscheit" userId="4f7fce57-5076-4fe0-a4ff-e69de3a8985e" providerId="ADAL" clId="{0ACAEE19-1F3C-44E9-AA98-7871674C48E4}" dt="2023-12-13T15:05:04.603" v="355" actId="20577"/>
          <ac:spMkLst>
            <pc:docMk/>
            <pc:sldMk cId="1310139768" sldId="2147477067"/>
            <ac:spMk id="13" creationId="{34A3EE84-EB96-5E45-E2DE-231BCFCC3570}"/>
          </ac:spMkLst>
        </pc:spChg>
        <pc:spChg chg="mod">
          <ac:chgData name="Markus Albuscheit" userId="4f7fce57-5076-4fe0-a4ff-e69de3a8985e" providerId="ADAL" clId="{0ACAEE19-1F3C-44E9-AA98-7871674C48E4}" dt="2023-12-14T20:27:03.952" v="7739" actId="1036"/>
          <ac:spMkLst>
            <pc:docMk/>
            <pc:sldMk cId="1310139768" sldId="2147477067"/>
            <ac:spMk id="15" creationId="{93535922-3085-9BC8-E427-77C8979C6B1D}"/>
          </ac:spMkLst>
        </pc:spChg>
        <pc:spChg chg="mod topLvl">
          <ac:chgData name="Markus Albuscheit" userId="4f7fce57-5076-4fe0-a4ff-e69de3a8985e" providerId="ADAL" clId="{0ACAEE19-1F3C-44E9-AA98-7871674C48E4}" dt="2023-12-14T20:27:24.620" v="7749" actId="1035"/>
          <ac:spMkLst>
            <pc:docMk/>
            <pc:sldMk cId="1310139768" sldId="2147477067"/>
            <ac:spMk id="17" creationId="{3C3E2F1C-A89F-96BD-F40D-C43BF2520C06}"/>
          </ac:spMkLst>
        </pc:spChg>
        <pc:spChg chg="mod">
          <ac:chgData name="Markus Albuscheit" userId="4f7fce57-5076-4fe0-a4ff-e69de3a8985e" providerId="ADAL" clId="{0ACAEE19-1F3C-44E9-AA98-7871674C48E4}" dt="2023-12-13T15:05:08.717" v="357" actId="20577"/>
          <ac:spMkLst>
            <pc:docMk/>
            <pc:sldMk cId="1310139768" sldId="2147477067"/>
            <ac:spMk id="21" creationId="{B1BA1B41-2EAA-6265-E37B-222D42F0B6F6}"/>
          </ac:spMkLst>
        </pc:spChg>
        <pc:grpChg chg="mod">
          <ac:chgData name="Markus Albuscheit" userId="4f7fce57-5076-4fe0-a4ff-e69de3a8985e" providerId="ADAL" clId="{0ACAEE19-1F3C-44E9-AA98-7871674C48E4}" dt="2023-12-14T20:27:24.620" v="7749" actId="1035"/>
          <ac:grpSpMkLst>
            <pc:docMk/>
            <pc:sldMk cId="1310139768" sldId="2147477067"/>
            <ac:grpSpMk id="9" creationId="{A145BBD4-673C-236F-8790-93D5EC004361}"/>
          </ac:grpSpMkLst>
        </pc:grpChg>
        <pc:grpChg chg="mod">
          <ac:chgData name="Markus Albuscheit" userId="4f7fce57-5076-4fe0-a4ff-e69de3a8985e" providerId="ADAL" clId="{0ACAEE19-1F3C-44E9-AA98-7871674C48E4}" dt="2023-12-14T20:27:24.620" v="7749" actId="1035"/>
          <ac:grpSpMkLst>
            <pc:docMk/>
            <pc:sldMk cId="1310139768" sldId="2147477067"/>
            <ac:grpSpMk id="12" creationId="{CE69A0B4-8A9A-BC8D-3980-5432B0FEAF5A}"/>
          </ac:grpSpMkLst>
        </pc:grpChg>
        <pc:grpChg chg="del mod">
          <ac:chgData name="Markus Albuscheit" userId="4f7fce57-5076-4fe0-a4ff-e69de3a8985e" providerId="ADAL" clId="{0ACAEE19-1F3C-44E9-AA98-7871674C48E4}" dt="2023-12-13T15:04:01.516" v="336" actId="478"/>
          <ac:grpSpMkLst>
            <pc:docMk/>
            <pc:sldMk cId="1310139768" sldId="2147477067"/>
            <ac:grpSpMk id="16" creationId="{1DA1CEAE-6EC8-8BF6-C11E-505DCEDCD5E2}"/>
          </ac:grpSpMkLst>
        </pc:grpChg>
        <pc:grpChg chg="mod">
          <ac:chgData name="Markus Albuscheit" userId="4f7fce57-5076-4fe0-a4ff-e69de3a8985e" providerId="ADAL" clId="{0ACAEE19-1F3C-44E9-AA98-7871674C48E4}" dt="2023-12-14T20:27:24.620" v="7749" actId="1035"/>
          <ac:grpSpMkLst>
            <pc:docMk/>
            <pc:sldMk cId="1310139768" sldId="2147477067"/>
            <ac:grpSpMk id="20" creationId="{4F0C633C-1260-FC67-3715-B7FCB86EC118}"/>
          </ac:grpSpMkLst>
        </pc:grpChg>
        <pc:grpChg chg="add mod">
          <ac:chgData name="Markus Albuscheit" userId="4f7fce57-5076-4fe0-a4ff-e69de3a8985e" providerId="ADAL" clId="{0ACAEE19-1F3C-44E9-AA98-7871674C48E4}" dt="2023-12-13T15:19:03.719" v="549" actId="164"/>
          <ac:grpSpMkLst>
            <pc:docMk/>
            <pc:sldMk cId="1310139768" sldId="2147477067"/>
            <ac:grpSpMk id="35" creationId="{72002016-30C8-1EAC-47DD-3EC8D97CBA03}"/>
          </ac:grpSpMkLst>
        </pc:grpChg>
        <pc:grpChg chg="add mod">
          <ac:chgData name="Markus Albuscheit" userId="4f7fce57-5076-4fe0-a4ff-e69de3a8985e" providerId="ADAL" clId="{0ACAEE19-1F3C-44E9-AA98-7871674C48E4}" dt="2023-12-13T15:19:03.719" v="549" actId="164"/>
          <ac:grpSpMkLst>
            <pc:docMk/>
            <pc:sldMk cId="1310139768" sldId="2147477067"/>
            <ac:grpSpMk id="36" creationId="{B3226C1F-1FFA-A041-8BF9-0A816E1F091B}"/>
          </ac:grpSpMkLst>
        </pc:grpChg>
        <pc:picChg chg="add mod">
          <ac:chgData name="Markus Albuscheit" userId="4f7fce57-5076-4fe0-a4ff-e69de3a8985e" providerId="ADAL" clId="{0ACAEE19-1F3C-44E9-AA98-7871674C48E4}" dt="2023-12-13T15:07:13.007" v="485" actId="164"/>
          <ac:picMkLst>
            <pc:docMk/>
            <pc:sldMk cId="1310139768" sldId="2147477067"/>
            <ac:picMk id="7" creationId="{EEDDCAAA-EF1E-7113-F4E1-3B234780B6DF}"/>
          </ac:picMkLst>
        </pc:picChg>
        <pc:picChg chg="add mod">
          <ac:chgData name="Markus Albuscheit" userId="4f7fce57-5076-4fe0-a4ff-e69de3a8985e" providerId="ADAL" clId="{0ACAEE19-1F3C-44E9-AA98-7871674C48E4}" dt="2023-12-13T15:07:13.007" v="485" actId="164"/>
          <ac:picMkLst>
            <pc:docMk/>
            <pc:sldMk cId="1310139768" sldId="2147477067"/>
            <ac:picMk id="8" creationId="{371CB74D-CE41-524A-104D-F4B3640593F0}"/>
          </ac:picMkLst>
        </pc:picChg>
        <pc:picChg chg="del topLvl">
          <ac:chgData name="Markus Albuscheit" userId="4f7fce57-5076-4fe0-a4ff-e69de3a8985e" providerId="ADAL" clId="{0ACAEE19-1F3C-44E9-AA98-7871674C48E4}" dt="2023-12-13T15:04:01.516" v="336" actId="478"/>
          <ac:picMkLst>
            <pc:docMk/>
            <pc:sldMk cId="1310139768" sldId="2147477067"/>
            <ac:picMk id="18" creationId="{13EAFB72-BC28-C0E4-8915-34EC7196A93B}"/>
          </ac:picMkLst>
        </pc:picChg>
        <pc:picChg chg="add mod">
          <ac:chgData name="Markus Albuscheit" userId="4f7fce57-5076-4fe0-a4ff-e69de3a8985e" providerId="ADAL" clId="{0ACAEE19-1F3C-44E9-AA98-7871674C48E4}" dt="2023-12-13T15:07:13.007" v="485" actId="164"/>
          <ac:picMkLst>
            <pc:docMk/>
            <pc:sldMk cId="1310139768" sldId="2147477067"/>
            <ac:picMk id="19" creationId="{E7C3878F-776B-4AC7-6B8C-49D68849FACC}"/>
          </ac:picMkLst>
        </pc:picChg>
        <pc:picChg chg="del mod">
          <ac:chgData name="Markus Albuscheit" userId="4f7fce57-5076-4fe0-a4ff-e69de3a8985e" providerId="ADAL" clId="{0ACAEE19-1F3C-44E9-AA98-7871674C48E4}" dt="2023-12-13T14:59:39.220" v="227" actId="478"/>
          <ac:picMkLst>
            <pc:docMk/>
            <pc:sldMk cId="1310139768" sldId="2147477067"/>
            <ac:picMk id="23" creationId="{F44E831A-26BE-CDF6-308F-B9AC9C3DFB56}"/>
          </ac:picMkLst>
        </pc:picChg>
        <pc:picChg chg="add del mod">
          <ac:chgData name="Markus Albuscheit" userId="4f7fce57-5076-4fe0-a4ff-e69de3a8985e" providerId="ADAL" clId="{0ACAEE19-1F3C-44E9-AA98-7871674C48E4}" dt="2023-12-13T14:53:30.253" v="160" actId="478"/>
          <ac:picMkLst>
            <pc:docMk/>
            <pc:sldMk cId="1310139768" sldId="2147477067"/>
            <ac:picMk id="24" creationId="{79A06379-CA8E-FC45-967A-962EB26FE200}"/>
          </ac:picMkLst>
        </pc:picChg>
        <pc:picChg chg="add mod">
          <ac:chgData name="Markus Albuscheit" userId="4f7fce57-5076-4fe0-a4ff-e69de3a8985e" providerId="ADAL" clId="{0ACAEE19-1F3C-44E9-AA98-7871674C48E4}" dt="2023-12-13T15:19:03.719" v="549" actId="164"/>
          <ac:picMkLst>
            <pc:docMk/>
            <pc:sldMk cId="1310139768" sldId="2147477067"/>
            <ac:picMk id="25" creationId="{7E6091E9-A275-6ECD-0840-60BFEF6C00D9}"/>
          </ac:picMkLst>
        </pc:picChg>
        <pc:picChg chg="add mod">
          <ac:chgData name="Markus Albuscheit" userId="4f7fce57-5076-4fe0-a4ff-e69de3a8985e" providerId="ADAL" clId="{0ACAEE19-1F3C-44E9-AA98-7871674C48E4}" dt="2023-12-13T15:07:13.007" v="485" actId="164"/>
          <ac:picMkLst>
            <pc:docMk/>
            <pc:sldMk cId="1310139768" sldId="2147477067"/>
            <ac:picMk id="26" creationId="{E1701191-8600-1804-BA07-453325572382}"/>
          </ac:picMkLst>
        </pc:picChg>
        <pc:picChg chg="add del mod">
          <ac:chgData name="Markus Albuscheit" userId="4f7fce57-5076-4fe0-a4ff-e69de3a8985e" providerId="ADAL" clId="{0ACAEE19-1F3C-44E9-AA98-7871674C48E4}" dt="2023-12-13T14:53:30.253" v="160" actId="478"/>
          <ac:picMkLst>
            <pc:docMk/>
            <pc:sldMk cId="1310139768" sldId="2147477067"/>
            <ac:picMk id="27" creationId="{3543BEEA-24DE-15F7-8AA6-01980D44A85E}"/>
          </ac:picMkLst>
        </pc:picChg>
        <pc:picChg chg="add del mod">
          <ac:chgData name="Markus Albuscheit" userId="4f7fce57-5076-4fe0-a4ff-e69de3a8985e" providerId="ADAL" clId="{0ACAEE19-1F3C-44E9-AA98-7871674C48E4}" dt="2023-12-13T14:53:30.253" v="160" actId="478"/>
          <ac:picMkLst>
            <pc:docMk/>
            <pc:sldMk cId="1310139768" sldId="2147477067"/>
            <ac:picMk id="28" creationId="{5D51DF69-99C1-428A-2F84-58FEA3AF99C0}"/>
          </ac:picMkLst>
        </pc:picChg>
        <pc:picChg chg="add del mod">
          <ac:chgData name="Markus Albuscheit" userId="4f7fce57-5076-4fe0-a4ff-e69de3a8985e" providerId="ADAL" clId="{0ACAEE19-1F3C-44E9-AA98-7871674C48E4}" dt="2023-12-13T14:53:34.963" v="161" actId="478"/>
          <ac:picMkLst>
            <pc:docMk/>
            <pc:sldMk cId="1310139768" sldId="2147477067"/>
            <ac:picMk id="29" creationId="{3411F1D9-ED61-BDA7-0740-509B13DFAD92}"/>
          </ac:picMkLst>
        </pc:picChg>
        <pc:picChg chg="add mod">
          <ac:chgData name="Markus Albuscheit" userId="4f7fce57-5076-4fe0-a4ff-e69de3a8985e" providerId="ADAL" clId="{0ACAEE19-1F3C-44E9-AA98-7871674C48E4}" dt="2023-12-13T15:19:03.719" v="549" actId="164"/>
          <ac:picMkLst>
            <pc:docMk/>
            <pc:sldMk cId="1310139768" sldId="2147477067"/>
            <ac:picMk id="30" creationId="{60BFE3D5-721C-314C-8D05-1561DEE08B5D}"/>
          </ac:picMkLst>
        </pc:picChg>
        <pc:picChg chg="add del mod">
          <ac:chgData name="Markus Albuscheit" userId="4f7fce57-5076-4fe0-a4ff-e69de3a8985e" providerId="ADAL" clId="{0ACAEE19-1F3C-44E9-AA98-7871674C48E4}" dt="2023-12-13T14:59:20.186" v="223" actId="478"/>
          <ac:picMkLst>
            <pc:docMk/>
            <pc:sldMk cId="1310139768" sldId="2147477067"/>
            <ac:picMk id="31" creationId="{A7E54484-BC09-2B11-83DC-C778D0703C21}"/>
          </ac:picMkLst>
        </pc:picChg>
        <pc:picChg chg="add del mod">
          <ac:chgData name="Markus Albuscheit" userId="4f7fce57-5076-4fe0-a4ff-e69de3a8985e" providerId="ADAL" clId="{0ACAEE19-1F3C-44E9-AA98-7871674C48E4}" dt="2023-12-13T14:59:19.423" v="222" actId="478"/>
          <ac:picMkLst>
            <pc:docMk/>
            <pc:sldMk cId="1310139768" sldId="2147477067"/>
            <ac:picMk id="32" creationId="{000DB111-135F-2EDA-D136-123A241D93DF}"/>
          </ac:picMkLst>
        </pc:picChg>
        <pc:picChg chg="add mod">
          <ac:chgData name="Markus Albuscheit" userId="4f7fce57-5076-4fe0-a4ff-e69de3a8985e" providerId="ADAL" clId="{0ACAEE19-1F3C-44E9-AA98-7871674C48E4}" dt="2023-12-13T15:19:03.719" v="549" actId="164"/>
          <ac:picMkLst>
            <pc:docMk/>
            <pc:sldMk cId="1310139768" sldId="2147477067"/>
            <ac:picMk id="33" creationId="{4EDC0B85-45AB-39A1-EBE7-E302C6384D35}"/>
          </ac:picMkLst>
        </pc:picChg>
        <pc:picChg chg="add mod">
          <ac:chgData name="Markus Albuscheit" userId="4f7fce57-5076-4fe0-a4ff-e69de3a8985e" providerId="ADAL" clId="{0ACAEE19-1F3C-44E9-AA98-7871674C48E4}" dt="2023-12-13T15:19:03.719" v="549" actId="164"/>
          <ac:picMkLst>
            <pc:docMk/>
            <pc:sldMk cId="1310139768" sldId="2147477067"/>
            <ac:picMk id="34" creationId="{96AF6155-1662-CC8A-0D48-D50FCC2BA894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Markus Albuscheit" userId="4f7fce57-5076-4fe0-a4ff-e69de3a8985e" providerId="ADAL" clId="{0ACAEE19-1F3C-44E9-AA98-7871674C48E4}" dt="2023-12-14T17:09:47.789" v="7395"/>
              <pc2:cmMkLst xmlns:pc2="http://schemas.microsoft.com/office/powerpoint/2019/9/main/command">
                <pc:docMk/>
                <pc:sldMk cId="1310139768" sldId="2147477067"/>
                <pc2:cmMk id="{9ABBB355-3C5F-4DAD-B156-6680DC2BBD4F}"/>
              </pc2:cmMkLst>
            </pc226:cmChg>
            <pc226:cmChg xmlns:pc226="http://schemas.microsoft.com/office/powerpoint/2022/06/main/command" chg="add del mod">
              <pc226:chgData name="Markus Albuscheit" userId="4f7fce57-5076-4fe0-a4ff-e69de3a8985e" providerId="ADAL" clId="{0ACAEE19-1F3C-44E9-AA98-7871674C48E4}" dt="2023-12-14T17:09:49.932" v="7396"/>
              <pc2:cmMkLst xmlns:pc2="http://schemas.microsoft.com/office/powerpoint/2019/9/main/command">
                <pc:docMk/>
                <pc:sldMk cId="1310139768" sldId="2147477067"/>
                <pc2:cmMk id="{5433B5B4-5A77-40A5-9DB0-1751F09DD9CA}"/>
              </pc2:cmMkLst>
            </pc226:cmChg>
          </p:ext>
        </pc:extLst>
      </pc:sldChg>
      <pc:sldChg chg="addSp delSp modSp del mod ord modClrScheme modShow chgLayout">
        <pc:chgData name="Markus Albuscheit" userId="4f7fce57-5076-4fe0-a4ff-e69de3a8985e" providerId="ADAL" clId="{0ACAEE19-1F3C-44E9-AA98-7871674C48E4}" dt="2023-12-15T08:00:00.975" v="8042" actId="47"/>
        <pc:sldMkLst>
          <pc:docMk/>
          <pc:sldMk cId="3510813731" sldId="2147477068"/>
        </pc:sldMkLst>
        <pc:spChg chg="mod ord">
          <ac:chgData name="Markus Albuscheit" userId="4f7fce57-5076-4fe0-a4ff-e69de3a8985e" providerId="ADAL" clId="{0ACAEE19-1F3C-44E9-AA98-7871674C48E4}" dt="2023-12-13T15:21:57.292" v="698" actId="700"/>
          <ac:spMkLst>
            <pc:docMk/>
            <pc:sldMk cId="3510813731" sldId="2147477068"/>
            <ac:spMk id="2" creationId="{5999D014-B5EA-FDAD-C757-173D5B14EE37}"/>
          </ac:spMkLst>
        </pc:spChg>
        <pc:spChg chg="mod ord">
          <ac:chgData name="Markus Albuscheit" userId="4f7fce57-5076-4fe0-a4ff-e69de3a8985e" providerId="ADAL" clId="{0ACAEE19-1F3C-44E9-AA98-7871674C48E4}" dt="2023-12-13T15:21:57.292" v="698" actId="700"/>
          <ac:spMkLst>
            <pc:docMk/>
            <pc:sldMk cId="3510813731" sldId="2147477068"/>
            <ac:spMk id="3" creationId="{C37FEC5F-AC08-F6BA-9271-D83595B041F6}"/>
          </ac:spMkLst>
        </pc:spChg>
        <pc:spChg chg="mod ord">
          <ac:chgData name="Markus Albuscheit" userId="4f7fce57-5076-4fe0-a4ff-e69de3a8985e" providerId="ADAL" clId="{0ACAEE19-1F3C-44E9-AA98-7871674C48E4}" dt="2023-12-13T15:21:57.292" v="698" actId="700"/>
          <ac:spMkLst>
            <pc:docMk/>
            <pc:sldMk cId="3510813731" sldId="2147477068"/>
            <ac:spMk id="4" creationId="{D1D3A02E-ED5C-E7D2-EE73-AD1F7DECABD3}"/>
          </ac:spMkLst>
        </pc:spChg>
        <pc:spChg chg="mod ord">
          <ac:chgData name="Markus Albuscheit" userId="4f7fce57-5076-4fe0-a4ff-e69de3a8985e" providerId="ADAL" clId="{0ACAEE19-1F3C-44E9-AA98-7871674C48E4}" dt="2023-12-13T17:14:50.160" v="1642" actId="20577"/>
          <ac:spMkLst>
            <pc:docMk/>
            <pc:sldMk cId="3510813731" sldId="2147477068"/>
            <ac:spMk id="5" creationId="{CA329B8B-B069-D5CB-5560-9CC0386B88FD}"/>
          </ac:spMkLst>
        </pc:spChg>
        <pc:spChg chg="add del mod ord">
          <ac:chgData name="Markus Albuscheit" userId="4f7fce57-5076-4fe0-a4ff-e69de3a8985e" providerId="ADAL" clId="{0ACAEE19-1F3C-44E9-AA98-7871674C48E4}" dt="2023-12-13T15:21:57.292" v="698" actId="700"/>
          <ac:spMkLst>
            <pc:docMk/>
            <pc:sldMk cId="3510813731" sldId="2147477068"/>
            <ac:spMk id="6" creationId="{BB6344FA-9D40-F08B-5A60-E25A6CDF4F06}"/>
          </ac:spMkLst>
        </pc:spChg>
        <pc:spChg chg="add del mod ord">
          <ac:chgData name="Markus Albuscheit" userId="4f7fce57-5076-4fe0-a4ff-e69de3a8985e" providerId="ADAL" clId="{0ACAEE19-1F3C-44E9-AA98-7871674C48E4}" dt="2023-12-13T15:21:57.292" v="698" actId="700"/>
          <ac:spMkLst>
            <pc:docMk/>
            <pc:sldMk cId="3510813731" sldId="2147477068"/>
            <ac:spMk id="7" creationId="{E26C83E2-8944-BC63-72E8-87F440B14C52}"/>
          </ac:spMkLst>
        </pc:spChg>
        <pc:spChg chg="mod">
          <ac:chgData name="Markus Albuscheit" userId="4f7fce57-5076-4fe0-a4ff-e69de3a8985e" providerId="ADAL" clId="{0ACAEE19-1F3C-44E9-AA98-7871674C48E4}" dt="2023-12-13T15:20:32.423" v="571" actId="20577"/>
          <ac:spMkLst>
            <pc:docMk/>
            <pc:sldMk cId="3510813731" sldId="2147477068"/>
            <ac:spMk id="28" creationId="{544F5D73-0D29-11C7-4A71-4CE4C96DA27B}"/>
          </ac:spMkLst>
        </pc:spChg>
        <pc:spChg chg="mod">
          <ac:chgData name="Markus Albuscheit" userId="4f7fce57-5076-4fe0-a4ff-e69de3a8985e" providerId="ADAL" clId="{0ACAEE19-1F3C-44E9-AA98-7871674C48E4}" dt="2023-12-13T16:55:49.934" v="1316" actId="1076"/>
          <ac:spMkLst>
            <pc:docMk/>
            <pc:sldMk cId="3510813731" sldId="2147477068"/>
            <ac:spMk id="30" creationId="{E687CA82-968E-BFC6-6D7C-EC1156C5E5ED}"/>
          </ac:spMkLst>
        </pc:spChg>
        <pc:spChg chg="mod">
          <ac:chgData name="Markus Albuscheit" userId="4f7fce57-5076-4fe0-a4ff-e69de3a8985e" providerId="ADAL" clId="{0ACAEE19-1F3C-44E9-AA98-7871674C48E4}" dt="2023-12-13T16:56:06.945" v="1317" actId="1076"/>
          <ac:spMkLst>
            <pc:docMk/>
            <pc:sldMk cId="3510813731" sldId="2147477068"/>
            <ac:spMk id="38" creationId="{330C0211-B544-AF7E-8167-1611596FAEAA}"/>
          </ac:spMkLst>
        </pc:spChg>
        <pc:spChg chg="mod">
          <ac:chgData name="Markus Albuscheit" userId="4f7fce57-5076-4fe0-a4ff-e69de3a8985e" providerId="ADAL" clId="{0ACAEE19-1F3C-44E9-AA98-7871674C48E4}" dt="2023-12-13T16:55:49.934" v="1316" actId="1076"/>
          <ac:spMkLst>
            <pc:docMk/>
            <pc:sldMk cId="3510813731" sldId="2147477068"/>
            <ac:spMk id="46" creationId="{470270C5-4389-23DD-4D69-30E939806B1A}"/>
          </ac:spMkLst>
        </pc:spChg>
        <pc:grpChg chg="mod">
          <ac:chgData name="Markus Albuscheit" userId="4f7fce57-5076-4fe0-a4ff-e69de3a8985e" providerId="ADAL" clId="{0ACAEE19-1F3C-44E9-AA98-7871674C48E4}" dt="2023-12-13T16:55:49.934" v="1316" actId="1076"/>
          <ac:grpSpMkLst>
            <pc:docMk/>
            <pc:sldMk cId="3510813731" sldId="2147477068"/>
            <ac:grpSpMk id="27" creationId="{BFA56BFA-0A2E-3FFE-8C6D-0A6D941E53FD}"/>
          </ac:grpSpMkLst>
        </pc:grpChg>
        <pc:grpChg chg="mod">
          <ac:chgData name="Markus Albuscheit" userId="4f7fce57-5076-4fe0-a4ff-e69de3a8985e" providerId="ADAL" clId="{0ACAEE19-1F3C-44E9-AA98-7871674C48E4}" dt="2023-12-13T16:56:06.945" v="1317" actId="1076"/>
          <ac:grpSpMkLst>
            <pc:docMk/>
            <pc:sldMk cId="3510813731" sldId="2147477068"/>
            <ac:grpSpMk id="35" creationId="{9E365B1B-7C47-6A2E-4AC3-410ACD935AF4}"/>
          </ac:grpSpMkLst>
        </pc:grpChg>
        <pc:grpChg chg="mod">
          <ac:chgData name="Markus Albuscheit" userId="4f7fce57-5076-4fe0-a4ff-e69de3a8985e" providerId="ADAL" clId="{0ACAEE19-1F3C-44E9-AA98-7871674C48E4}" dt="2023-12-13T16:55:49.934" v="1316" actId="1076"/>
          <ac:grpSpMkLst>
            <pc:docMk/>
            <pc:sldMk cId="3510813731" sldId="2147477068"/>
            <ac:grpSpMk id="43" creationId="{43CBAE9F-A7A0-058E-68E2-060E6FE05AE7}"/>
          </ac:grpSpMkLst>
        </pc:grpChg>
      </pc:sldChg>
      <pc:sldChg chg="modSp del mod">
        <pc:chgData name="Markus Albuscheit" userId="4f7fce57-5076-4fe0-a4ff-e69de3a8985e" providerId="ADAL" clId="{0ACAEE19-1F3C-44E9-AA98-7871674C48E4}" dt="2023-12-13T16:57:55.771" v="1372" actId="47"/>
        <pc:sldMkLst>
          <pc:docMk/>
          <pc:sldMk cId="3186864219" sldId="2147477069"/>
        </pc:sldMkLst>
        <pc:spChg chg="mod">
          <ac:chgData name="Markus Albuscheit" userId="4f7fce57-5076-4fe0-a4ff-e69de3a8985e" providerId="ADAL" clId="{0ACAEE19-1F3C-44E9-AA98-7871674C48E4}" dt="2023-12-13T16:51:26.337" v="1262" actId="20577"/>
          <ac:spMkLst>
            <pc:docMk/>
            <pc:sldMk cId="3186864219" sldId="2147477069"/>
            <ac:spMk id="6" creationId="{7CB53F27-7AB3-C594-83F2-7F716F6860D3}"/>
          </ac:spMkLst>
        </pc:spChg>
      </pc:sldChg>
      <pc:sldChg chg="delSp modSp add del mod">
        <pc:chgData name="Markus Albuscheit" userId="4f7fce57-5076-4fe0-a4ff-e69de3a8985e" providerId="ADAL" clId="{0ACAEE19-1F3C-44E9-AA98-7871674C48E4}" dt="2023-12-13T14:40:17.600" v="88" actId="47"/>
        <pc:sldMkLst>
          <pc:docMk/>
          <pc:sldMk cId="3962019150" sldId="2147477070"/>
        </pc:sldMkLst>
        <pc:picChg chg="mod">
          <ac:chgData name="Markus Albuscheit" userId="4f7fce57-5076-4fe0-a4ff-e69de3a8985e" providerId="ADAL" clId="{0ACAEE19-1F3C-44E9-AA98-7871674C48E4}" dt="2023-12-13T14:39:58.678" v="80" actId="1076"/>
          <ac:picMkLst>
            <pc:docMk/>
            <pc:sldMk cId="3962019150" sldId="2147477070"/>
            <ac:picMk id="9" creationId="{8BC9CCFD-DB2A-868D-DB06-65893D1E7338}"/>
          </ac:picMkLst>
        </pc:picChg>
        <pc:picChg chg="mod">
          <ac:chgData name="Markus Albuscheit" userId="4f7fce57-5076-4fe0-a4ff-e69de3a8985e" providerId="ADAL" clId="{0ACAEE19-1F3C-44E9-AA98-7871674C48E4}" dt="2023-12-13T14:40:14.587" v="87" actId="1076"/>
          <ac:picMkLst>
            <pc:docMk/>
            <pc:sldMk cId="3962019150" sldId="2147477070"/>
            <ac:picMk id="12" creationId="{B5701B2F-9BA7-BE7D-C6ED-27CA57DD3A07}"/>
          </ac:picMkLst>
        </pc:picChg>
        <pc:picChg chg="mod">
          <ac:chgData name="Markus Albuscheit" userId="4f7fce57-5076-4fe0-a4ff-e69de3a8985e" providerId="ADAL" clId="{0ACAEE19-1F3C-44E9-AA98-7871674C48E4}" dt="2023-12-13T14:40:12.989" v="86" actId="1076"/>
          <ac:picMkLst>
            <pc:docMk/>
            <pc:sldMk cId="3962019150" sldId="2147477070"/>
            <ac:picMk id="14" creationId="{5849E027-E365-8DC5-5CD3-9582797CB03C}"/>
          </ac:picMkLst>
        </pc:picChg>
        <pc:picChg chg="mod">
          <ac:chgData name="Markus Albuscheit" userId="4f7fce57-5076-4fe0-a4ff-e69de3a8985e" providerId="ADAL" clId="{0ACAEE19-1F3C-44E9-AA98-7871674C48E4}" dt="2023-12-13T14:40:11.669" v="85" actId="1076"/>
          <ac:picMkLst>
            <pc:docMk/>
            <pc:sldMk cId="3962019150" sldId="2147477070"/>
            <ac:picMk id="16" creationId="{A430E8F4-09D6-6CE1-2072-1D7A73F29E1A}"/>
          </ac:picMkLst>
        </pc:picChg>
        <pc:picChg chg="mod">
          <ac:chgData name="Markus Albuscheit" userId="4f7fce57-5076-4fe0-a4ff-e69de3a8985e" providerId="ADAL" clId="{0ACAEE19-1F3C-44E9-AA98-7871674C48E4}" dt="2023-12-13T14:40:01.127" v="81" actId="1076"/>
          <ac:picMkLst>
            <pc:docMk/>
            <pc:sldMk cId="3962019150" sldId="2147477070"/>
            <ac:picMk id="17" creationId="{048B6B70-31AA-63AD-2F59-8299A075BFD4}"/>
          </ac:picMkLst>
        </pc:picChg>
        <pc:picChg chg="del mod">
          <ac:chgData name="Markus Albuscheit" userId="4f7fce57-5076-4fe0-a4ff-e69de3a8985e" providerId="ADAL" clId="{0ACAEE19-1F3C-44E9-AA98-7871674C48E4}" dt="2023-12-13T14:40:09.869" v="84" actId="478"/>
          <ac:picMkLst>
            <pc:docMk/>
            <pc:sldMk cId="3962019150" sldId="2147477070"/>
            <ac:picMk id="19" creationId="{B841110C-21B0-50EE-2152-F1F929E2082F}"/>
          </ac:picMkLst>
        </pc:picChg>
        <pc:picChg chg="mod">
          <ac:chgData name="Markus Albuscheit" userId="4f7fce57-5076-4fe0-a4ff-e69de3a8985e" providerId="ADAL" clId="{0ACAEE19-1F3C-44E9-AA98-7871674C48E4}" dt="2023-12-13T14:40:02.695" v="82" actId="1076"/>
          <ac:picMkLst>
            <pc:docMk/>
            <pc:sldMk cId="3962019150" sldId="2147477070"/>
            <ac:picMk id="21" creationId="{E6F59703-0272-4E2F-A790-66CC60694D92}"/>
          </ac:picMkLst>
        </pc:picChg>
      </pc:sldChg>
      <pc:sldChg chg="addSp delSp modSp add del mod ord modShow">
        <pc:chgData name="Markus Albuscheit" userId="4f7fce57-5076-4fe0-a4ff-e69de3a8985e" providerId="ADAL" clId="{0ACAEE19-1F3C-44E9-AA98-7871674C48E4}" dt="2023-12-15T07:59:03.542" v="8035" actId="47"/>
        <pc:sldMkLst>
          <pc:docMk/>
          <pc:sldMk cId="4284922711" sldId="2147477070"/>
        </pc:sldMkLst>
        <pc:spChg chg="mod">
          <ac:chgData name="Markus Albuscheit" userId="4f7fce57-5076-4fe0-a4ff-e69de3a8985e" providerId="ADAL" clId="{0ACAEE19-1F3C-44E9-AA98-7871674C48E4}" dt="2023-12-13T16:51:11.679" v="1260" actId="1037"/>
          <ac:spMkLst>
            <pc:docMk/>
            <pc:sldMk cId="4284922711" sldId="2147477070"/>
            <ac:spMk id="5" creationId="{4E544419-D65E-039F-C114-E329B6CA574D}"/>
          </ac:spMkLst>
        </pc:spChg>
        <pc:spChg chg="mod">
          <ac:chgData name="Markus Albuscheit" userId="4f7fce57-5076-4fe0-a4ff-e69de3a8985e" providerId="ADAL" clId="{0ACAEE19-1F3C-44E9-AA98-7871674C48E4}" dt="2023-12-13T16:51:11.679" v="1260" actId="1037"/>
          <ac:spMkLst>
            <pc:docMk/>
            <pc:sldMk cId="4284922711" sldId="2147477070"/>
            <ac:spMk id="6" creationId="{7CB53F27-7AB3-C594-83F2-7F716F6860D3}"/>
          </ac:spMkLst>
        </pc:spChg>
        <pc:spChg chg="add mod">
          <ac:chgData name="Markus Albuscheit" userId="4f7fce57-5076-4fe0-a4ff-e69de3a8985e" providerId="ADAL" clId="{0ACAEE19-1F3C-44E9-AA98-7871674C48E4}" dt="2023-12-14T09:39:25.427" v="2678" actId="20577"/>
          <ac:spMkLst>
            <pc:docMk/>
            <pc:sldMk cId="4284922711" sldId="2147477070"/>
            <ac:spMk id="8" creationId="{48166EEC-C780-5DC7-B673-DAB4FD659498}"/>
          </ac:spMkLst>
        </pc:spChg>
        <pc:spChg chg="add del">
          <ac:chgData name="Markus Albuscheit" userId="4f7fce57-5076-4fe0-a4ff-e69de3a8985e" providerId="ADAL" clId="{0ACAEE19-1F3C-44E9-AA98-7871674C48E4}" dt="2023-12-13T16:26:14.064" v="879" actId="22"/>
          <ac:spMkLst>
            <pc:docMk/>
            <pc:sldMk cId="4284922711" sldId="2147477070"/>
            <ac:spMk id="11" creationId="{0DB41304-2FE6-0064-4DC8-1C79B25756C3}"/>
          </ac:spMkLst>
        </pc:spChg>
        <pc:spChg chg="add mod">
          <ac:chgData name="Markus Albuscheit" userId="4f7fce57-5076-4fe0-a4ff-e69de3a8985e" providerId="ADAL" clId="{0ACAEE19-1F3C-44E9-AA98-7871674C48E4}" dt="2023-12-14T09:37:15.640" v="2643" actId="21"/>
          <ac:spMkLst>
            <pc:docMk/>
            <pc:sldMk cId="4284922711" sldId="2147477070"/>
            <ac:spMk id="13" creationId="{1E22024B-4290-697E-7ECE-1C46696C667B}"/>
          </ac:spMkLst>
        </pc:spChg>
        <pc:spChg chg="add mod">
          <ac:chgData name="Markus Albuscheit" userId="4f7fce57-5076-4fe0-a4ff-e69de3a8985e" providerId="ADAL" clId="{0ACAEE19-1F3C-44E9-AA98-7871674C48E4}" dt="2023-12-13T16:51:11.679" v="1260" actId="1037"/>
          <ac:spMkLst>
            <pc:docMk/>
            <pc:sldMk cId="4284922711" sldId="2147477070"/>
            <ac:spMk id="14" creationId="{243114D7-9AA6-0403-F042-FF03D979227E}"/>
          </ac:spMkLst>
        </pc:spChg>
        <pc:spChg chg="add del mod topLvl">
          <ac:chgData name="Markus Albuscheit" userId="4f7fce57-5076-4fe0-a4ff-e69de3a8985e" providerId="ADAL" clId="{0ACAEE19-1F3C-44E9-AA98-7871674C48E4}" dt="2023-12-13T16:51:11.679" v="1260" actId="1037"/>
          <ac:spMkLst>
            <pc:docMk/>
            <pc:sldMk cId="4284922711" sldId="2147477070"/>
            <ac:spMk id="17" creationId="{34074313-61E8-F2E8-273C-8B7723FB0BF5}"/>
          </ac:spMkLst>
        </pc:spChg>
        <pc:spChg chg="add del">
          <ac:chgData name="Markus Albuscheit" userId="4f7fce57-5076-4fe0-a4ff-e69de3a8985e" providerId="ADAL" clId="{0ACAEE19-1F3C-44E9-AA98-7871674C48E4}" dt="2023-12-13T17:52:08.850" v="2112" actId="22"/>
          <ac:spMkLst>
            <pc:docMk/>
            <pc:sldMk cId="4284922711" sldId="2147477070"/>
            <ac:spMk id="20" creationId="{868A10C6-B954-7569-0EB5-233F262A1DA9}"/>
          </ac:spMkLst>
        </pc:spChg>
        <pc:grpChg chg="add del mod">
          <ac:chgData name="Markus Albuscheit" userId="4f7fce57-5076-4fe0-a4ff-e69de3a8985e" providerId="ADAL" clId="{0ACAEE19-1F3C-44E9-AA98-7871674C48E4}" dt="2023-12-13T16:46:46.801" v="1144" actId="478"/>
          <ac:grpSpMkLst>
            <pc:docMk/>
            <pc:sldMk cId="4284922711" sldId="2147477070"/>
            <ac:grpSpMk id="16" creationId="{67292A83-A629-B43A-C08B-2511DBA73961}"/>
          </ac:grpSpMkLst>
        </pc:grpChg>
        <pc:picChg chg="del">
          <ac:chgData name="Markus Albuscheit" userId="4f7fce57-5076-4fe0-a4ff-e69de3a8985e" providerId="ADAL" clId="{0ACAEE19-1F3C-44E9-AA98-7871674C48E4}" dt="2023-12-13T15:22:21.456" v="702" actId="478"/>
          <ac:picMkLst>
            <pc:docMk/>
            <pc:sldMk cId="4284922711" sldId="2147477070"/>
            <ac:picMk id="7" creationId="{3BFA7D0A-1C94-F38C-94DE-0B57BF85314A}"/>
          </ac:picMkLst>
        </pc:picChg>
        <pc:picChg chg="add del mod modCrop">
          <ac:chgData name="Markus Albuscheit" userId="4f7fce57-5076-4fe0-a4ff-e69de3a8985e" providerId="ADAL" clId="{0ACAEE19-1F3C-44E9-AA98-7871674C48E4}" dt="2023-12-13T16:37:55.510" v="1047" actId="478"/>
          <ac:picMkLst>
            <pc:docMk/>
            <pc:sldMk cId="4284922711" sldId="2147477070"/>
            <ac:picMk id="9" creationId="{7C660F9D-F4C2-D407-5C5A-2E9EBD031D17}"/>
          </ac:picMkLst>
        </pc:picChg>
        <pc:picChg chg="add mod ord">
          <ac:chgData name="Markus Albuscheit" userId="4f7fce57-5076-4fe0-a4ff-e69de3a8985e" providerId="ADAL" clId="{0ACAEE19-1F3C-44E9-AA98-7871674C48E4}" dt="2023-12-13T16:51:11.679" v="1260" actId="1037"/>
          <ac:picMkLst>
            <pc:docMk/>
            <pc:sldMk cId="4284922711" sldId="2147477070"/>
            <ac:picMk id="15" creationId="{6869852B-3A0D-DD91-9878-B540225A4373}"/>
          </ac:picMkLst>
        </pc:picChg>
        <pc:picChg chg="del mod topLvl">
          <ac:chgData name="Markus Albuscheit" userId="4f7fce57-5076-4fe0-a4ff-e69de3a8985e" providerId="ADAL" clId="{0ACAEE19-1F3C-44E9-AA98-7871674C48E4}" dt="2023-12-13T16:46:46.801" v="1144" actId="478"/>
          <ac:picMkLst>
            <pc:docMk/>
            <pc:sldMk cId="4284922711" sldId="2147477070"/>
            <ac:picMk id="18" creationId="{E72EE26C-DD64-3EB7-3756-9F3D28967EBB}"/>
          </ac:picMkLst>
        </pc:picChg>
        <pc:picChg chg="add mod">
          <ac:chgData name="Markus Albuscheit" userId="4f7fce57-5076-4fe0-a4ff-e69de3a8985e" providerId="ADAL" clId="{0ACAEE19-1F3C-44E9-AA98-7871674C48E4}" dt="2023-12-14T09:37:38.024" v="2647" actId="1076"/>
          <ac:picMkLst>
            <pc:docMk/>
            <pc:sldMk cId="4284922711" sldId="2147477070"/>
            <ac:picMk id="1026" creationId="{62D20323-E4D5-F1A7-8E08-A615A387E4C8}"/>
          </ac:picMkLst>
        </pc:picChg>
      </pc:sldChg>
      <pc:sldChg chg="addSp delSp modSp add mod modClrScheme addCm delCm chgLayout modNotesTx">
        <pc:chgData name="Markus Albuscheit" userId="4f7fce57-5076-4fe0-a4ff-e69de3a8985e" providerId="ADAL" clId="{0ACAEE19-1F3C-44E9-AA98-7871674C48E4}" dt="2023-12-15T08:03:17.705" v="8052" actId="20577"/>
        <pc:sldMkLst>
          <pc:docMk/>
          <pc:sldMk cId="276531377" sldId="2147477071"/>
        </pc:sldMkLst>
        <pc:spChg chg="mod ord">
          <ac:chgData name="Markus Albuscheit" userId="4f7fce57-5076-4fe0-a4ff-e69de3a8985e" providerId="ADAL" clId="{0ACAEE19-1F3C-44E9-AA98-7871674C48E4}" dt="2023-12-13T16:35:51.275" v="1029" actId="700"/>
          <ac:spMkLst>
            <pc:docMk/>
            <pc:sldMk cId="276531377" sldId="2147477071"/>
            <ac:spMk id="2" creationId="{569110AE-BCA4-67F8-48DD-9233B5C72535}"/>
          </ac:spMkLst>
        </pc:spChg>
        <pc:spChg chg="mod ord">
          <ac:chgData name="Markus Albuscheit" userId="4f7fce57-5076-4fe0-a4ff-e69de3a8985e" providerId="ADAL" clId="{0ACAEE19-1F3C-44E9-AA98-7871674C48E4}" dt="2023-12-13T16:35:51.275" v="1029" actId="700"/>
          <ac:spMkLst>
            <pc:docMk/>
            <pc:sldMk cId="276531377" sldId="2147477071"/>
            <ac:spMk id="3" creationId="{D69A653E-B05B-91A1-4387-217B46E6DAA5}"/>
          </ac:spMkLst>
        </pc:spChg>
        <pc:spChg chg="del mod">
          <ac:chgData name="Markus Albuscheit" userId="4f7fce57-5076-4fe0-a4ff-e69de3a8985e" providerId="ADAL" clId="{0ACAEE19-1F3C-44E9-AA98-7871674C48E4}" dt="2023-12-14T20:22:28.630" v="7709" actId="478"/>
          <ac:spMkLst>
            <pc:docMk/>
            <pc:sldMk cId="276531377" sldId="2147477071"/>
            <ac:spMk id="4" creationId="{2006E93D-9FC4-EA8D-B072-E2B40E95CD8E}"/>
          </ac:spMkLst>
        </pc:spChg>
        <pc:spChg chg="mod ord">
          <ac:chgData name="Markus Albuscheit" userId="4f7fce57-5076-4fe0-a4ff-e69de3a8985e" providerId="ADAL" clId="{0ACAEE19-1F3C-44E9-AA98-7871674C48E4}" dt="2023-12-13T16:35:51.275" v="1029" actId="700"/>
          <ac:spMkLst>
            <pc:docMk/>
            <pc:sldMk cId="276531377" sldId="2147477071"/>
            <ac:spMk id="4" creationId="{818D50A6-B698-5B8D-6FF9-783D3D604B5D}"/>
          </ac:spMkLst>
        </pc:spChg>
        <pc:spChg chg="mod ord">
          <ac:chgData name="Markus Albuscheit" userId="4f7fce57-5076-4fe0-a4ff-e69de3a8985e" providerId="ADAL" clId="{0ACAEE19-1F3C-44E9-AA98-7871674C48E4}" dt="2023-12-13T17:54:08.602" v="2122" actId="404"/>
          <ac:spMkLst>
            <pc:docMk/>
            <pc:sldMk cId="276531377" sldId="2147477071"/>
            <ac:spMk id="5" creationId="{4E544419-D65E-039F-C114-E329B6CA574D}"/>
          </ac:spMkLst>
        </pc:spChg>
        <pc:spChg chg="add mod">
          <ac:chgData name="Markus Albuscheit" userId="4f7fce57-5076-4fe0-a4ff-e69de3a8985e" providerId="ADAL" clId="{0ACAEE19-1F3C-44E9-AA98-7871674C48E4}" dt="2023-12-14T17:29:08.611" v="7593" actId="20577"/>
          <ac:spMkLst>
            <pc:docMk/>
            <pc:sldMk cId="276531377" sldId="2147477071"/>
            <ac:spMk id="6" creationId="{4E835AFD-93B9-BBD4-5A84-392C4B39AF98}"/>
          </ac:spMkLst>
        </pc:spChg>
        <pc:spChg chg="del mod ord">
          <ac:chgData name="Markus Albuscheit" userId="4f7fce57-5076-4fe0-a4ff-e69de3a8985e" providerId="ADAL" clId="{0ACAEE19-1F3C-44E9-AA98-7871674C48E4}" dt="2023-12-13T16:35:55.312" v="1030" actId="478"/>
          <ac:spMkLst>
            <pc:docMk/>
            <pc:sldMk cId="276531377" sldId="2147477071"/>
            <ac:spMk id="6" creationId="{7CB53F27-7AB3-C594-83F2-7F716F6860D3}"/>
          </ac:spMkLst>
        </pc:spChg>
        <pc:spChg chg="add mod ord">
          <ac:chgData name="Markus Albuscheit" userId="4f7fce57-5076-4fe0-a4ff-e69de3a8985e" providerId="ADAL" clId="{0ACAEE19-1F3C-44E9-AA98-7871674C48E4}" dt="2023-12-13T17:54:13.453" v="2123" actId="403"/>
          <ac:spMkLst>
            <pc:docMk/>
            <pc:sldMk cId="276531377" sldId="2147477071"/>
            <ac:spMk id="7" creationId="{B66E717E-1415-CFC3-BB39-EFBFAAE054C6}"/>
          </ac:spMkLst>
        </pc:spChg>
        <pc:spChg chg="add mod ord">
          <ac:chgData name="Markus Albuscheit" userId="4f7fce57-5076-4fe0-a4ff-e69de3a8985e" providerId="ADAL" clId="{0ACAEE19-1F3C-44E9-AA98-7871674C48E4}" dt="2023-12-14T11:18:20.272" v="5461" actId="20577"/>
          <ac:spMkLst>
            <pc:docMk/>
            <pc:sldMk cId="276531377" sldId="2147477071"/>
            <ac:spMk id="8" creationId="{AC94FBC3-03BF-CA46-4F47-52855E3DFAEE}"/>
          </ac:spMkLst>
        </pc:spChg>
        <pc:spChg chg="mod">
          <ac:chgData name="Markus Albuscheit" userId="4f7fce57-5076-4fe0-a4ff-e69de3a8985e" providerId="ADAL" clId="{0ACAEE19-1F3C-44E9-AA98-7871674C48E4}" dt="2023-12-14T10:41:46.683" v="3539"/>
          <ac:spMkLst>
            <pc:docMk/>
            <pc:sldMk cId="276531377" sldId="2147477071"/>
            <ac:spMk id="10" creationId="{98DC3FE6-58D9-0B15-94F1-7CDDACAC06BF}"/>
          </ac:spMkLst>
        </pc:spChg>
        <pc:spChg chg="del">
          <ac:chgData name="Markus Albuscheit" userId="4f7fce57-5076-4fe0-a4ff-e69de3a8985e" providerId="ADAL" clId="{0ACAEE19-1F3C-44E9-AA98-7871674C48E4}" dt="2023-12-13T16:35:42.035" v="1028" actId="478"/>
          <ac:spMkLst>
            <pc:docMk/>
            <pc:sldMk cId="276531377" sldId="2147477071"/>
            <ac:spMk id="13" creationId="{1E22024B-4290-697E-7ECE-1C46696C667B}"/>
          </ac:spMkLst>
        </pc:spChg>
        <pc:spChg chg="del">
          <ac:chgData name="Markus Albuscheit" userId="4f7fce57-5076-4fe0-a4ff-e69de3a8985e" providerId="ADAL" clId="{0ACAEE19-1F3C-44E9-AA98-7871674C48E4}" dt="2023-12-14T17:27:14.656" v="7499" actId="478"/>
          <ac:spMkLst>
            <pc:docMk/>
            <pc:sldMk cId="276531377" sldId="2147477071"/>
            <ac:spMk id="13" creationId="{9898B5C2-63F8-72E0-6BCB-672DE2628AE4}"/>
          </ac:spMkLst>
        </pc:spChg>
        <pc:spChg chg="del mod">
          <ac:chgData name="Markus Albuscheit" userId="4f7fce57-5076-4fe0-a4ff-e69de3a8985e" providerId="ADAL" clId="{0ACAEE19-1F3C-44E9-AA98-7871674C48E4}" dt="2023-12-14T10:41:56.206" v="3541" actId="478"/>
          <ac:spMkLst>
            <pc:docMk/>
            <pc:sldMk cId="276531377" sldId="2147477071"/>
            <ac:spMk id="14" creationId="{243114D7-9AA6-0403-F042-FF03D979227E}"/>
          </ac:spMkLst>
        </pc:spChg>
        <pc:spChg chg="add del mod">
          <ac:chgData name="Markus Albuscheit" userId="4f7fce57-5076-4fe0-a4ff-e69de3a8985e" providerId="ADAL" clId="{0ACAEE19-1F3C-44E9-AA98-7871674C48E4}" dt="2023-12-14T08:47:15.570" v="2614" actId="478"/>
          <ac:spMkLst>
            <pc:docMk/>
            <pc:sldMk cId="276531377" sldId="2147477071"/>
            <ac:spMk id="16" creationId="{0A631A68-C9A5-4C8F-2474-E5925604E13D}"/>
          </ac:spMkLst>
        </pc:spChg>
        <pc:spChg chg="del mod">
          <ac:chgData name="Markus Albuscheit" userId="4f7fce57-5076-4fe0-a4ff-e69de3a8985e" providerId="ADAL" clId="{0ACAEE19-1F3C-44E9-AA98-7871674C48E4}" dt="2023-12-14T17:27:18.380" v="7500" actId="478"/>
          <ac:spMkLst>
            <pc:docMk/>
            <pc:sldMk cId="276531377" sldId="2147477071"/>
            <ac:spMk id="16" creationId="{2AB8683C-F711-E6C4-051B-D07D6C37C1C4}"/>
          </ac:spMkLst>
        </pc:spChg>
        <pc:spChg chg="add del">
          <ac:chgData name="Markus Albuscheit" userId="4f7fce57-5076-4fe0-a4ff-e69de3a8985e" providerId="ADAL" clId="{0ACAEE19-1F3C-44E9-AA98-7871674C48E4}" dt="2023-12-14T10:44:02.469" v="3595" actId="22"/>
          <ac:spMkLst>
            <pc:docMk/>
            <pc:sldMk cId="276531377" sldId="2147477071"/>
            <ac:spMk id="18" creationId="{7249C2ED-C68E-8DA4-5FEC-1749F5E51FE2}"/>
          </ac:spMkLst>
        </pc:spChg>
        <pc:spChg chg="add mod">
          <ac:chgData name="Markus Albuscheit" userId="4f7fce57-5076-4fe0-a4ff-e69de3a8985e" providerId="ADAL" clId="{0ACAEE19-1F3C-44E9-AA98-7871674C48E4}" dt="2023-12-14T10:43:45.368" v="3593" actId="1035"/>
          <ac:spMkLst>
            <pc:docMk/>
            <pc:sldMk cId="276531377" sldId="2147477071"/>
            <ac:spMk id="20" creationId="{21250A19-9DD5-0E9A-2B5D-EBD3BDC24B1E}"/>
          </ac:spMkLst>
        </pc:spChg>
        <pc:spChg chg="add mod">
          <ac:chgData name="Markus Albuscheit" userId="4f7fce57-5076-4fe0-a4ff-e69de3a8985e" providerId="ADAL" clId="{0ACAEE19-1F3C-44E9-AA98-7871674C48E4}" dt="2023-12-14T10:43:45.368" v="3593" actId="1035"/>
          <ac:spMkLst>
            <pc:docMk/>
            <pc:sldMk cId="276531377" sldId="2147477071"/>
            <ac:spMk id="21" creationId="{4A9E3B5D-6881-6770-E546-2FFE5F0D16F8}"/>
          </ac:spMkLst>
        </pc:spChg>
        <pc:spChg chg="add del">
          <ac:chgData name="Markus Albuscheit" userId="4f7fce57-5076-4fe0-a4ff-e69de3a8985e" providerId="ADAL" clId="{0ACAEE19-1F3C-44E9-AA98-7871674C48E4}" dt="2023-12-13T17:58:02.530" v="2222" actId="22"/>
          <ac:spMkLst>
            <pc:docMk/>
            <pc:sldMk cId="276531377" sldId="2147477071"/>
            <ac:spMk id="23" creationId="{72BD86A7-A3CE-C40C-E67B-178508BE8262}"/>
          </ac:spMkLst>
        </pc:spChg>
        <pc:spChg chg="add mod">
          <ac:chgData name="Markus Albuscheit" userId="4f7fce57-5076-4fe0-a4ff-e69de3a8985e" providerId="ADAL" clId="{0ACAEE19-1F3C-44E9-AA98-7871674C48E4}" dt="2023-12-14T14:56:18.934" v="6797" actId="14100"/>
          <ac:spMkLst>
            <pc:docMk/>
            <pc:sldMk cId="276531377" sldId="2147477071"/>
            <ac:spMk id="25" creationId="{32EE9BE3-1499-68CC-DE87-95D9EA6DFCAB}"/>
          </ac:spMkLst>
        </pc:spChg>
        <pc:spChg chg="add mod">
          <ac:chgData name="Markus Albuscheit" userId="4f7fce57-5076-4fe0-a4ff-e69de3a8985e" providerId="ADAL" clId="{0ACAEE19-1F3C-44E9-AA98-7871674C48E4}" dt="2023-12-14T17:28:50.653" v="7584" actId="20577"/>
          <ac:spMkLst>
            <pc:docMk/>
            <pc:sldMk cId="276531377" sldId="2147477071"/>
            <ac:spMk id="28" creationId="{6269731B-346C-5F0D-96FA-87F926B16822}"/>
          </ac:spMkLst>
        </pc:spChg>
        <pc:grpChg chg="add mod">
          <ac:chgData name="Markus Albuscheit" userId="4f7fce57-5076-4fe0-a4ff-e69de3a8985e" providerId="ADAL" clId="{0ACAEE19-1F3C-44E9-AA98-7871674C48E4}" dt="2023-12-14T10:41:46.683" v="3539"/>
          <ac:grpSpMkLst>
            <pc:docMk/>
            <pc:sldMk cId="276531377" sldId="2147477071"/>
            <ac:grpSpMk id="9" creationId="{C2F6BF5D-2A5A-0D3F-CDCB-A1AF38BBFE67}"/>
          </ac:grpSpMkLst>
        </pc:grpChg>
        <pc:graphicFrameChg chg="add del mod">
          <ac:chgData name="Markus Albuscheit" userId="4f7fce57-5076-4fe0-a4ff-e69de3a8985e" providerId="ADAL" clId="{0ACAEE19-1F3C-44E9-AA98-7871674C48E4}" dt="2023-12-13T16:49:11.611" v="1230"/>
          <ac:graphicFrameMkLst>
            <pc:docMk/>
            <pc:sldMk cId="276531377" sldId="2147477071"/>
            <ac:graphicFrameMk id="10" creationId="{7BBAD8D4-7021-B35E-E199-84FEEE76C621}"/>
          </ac:graphicFrameMkLst>
        </pc:graphicFrameChg>
        <pc:graphicFrameChg chg="add del mod">
          <ac:chgData name="Markus Albuscheit" userId="4f7fce57-5076-4fe0-a4ff-e69de3a8985e" providerId="ADAL" clId="{0ACAEE19-1F3C-44E9-AA98-7871674C48E4}" dt="2023-12-13T16:49:25.243" v="1233"/>
          <ac:graphicFrameMkLst>
            <pc:docMk/>
            <pc:sldMk cId="276531377" sldId="2147477071"/>
            <ac:graphicFrameMk id="11" creationId="{BCEDAE41-CDD4-5DCD-DD46-9710F5F88364}"/>
          </ac:graphicFrameMkLst>
        </pc:graphicFrameChg>
        <pc:picChg chg="del">
          <ac:chgData name="Markus Albuscheit" userId="4f7fce57-5076-4fe0-a4ff-e69de3a8985e" providerId="ADAL" clId="{0ACAEE19-1F3C-44E9-AA98-7871674C48E4}" dt="2023-12-13T16:35:40.356" v="1027" actId="478"/>
          <ac:picMkLst>
            <pc:docMk/>
            <pc:sldMk cId="276531377" sldId="2147477071"/>
            <ac:picMk id="9" creationId="{7C660F9D-F4C2-D407-5C5A-2E9EBD031D17}"/>
          </ac:picMkLst>
        </pc:picChg>
        <pc:picChg chg="mod">
          <ac:chgData name="Markus Albuscheit" userId="4f7fce57-5076-4fe0-a4ff-e69de3a8985e" providerId="ADAL" clId="{0ACAEE19-1F3C-44E9-AA98-7871674C48E4}" dt="2023-12-14T10:41:46.683" v="3539"/>
          <ac:picMkLst>
            <pc:docMk/>
            <pc:sldMk cId="276531377" sldId="2147477071"/>
            <ac:picMk id="11" creationId="{29550270-3AC1-DC92-D0E2-28697C1BCB52}"/>
          </ac:picMkLst>
        </pc:picChg>
        <pc:picChg chg="add mod ord">
          <ac:chgData name="Markus Albuscheit" userId="4f7fce57-5076-4fe0-a4ff-e69de3a8985e" providerId="ADAL" clId="{0ACAEE19-1F3C-44E9-AA98-7871674C48E4}" dt="2023-12-14T10:43:45.368" v="3593" actId="1035"/>
          <ac:picMkLst>
            <pc:docMk/>
            <pc:sldMk cId="276531377" sldId="2147477071"/>
            <ac:picMk id="12" creationId="{6EF8F957-49D0-3C6F-438B-6B6A6A0D8B0D}"/>
          </ac:picMkLst>
        </pc:picChg>
        <pc:picChg chg="mod">
          <ac:chgData name="Markus Albuscheit" userId="4f7fce57-5076-4fe0-a4ff-e69de3a8985e" providerId="ADAL" clId="{0ACAEE19-1F3C-44E9-AA98-7871674C48E4}" dt="2023-12-13T18:02:21.876" v="2282" actId="1076"/>
          <ac:picMkLst>
            <pc:docMk/>
            <pc:sldMk cId="276531377" sldId="2147477071"/>
            <ac:picMk id="15" creationId="{6869852B-3A0D-DD91-9878-B540225A4373}"/>
          </ac:picMkLst>
        </pc:picChg>
        <pc:picChg chg="add mod">
          <ac:chgData name="Markus Albuscheit" userId="4f7fce57-5076-4fe0-a4ff-e69de3a8985e" providerId="ADAL" clId="{0ACAEE19-1F3C-44E9-AA98-7871674C48E4}" dt="2023-12-14T10:43:45.368" v="3593" actId="1035"/>
          <ac:picMkLst>
            <pc:docMk/>
            <pc:sldMk cId="276531377" sldId="2147477071"/>
            <ac:picMk id="17" creationId="{758DC9C7-B01A-970B-E2CE-ABA847CE6016}"/>
          </ac:picMkLst>
        </pc:picChg>
        <pc:picChg chg="add mod">
          <ac:chgData name="Markus Albuscheit" userId="4f7fce57-5076-4fe0-a4ff-e69de3a8985e" providerId="ADAL" clId="{0ACAEE19-1F3C-44E9-AA98-7871674C48E4}" dt="2023-12-14T10:43:45.368" v="3593" actId="1035"/>
          <ac:picMkLst>
            <pc:docMk/>
            <pc:sldMk cId="276531377" sldId="2147477071"/>
            <ac:picMk id="19" creationId="{3E3E0A16-0B84-ED0A-323B-97369EEFCFF5}"/>
          </ac:picMkLst>
        </pc:picChg>
        <pc:picChg chg="add mod ord">
          <ac:chgData name="Markus Albuscheit" userId="4f7fce57-5076-4fe0-a4ff-e69de3a8985e" providerId="ADAL" clId="{0ACAEE19-1F3C-44E9-AA98-7871674C48E4}" dt="2023-12-14T17:27:31.825" v="7511" actId="1036"/>
          <ac:picMkLst>
            <pc:docMk/>
            <pc:sldMk cId="276531377" sldId="2147477071"/>
            <ac:picMk id="26" creationId="{61C19CC0-2CA3-4DCF-B18C-2449CF6F9B0C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 del">
              <pc226:chgData name="Markus Albuscheit" userId="4f7fce57-5076-4fe0-a4ff-e69de3a8985e" providerId="ADAL" clId="{0ACAEE19-1F3C-44E9-AA98-7871674C48E4}" dt="2023-12-15T08:02:35.241" v="8047"/>
              <pc2:cmMkLst xmlns:pc2="http://schemas.microsoft.com/office/powerpoint/2019/9/main/command">
                <pc:docMk/>
                <pc:sldMk cId="276531377" sldId="2147477071"/>
                <pc2:cmMk id="{C67CFB1E-5068-43E9-9593-28281FC41E00}"/>
              </pc2:cmMkLst>
            </pc226:cmChg>
          </p:ext>
        </pc:extLst>
      </pc:sldChg>
      <pc:sldChg chg="addSp delSp modSp add del mod ord modClrScheme modShow chgLayout modNotesTx">
        <pc:chgData name="Markus Albuscheit" userId="4f7fce57-5076-4fe0-a4ff-e69de3a8985e" providerId="ADAL" clId="{0ACAEE19-1F3C-44E9-AA98-7871674C48E4}" dt="2023-12-15T08:03:26.835" v="8054" actId="20577"/>
        <pc:sldMkLst>
          <pc:docMk/>
          <pc:sldMk cId="118445397" sldId="2147477072"/>
        </pc:sldMkLst>
        <pc:spChg chg="mod ord">
          <ac:chgData name="Markus Albuscheit" userId="4f7fce57-5076-4fe0-a4ff-e69de3a8985e" providerId="ADAL" clId="{0ACAEE19-1F3C-44E9-AA98-7871674C48E4}" dt="2023-12-13T16:53:10.682" v="1271" actId="700"/>
          <ac:spMkLst>
            <pc:docMk/>
            <pc:sldMk cId="118445397" sldId="2147477072"/>
            <ac:spMk id="2" creationId="{5999D014-B5EA-FDAD-C757-173D5B14EE37}"/>
          </ac:spMkLst>
        </pc:spChg>
        <pc:spChg chg="mod ord">
          <ac:chgData name="Markus Albuscheit" userId="4f7fce57-5076-4fe0-a4ff-e69de3a8985e" providerId="ADAL" clId="{0ACAEE19-1F3C-44E9-AA98-7871674C48E4}" dt="2023-12-13T16:53:10.682" v="1271" actId="700"/>
          <ac:spMkLst>
            <pc:docMk/>
            <pc:sldMk cId="118445397" sldId="2147477072"/>
            <ac:spMk id="3" creationId="{C37FEC5F-AC08-F6BA-9271-D83595B041F6}"/>
          </ac:spMkLst>
        </pc:spChg>
        <pc:spChg chg="del">
          <ac:chgData name="Markus Albuscheit" userId="4f7fce57-5076-4fe0-a4ff-e69de3a8985e" providerId="ADAL" clId="{0ACAEE19-1F3C-44E9-AA98-7871674C48E4}" dt="2023-12-14T14:45:33.736" v="6640" actId="478"/>
          <ac:spMkLst>
            <pc:docMk/>
            <pc:sldMk cId="118445397" sldId="2147477072"/>
            <ac:spMk id="4" creationId="{48BD55AD-FE54-99FF-58AB-0FA64C2F60C4}"/>
          </ac:spMkLst>
        </pc:spChg>
        <pc:spChg chg="mod ord">
          <ac:chgData name="Markus Albuscheit" userId="4f7fce57-5076-4fe0-a4ff-e69de3a8985e" providerId="ADAL" clId="{0ACAEE19-1F3C-44E9-AA98-7871674C48E4}" dt="2023-12-13T16:53:10.682" v="1271" actId="700"/>
          <ac:spMkLst>
            <pc:docMk/>
            <pc:sldMk cId="118445397" sldId="2147477072"/>
            <ac:spMk id="4" creationId="{D1D3A02E-ED5C-E7D2-EE73-AD1F7DECABD3}"/>
          </ac:spMkLst>
        </pc:spChg>
        <pc:spChg chg="del mod">
          <ac:chgData name="Markus Albuscheit" userId="4f7fce57-5076-4fe0-a4ff-e69de3a8985e" providerId="ADAL" clId="{0ACAEE19-1F3C-44E9-AA98-7871674C48E4}" dt="2023-12-14T15:34:07.957" v="7100" actId="478"/>
          <ac:spMkLst>
            <pc:docMk/>
            <pc:sldMk cId="118445397" sldId="2147477072"/>
            <ac:spMk id="5" creationId="{0BC85056-2BAA-ED53-C35A-EE166EB59A07}"/>
          </ac:spMkLst>
        </pc:spChg>
        <pc:spChg chg="del mod ord">
          <ac:chgData name="Markus Albuscheit" userId="4f7fce57-5076-4fe0-a4ff-e69de3a8985e" providerId="ADAL" clId="{0ACAEE19-1F3C-44E9-AA98-7871674C48E4}" dt="2023-12-13T16:53:19.898" v="1273" actId="478"/>
          <ac:spMkLst>
            <pc:docMk/>
            <pc:sldMk cId="118445397" sldId="2147477072"/>
            <ac:spMk id="5" creationId="{CA329B8B-B069-D5CB-5560-9CC0386B88FD}"/>
          </ac:spMkLst>
        </pc:spChg>
        <pc:spChg chg="add mod ord">
          <ac:chgData name="Markus Albuscheit" userId="4f7fce57-5076-4fe0-a4ff-e69de3a8985e" providerId="ADAL" clId="{0ACAEE19-1F3C-44E9-AA98-7871674C48E4}" dt="2023-12-14T10:06:31.271" v="2792" actId="6549"/>
          <ac:spMkLst>
            <pc:docMk/>
            <pc:sldMk cId="118445397" sldId="2147477072"/>
            <ac:spMk id="6" creationId="{E88B2BA1-DC90-BD33-EA56-127B59C778CB}"/>
          </ac:spMkLst>
        </pc:spChg>
        <pc:spChg chg="add del mod ord">
          <ac:chgData name="Markus Albuscheit" userId="4f7fce57-5076-4fe0-a4ff-e69de3a8985e" providerId="ADAL" clId="{0ACAEE19-1F3C-44E9-AA98-7871674C48E4}" dt="2023-12-13T16:53:25.869" v="1275" actId="478"/>
          <ac:spMkLst>
            <pc:docMk/>
            <pc:sldMk cId="118445397" sldId="2147477072"/>
            <ac:spMk id="7" creationId="{F1BF4822-4809-1934-C611-4E3BA152F746}"/>
          </ac:spMkLst>
        </pc:spChg>
        <pc:spChg chg="add mod">
          <ac:chgData name="Markus Albuscheit" userId="4f7fce57-5076-4fe0-a4ff-e69de3a8985e" providerId="ADAL" clId="{0ACAEE19-1F3C-44E9-AA98-7871674C48E4}" dt="2023-12-13T16:54:11.911" v="1305" actId="20577"/>
          <ac:spMkLst>
            <pc:docMk/>
            <pc:sldMk cId="118445397" sldId="2147477072"/>
            <ac:spMk id="8" creationId="{FEE60E08-F5E5-F65E-48EF-129551BFB676}"/>
          </ac:spMkLst>
        </pc:spChg>
        <pc:spChg chg="add del mod">
          <ac:chgData name="Markus Albuscheit" userId="4f7fce57-5076-4fe0-a4ff-e69de3a8985e" providerId="ADAL" clId="{0ACAEE19-1F3C-44E9-AA98-7871674C48E4}" dt="2023-12-14T15:29:30.222" v="7085" actId="478"/>
          <ac:spMkLst>
            <pc:docMk/>
            <pc:sldMk cId="118445397" sldId="2147477072"/>
            <ac:spMk id="10" creationId="{E9364E4B-16FE-D565-3FC8-0B6C6F1BDE96}"/>
          </ac:spMkLst>
        </pc:spChg>
        <pc:spChg chg="mod topLvl">
          <ac:chgData name="Markus Albuscheit" userId="4f7fce57-5076-4fe0-a4ff-e69de3a8985e" providerId="ADAL" clId="{0ACAEE19-1F3C-44E9-AA98-7871674C48E4}" dt="2023-12-14T15:35:47.049" v="7171" actId="20577"/>
          <ac:spMkLst>
            <pc:docMk/>
            <pc:sldMk cId="118445397" sldId="2147477072"/>
            <ac:spMk id="28" creationId="{544F5D73-0D29-11C7-4A71-4CE4C96DA27B}"/>
          </ac:spMkLst>
        </pc:spChg>
        <pc:spChg chg="mod">
          <ac:chgData name="Markus Albuscheit" userId="4f7fce57-5076-4fe0-a4ff-e69de3a8985e" providerId="ADAL" clId="{0ACAEE19-1F3C-44E9-AA98-7871674C48E4}" dt="2023-12-14T10:14:29.267" v="3265" actId="1076"/>
          <ac:spMkLst>
            <pc:docMk/>
            <pc:sldMk cId="118445397" sldId="2147477072"/>
            <ac:spMk id="30" creationId="{E687CA82-968E-BFC6-6D7C-EC1156C5E5ED}"/>
          </ac:spMkLst>
        </pc:spChg>
        <pc:spChg chg="mod topLvl">
          <ac:chgData name="Markus Albuscheit" userId="4f7fce57-5076-4fe0-a4ff-e69de3a8985e" providerId="ADAL" clId="{0ACAEE19-1F3C-44E9-AA98-7871674C48E4}" dt="2023-12-15T07:43:49.937" v="8028"/>
          <ac:spMkLst>
            <pc:docMk/>
            <pc:sldMk cId="118445397" sldId="2147477072"/>
            <ac:spMk id="36" creationId="{786C670B-C597-81BB-035A-9039A239C553}"/>
          </ac:spMkLst>
        </pc:spChg>
        <pc:spChg chg="mod">
          <ac:chgData name="Markus Albuscheit" userId="4f7fce57-5076-4fe0-a4ff-e69de3a8985e" providerId="ADAL" clId="{0ACAEE19-1F3C-44E9-AA98-7871674C48E4}" dt="2023-12-14T15:33:52.255" v="7098" actId="1036"/>
          <ac:spMkLst>
            <pc:docMk/>
            <pc:sldMk cId="118445397" sldId="2147477072"/>
            <ac:spMk id="38" creationId="{330C0211-B544-AF7E-8167-1611596FAEAA}"/>
          </ac:spMkLst>
        </pc:spChg>
        <pc:spChg chg="mod topLvl">
          <ac:chgData name="Markus Albuscheit" userId="4f7fce57-5076-4fe0-a4ff-e69de3a8985e" providerId="ADAL" clId="{0ACAEE19-1F3C-44E9-AA98-7871674C48E4}" dt="2023-12-14T15:33:52.255" v="7098" actId="1036"/>
          <ac:spMkLst>
            <pc:docMk/>
            <pc:sldMk cId="118445397" sldId="2147477072"/>
            <ac:spMk id="44" creationId="{DCFF7156-FA88-52D0-2CA6-64A1E86DE448}"/>
          </ac:spMkLst>
        </pc:spChg>
        <pc:spChg chg="mod">
          <ac:chgData name="Markus Albuscheit" userId="4f7fce57-5076-4fe0-a4ff-e69de3a8985e" providerId="ADAL" clId="{0ACAEE19-1F3C-44E9-AA98-7871674C48E4}" dt="2023-12-14T15:33:52.255" v="7098" actId="1036"/>
          <ac:spMkLst>
            <pc:docMk/>
            <pc:sldMk cId="118445397" sldId="2147477072"/>
            <ac:spMk id="46" creationId="{470270C5-4389-23DD-4D69-30E939806B1A}"/>
          </ac:spMkLst>
        </pc:spChg>
        <pc:grpChg chg="del mod">
          <ac:chgData name="Markus Albuscheit" userId="4f7fce57-5076-4fe0-a4ff-e69de3a8985e" providerId="ADAL" clId="{0ACAEE19-1F3C-44E9-AA98-7871674C48E4}" dt="2023-12-14T14:57:35.670" v="6799" actId="478"/>
          <ac:grpSpMkLst>
            <pc:docMk/>
            <pc:sldMk cId="118445397" sldId="2147477072"/>
            <ac:grpSpMk id="27" creationId="{BFA56BFA-0A2E-3FFE-8C6D-0A6D941E53FD}"/>
          </ac:grpSpMkLst>
        </pc:grpChg>
        <pc:grpChg chg="del mod">
          <ac:chgData name="Markus Albuscheit" userId="4f7fce57-5076-4fe0-a4ff-e69de3a8985e" providerId="ADAL" clId="{0ACAEE19-1F3C-44E9-AA98-7871674C48E4}" dt="2023-12-14T14:57:38.481" v="6800" actId="478"/>
          <ac:grpSpMkLst>
            <pc:docMk/>
            <pc:sldMk cId="118445397" sldId="2147477072"/>
            <ac:grpSpMk id="35" creationId="{9E365B1B-7C47-6A2E-4AC3-410ACD935AF4}"/>
          </ac:grpSpMkLst>
        </pc:grpChg>
        <pc:grpChg chg="del mod">
          <ac:chgData name="Markus Albuscheit" userId="4f7fce57-5076-4fe0-a4ff-e69de3a8985e" providerId="ADAL" clId="{0ACAEE19-1F3C-44E9-AA98-7871674C48E4}" dt="2023-12-14T14:57:40.363" v="6801" actId="478"/>
          <ac:grpSpMkLst>
            <pc:docMk/>
            <pc:sldMk cId="118445397" sldId="2147477072"/>
            <ac:grpSpMk id="43" creationId="{43CBAE9F-A7A0-058E-68E2-060E6FE05AE7}"/>
          </ac:grpSpMkLst>
        </pc:grpChg>
        <pc:picChg chg="del topLvl">
          <ac:chgData name="Markus Albuscheit" userId="4f7fce57-5076-4fe0-a4ff-e69de3a8985e" providerId="ADAL" clId="{0ACAEE19-1F3C-44E9-AA98-7871674C48E4}" dt="2023-12-14T14:57:35.670" v="6799" actId="478"/>
          <ac:picMkLst>
            <pc:docMk/>
            <pc:sldMk cId="118445397" sldId="2147477072"/>
            <ac:picMk id="29" creationId="{991ECC61-CC20-BB3D-6FB1-38C0155868DE}"/>
          </ac:picMkLst>
        </pc:picChg>
        <pc:picChg chg="del topLvl">
          <ac:chgData name="Markus Albuscheit" userId="4f7fce57-5076-4fe0-a4ff-e69de3a8985e" providerId="ADAL" clId="{0ACAEE19-1F3C-44E9-AA98-7871674C48E4}" dt="2023-12-14T14:57:38.481" v="6800" actId="478"/>
          <ac:picMkLst>
            <pc:docMk/>
            <pc:sldMk cId="118445397" sldId="2147477072"/>
            <ac:picMk id="37" creationId="{1AF28F47-A3F5-DEEE-A004-1CE75DF30A07}"/>
          </ac:picMkLst>
        </pc:picChg>
        <pc:picChg chg="del topLvl">
          <ac:chgData name="Markus Albuscheit" userId="4f7fce57-5076-4fe0-a4ff-e69de3a8985e" providerId="ADAL" clId="{0ACAEE19-1F3C-44E9-AA98-7871674C48E4}" dt="2023-12-14T14:57:40.363" v="6801" actId="478"/>
          <ac:picMkLst>
            <pc:docMk/>
            <pc:sldMk cId="118445397" sldId="2147477072"/>
            <ac:picMk id="45" creationId="{5CA8B771-1922-BFBC-B45A-AEBE7D708A75}"/>
          </ac:picMkLst>
        </pc:picChg>
      </pc:sldChg>
      <pc:sldChg chg="addSp delSp modSp add del mod ord">
        <pc:chgData name="Markus Albuscheit" userId="4f7fce57-5076-4fe0-a4ff-e69de3a8985e" providerId="ADAL" clId="{0ACAEE19-1F3C-44E9-AA98-7871674C48E4}" dt="2023-12-13T17:18:48.606" v="1674" actId="47"/>
        <pc:sldMkLst>
          <pc:docMk/>
          <pc:sldMk cId="1168233501" sldId="2147477073"/>
        </pc:sldMkLst>
        <pc:spChg chg="mod">
          <ac:chgData name="Markus Albuscheit" userId="4f7fce57-5076-4fe0-a4ff-e69de3a8985e" providerId="ADAL" clId="{0ACAEE19-1F3C-44E9-AA98-7871674C48E4}" dt="2023-12-13T16:57:44.955" v="1368" actId="20577"/>
          <ac:spMkLst>
            <pc:docMk/>
            <pc:sldMk cId="1168233501" sldId="2147477073"/>
            <ac:spMk id="5" creationId="{4E544419-D65E-039F-C114-E329B6CA574D}"/>
          </ac:spMkLst>
        </pc:spChg>
        <pc:spChg chg="mod">
          <ac:chgData name="Markus Albuscheit" userId="4f7fce57-5076-4fe0-a4ff-e69de3a8985e" providerId="ADAL" clId="{0ACAEE19-1F3C-44E9-AA98-7871674C48E4}" dt="2023-12-13T16:57:40.477" v="1356" actId="20577"/>
          <ac:spMkLst>
            <pc:docMk/>
            <pc:sldMk cId="1168233501" sldId="2147477073"/>
            <ac:spMk id="6" creationId="{7CB53F27-7AB3-C594-83F2-7F716F6860D3}"/>
          </ac:spMkLst>
        </pc:spChg>
        <pc:picChg chg="add mod">
          <ac:chgData name="Markus Albuscheit" userId="4f7fce57-5076-4fe0-a4ff-e69de3a8985e" providerId="ADAL" clId="{0ACAEE19-1F3C-44E9-AA98-7871674C48E4}" dt="2023-12-13T16:57:53.051" v="1371" actId="1076"/>
          <ac:picMkLst>
            <pc:docMk/>
            <pc:sldMk cId="1168233501" sldId="2147477073"/>
            <ac:picMk id="7" creationId="{72E49EC0-8AB7-96ED-A23B-A6BA6C8D8378}"/>
          </ac:picMkLst>
        </pc:picChg>
        <pc:picChg chg="del">
          <ac:chgData name="Markus Albuscheit" userId="4f7fce57-5076-4fe0-a4ff-e69de3a8985e" providerId="ADAL" clId="{0ACAEE19-1F3C-44E9-AA98-7871674C48E4}" dt="2023-12-13T16:57:47.467" v="1369" actId="478"/>
          <ac:picMkLst>
            <pc:docMk/>
            <pc:sldMk cId="1168233501" sldId="2147477073"/>
            <ac:picMk id="1026" creationId="{62D20323-E4D5-F1A7-8E08-A615A387E4C8}"/>
          </ac:picMkLst>
        </pc:picChg>
      </pc:sldChg>
      <pc:sldChg chg="addSp delSp modSp add del mod ord modShow">
        <pc:chgData name="Markus Albuscheit" userId="4f7fce57-5076-4fe0-a4ff-e69de3a8985e" providerId="ADAL" clId="{0ACAEE19-1F3C-44E9-AA98-7871674C48E4}" dt="2023-12-15T07:59:01.558" v="8034" actId="47"/>
        <pc:sldMkLst>
          <pc:docMk/>
          <pc:sldMk cId="2808918165" sldId="2147477074"/>
        </pc:sldMkLst>
        <pc:spChg chg="add mod">
          <ac:chgData name="Markus Albuscheit" userId="4f7fce57-5076-4fe0-a4ff-e69de3a8985e" providerId="ADAL" clId="{0ACAEE19-1F3C-44E9-AA98-7871674C48E4}" dt="2023-12-13T17:13:24.385" v="1615" actId="1036"/>
          <ac:spMkLst>
            <pc:docMk/>
            <pc:sldMk cId="2808918165" sldId="2147477074"/>
            <ac:spMk id="8" creationId="{9B8DD9DA-23B3-E740-31F3-F8B70C4E120A}"/>
          </ac:spMkLst>
        </pc:spChg>
        <pc:spChg chg="add mod">
          <ac:chgData name="Markus Albuscheit" userId="4f7fce57-5076-4fe0-a4ff-e69de3a8985e" providerId="ADAL" clId="{0ACAEE19-1F3C-44E9-AA98-7871674C48E4}" dt="2023-12-13T17:13:24.385" v="1615" actId="1036"/>
          <ac:spMkLst>
            <pc:docMk/>
            <pc:sldMk cId="2808918165" sldId="2147477074"/>
            <ac:spMk id="9" creationId="{2B23CB48-F680-35DD-C744-CD9A3A2CFDAC}"/>
          </ac:spMkLst>
        </pc:spChg>
        <pc:spChg chg="add mod">
          <ac:chgData name="Markus Albuscheit" userId="4f7fce57-5076-4fe0-a4ff-e69de3a8985e" providerId="ADAL" clId="{0ACAEE19-1F3C-44E9-AA98-7871674C48E4}" dt="2023-12-13T17:13:24.385" v="1615" actId="1036"/>
          <ac:spMkLst>
            <pc:docMk/>
            <pc:sldMk cId="2808918165" sldId="2147477074"/>
            <ac:spMk id="10" creationId="{878DFF2F-CF4B-7214-CAB0-9C465AD2DA28}"/>
          </ac:spMkLst>
        </pc:spChg>
        <pc:spChg chg="add mod">
          <ac:chgData name="Markus Albuscheit" userId="4f7fce57-5076-4fe0-a4ff-e69de3a8985e" providerId="ADAL" clId="{0ACAEE19-1F3C-44E9-AA98-7871674C48E4}" dt="2023-12-13T17:13:24.385" v="1615" actId="1036"/>
          <ac:spMkLst>
            <pc:docMk/>
            <pc:sldMk cId="2808918165" sldId="2147477074"/>
            <ac:spMk id="11" creationId="{873737AF-F305-940D-E24C-22D679F76CE8}"/>
          </ac:spMkLst>
        </pc:spChg>
        <pc:spChg chg="add mod">
          <ac:chgData name="Markus Albuscheit" userId="4f7fce57-5076-4fe0-a4ff-e69de3a8985e" providerId="ADAL" clId="{0ACAEE19-1F3C-44E9-AA98-7871674C48E4}" dt="2023-12-13T17:13:24.385" v="1615" actId="1036"/>
          <ac:spMkLst>
            <pc:docMk/>
            <pc:sldMk cId="2808918165" sldId="2147477074"/>
            <ac:spMk id="12" creationId="{30B1C6DC-8534-D735-42A6-CCC0C2D05942}"/>
          </ac:spMkLst>
        </pc:spChg>
        <pc:spChg chg="del">
          <ac:chgData name="Markus Albuscheit" userId="4f7fce57-5076-4fe0-a4ff-e69de3a8985e" providerId="ADAL" clId="{0ACAEE19-1F3C-44E9-AA98-7871674C48E4}" dt="2023-12-13T16:58:58.418" v="1377" actId="478"/>
          <ac:spMkLst>
            <pc:docMk/>
            <pc:sldMk cId="2808918165" sldId="2147477074"/>
            <ac:spMk id="13" creationId="{1E22024B-4290-697E-7ECE-1C46696C667B}"/>
          </ac:spMkLst>
        </pc:spChg>
        <pc:spChg chg="mod">
          <ac:chgData name="Markus Albuscheit" userId="4f7fce57-5076-4fe0-a4ff-e69de3a8985e" providerId="ADAL" clId="{0ACAEE19-1F3C-44E9-AA98-7871674C48E4}" dt="2023-12-14T08:49:02.319" v="2637" actId="20577"/>
          <ac:spMkLst>
            <pc:docMk/>
            <pc:sldMk cId="2808918165" sldId="2147477074"/>
            <ac:spMk id="14" creationId="{243114D7-9AA6-0403-F042-FF03D979227E}"/>
          </ac:spMkLst>
        </pc:spChg>
        <pc:spChg chg="add mod">
          <ac:chgData name="Markus Albuscheit" userId="4f7fce57-5076-4fe0-a4ff-e69de3a8985e" providerId="ADAL" clId="{0ACAEE19-1F3C-44E9-AA98-7871674C48E4}" dt="2023-12-13T17:13:24.385" v="1615" actId="1036"/>
          <ac:spMkLst>
            <pc:docMk/>
            <pc:sldMk cId="2808918165" sldId="2147477074"/>
            <ac:spMk id="16" creationId="{31460AE9-E521-1498-5DED-5C27446DEE17}"/>
          </ac:spMkLst>
        </pc:spChg>
        <pc:spChg chg="mod">
          <ac:chgData name="Markus Albuscheit" userId="4f7fce57-5076-4fe0-a4ff-e69de3a8985e" providerId="ADAL" clId="{0ACAEE19-1F3C-44E9-AA98-7871674C48E4}" dt="2023-12-13T17:44:06.927" v="1817" actId="164"/>
          <ac:spMkLst>
            <pc:docMk/>
            <pc:sldMk cId="2808918165" sldId="2147477074"/>
            <ac:spMk id="17" creationId="{34074313-61E8-F2E8-273C-8B7723FB0BF5}"/>
          </ac:spMkLst>
        </pc:spChg>
        <pc:spChg chg="add mod">
          <ac:chgData name="Markus Albuscheit" userId="4f7fce57-5076-4fe0-a4ff-e69de3a8985e" providerId="ADAL" clId="{0ACAEE19-1F3C-44E9-AA98-7871674C48E4}" dt="2023-12-13T17:13:24.385" v="1615" actId="1036"/>
          <ac:spMkLst>
            <pc:docMk/>
            <pc:sldMk cId="2808918165" sldId="2147477074"/>
            <ac:spMk id="18" creationId="{047B2104-F249-A5D7-E5F2-00F2194C51BA}"/>
          </ac:spMkLst>
        </pc:spChg>
        <pc:spChg chg="add mod">
          <ac:chgData name="Markus Albuscheit" userId="4f7fce57-5076-4fe0-a4ff-e69de3a8985e" providerId="ADAL" clId="{0ACAEE19-1F3C-44E9-AA98-7871674C48E4}" dt="2023-12-13T17:13:24.385" v="1615" actId="1036"/>
          <ac:spMkLst>
            <pc:docMk/>
            <pc:sldMk cId="2808918165" sldId="2147477074"/>
            <ac:spMk id="19" creationId="{DFCE61D5-CE06-BB19-9F00-1EF8454FC3F0}"/>
          </ac:spMkLst>
        </pc:spChg>
        <pc:spChg chg="add mod">
          <ac:chgData name="Markus Albuscheit" userId="4f7fce57-5076-4fe0-a4ff-e69de3a8985e" providerId="ADAL" clId="{0ACAEE19-1F3C-44E9-AA98-7871674C48E4}" dt="2023-12-13T17:13:24.385" v="1615" actId="1036"/>
          <ac:spMkLst>
            <pc:docMk/>
            <pc:sldMk cId="2808918165" sldId="2147477074"/>
            <ac:spMk id="20" creationId="{E052A6C5-BFF0-7D94-AA8D-D6524DCAC4C8}"/>
          </ac:spMkLst>
        </pc:spChg>
        <pc:spChg chg="add mod">
          <ac:chgData name="Markus Albuscheit" userId="4f7fce57-5076-4fe0-a4ff-e69de3a8985e" providerId="ADAL" clId="{0ACAEE19-1F3C-44E9-AA98-7871674C48E4}" dt="2023-12-13T17:13:24.385" v="1615" actId="1036"/>
          <ac:spMkLst>
            <pc:docMk/>
            <pc:sldMk cId="2808918165" sldId="2147477074"/>
            <ac:spMk id="21" creationId="{254157A5-C42F-B927-6944-F9540F7846AC}"/>
          </ac:spMkLst>
        </pc:spChg>
        <pc:spChg chg="add mod">
          <ac:chgData name="Markus Albuscheit" userId="4f7fce57-5076-4fe0-a4ff-e69de3a8985e" providerId="ADAL" clId="{0ACAEE19-1F3C-44E9-AA98-7871674C48E4}" dt="2023-12-13T17:13:24.385" v="1615" actId="1036"/>
          <ac:spMkLst>
            <pc:docMk/>
            <pc:sldMk cId="2808918165" sldId="2147477074"/>
            <ac:spMk id="22" creationId="{AA304E91-17A2-B997-3BFA-F149906E9245}"/>
          </ac:spMkLst>
        </pc:spChg>
        <pc:spChg chg="add mod">
          <ac:chgData name="Markus Albuscheit" userId="4f7fce57-5076-4fe0-a4ff-e69de3a8985e" providerId="ADAL" clId="{0ACAEE19-1F3C-44E9-AA98-7871674C48E4}" dt="2023-12-13T17:13:24.385" v="1615" actId="1036"/>
          <ac:spMkLst>
            <pc:docMk/>
            <pc:sldMk cId="2808918165" sldId="2147477074"/>
            <ac:spMk id="23" creationId="{7BB7157B-2C3D-1E7E-6E50-067D1848CF5D}"/>
          </ac:spMkLst>
        </pc:spChg>
        <pc:spChg chg="add mod">
          <ac:chgData name="Markus Albuscheit" userId="4f7fce57-5076-4fe0-a4ff-e69de3a8985e" providerId="ADAL" clId="{0ACAEE19-1F3C-44E9-AA98-7871674C48E4}" dt="2023-12-13T17:13:24.385" v="1615" actId="1036"/>
          <ac:spMkLst>
            <pc:docMk/>
            <pc:sldMk cId="2808918165" sldId="2147477074"/>
            <ac:spMk id="24" creationId="{ACC67023-5AAE-8B72-DAB8-DE2CA8F18800}"/>
          </ac:spMkLst>
        </pc:spChg>
        <pc:spChg chg="add mod">
          <ac:chgData name="Markus Albuscheit" userId="4f7fce57-5076-4fe0-a4ff-e69de3a8985e" providerId="ADAL" clId="{0ACAEE19-1F3C-44E9-AA98-7871674C48E4}" dt="2023-12-13T17:13:24.385" v="1615" actId="1036"/>
          <ac:spMkLst>
            <pc:docMk/>
            <pc:sldMk cId="2808918165" sldId="2147477074"/>
            <ac:spMk id="25" creationId="{3C9B8FDE-5DAA-3A3D-1A9E-A716982DDC9C}"/>
          </ac:spMkLst>
        </pc:spChg>
        <pc:spChg chg="add mod">
          <ac:chgData name="Markus Albuscheit" userId="4f7fce57-5076-4fe0-a4ff-e69de3a8985e" providerId="ADAL" clId="{0ACAEE19-1F3C-44E9-AA98-7871674C48E4}" dt="2023-12-13T17:13:24.385" v="1615" actId="1036"/>
          <ac:spMkLst>
            <pc:docMk/>
            <pc:sldMk cId="2808918165" sldId="2147477074"/>
            <ac:spMk id="26" creationId="{13656FC1-7AB3-3F2D-4C13-8679C4BE4BF4}"/>
          </ac:spMkLst>
        </pc:spChg>
        <pc:spChg chg="add mod">
          <ac:chgData name="Markus Albuscheit" userId="4f7fce57-5076-4fe0-a4ff-e69de3a8985e" providerId="ADAL" clId="{0ACAEE19-1F3C-44E9-AA98-7871674C48E4}" dt="2023-12-13T17:13:24.385" v="1615" actId="1036"/>
          <ac:spMkLst>
            <pc:docMk/>
            <pc:sldMk cId="2808918165" sldId="2147477074"/>
            <ac:spMk id="27" creationId="{29A12C74-7127-E357-09C3-6A19E43DE730}"/>
          </ac:spMkLst>
        </pc:spChg>
        <pc:spChg chg="add mod">
          <ac:chgData name="Markus Albuscheit" userId="4f7fce57-5076-4fe0-a4ff-e69de3a8985e" providerId="ADAL" clId="{0ACAEE19-1F3C-44E9-AA98-7871674C48E4}" dt="2023-12-13T17:13:24.385" v="1615" actId="1036"/>
          <ac:spMkLst>
            <pc:docMk/>
            <pc:sldMk cId="2808918165" sldId="2147477074"/>
            <ac:spMk id="28" creationId="{E61A988C-7061-C31E-B2AF-AD395CFD4D24}"/>
          </ac:spMkLst>
        </pc:spChg>
        <pc:spChg chg="add mod">
          <ac:chgData name="Markus Albuscheit" userId="4f7fce57-5076-4fe0-a4ff-e69de3a8985e" providerId="ADAL" clId="{0ACAEE19-1F3C-44E9-AA98-7871674C48E4}" dt="2023-12-13T17:13:24.385" v="1615" actId="1036"/>
          <ac:spMkLst>
            <pc:docMk/>
            <pc:sldMk cId="2808918165" sldId="2147477074"/>
            <ac:spMk id="29" creationId="{984E5373-FFC1-9280-1BB0-12D28E0F4B0D}"/>
          </ac:spMkLst>
        </pc:spChg>
        <pc:spChg chg="add mod">
          <ac:chgData name="Markus Albuscheit" userId="4f7fce57-5076-4fe0-a4ff-e69de3a8985e" providerId="ADAL" clId="{0ACAEE19-1F3C-44E9-AA98-7871674C48E4}" dt="2023-12-14T09:48:02.791" v="2724" actId="113"/>
          <ac:spMkLst>
            <pc:docMk/>
            <pc:sldMk cId="2808918165" sldId="2147477074"/>
            <ac:spMk id="30" creationId="{D1EDFE42-48BD-8AC7-4F47-FB989EBAD491}"/>
          </ac:spMkLst>
        </pc:spChg>
        <pc:spChg chg="add mod">
          <ac:chgData name="Markus Albuscheit" userId="4f7fce57-5076-4fe0-a4ff-e69de3a8985e" providerId="ADAL" clId="{0ACAEE19-1F3C-44E9-AA98-7871674C48E4}" dt="2023-12-13T17:13:24.385" v="1615" actId="1036"/>
          <ac:spMkLst>
            <pc:docMk/>
            <pc:sldMk cId="2808918165" sldId="2147477074"/>
            <ac:spMk id="31" creationId="{C63E1642-26F1-7E3E-384A-7D2E4219AA0F}"/>
          </ac:spMkLst>
        </pc:spChg>
        <pc:spChg chg="add mod">
          <ac:chgData name="Markus Albuscheit" userId="4f7fce57-5076-4fe0-a4ff-e69de3a8985e" providerId="ADAL" clId="{0ACAEE19-1F3C-44E9-AA98-7871674C48E4}" dt="2023-12-14T10:05:26.634" v="2777" actId="20577"/>
          <ac:spMkLst>
            <pc:docMk/>
            <pc:sldMk cId="2808918165" sldId="2147477074"/>
            <ac:spMk id="32" creationId="{4E34BE69-73F7-E6C4-E8FE-5D68D8EF8EAE}"/>
          </ac:spMkLst>
        </pc:spChg>
        <pc:spChg chg="add mod">
          <ac:chgData name="Markus Albuscheit" userId="4f7fce57-5076-4fe0-a4ff-e69de3a8985e" providerId="ADAL" clId="{0ACAEE19-1F3C-44E9-AA98-7871674C48E4}" dt="2023-12-13T17:13:24.385" v="1615" actId="1036"/>
          <ac:spMkLst>
            <pc:docMk/>
            <pc:sldMk cId="2808918165" sldId="2147477074"/>
            <ac:spMk id="36" creationId="{9D5542C8-57BD-9463-8ECE-E1E0B12BFB0C}"/>
          </ac:spMkLst>
        </pc:spChg>
        <pc:spChg chg="add mod">
          <ac:chgData name="Markus Albuscheit" userId="4f7fce57-5076-4fe0-a4ff-e69de3a8985e" providerId="ADAL" clId="{0ACAEE19-1F3C-44E9-AA98-7871674C48E4}" dt="2023-12-13T17:13:24.385" v="1615" actId="1036"/>
          <ac:spMkLst>
            <pc:docMk/>
            <pc:sldMk cId="2808918165" sldId="2147477074"/>
            <ac:spMk id="37" creationId="{FF8297EB-F22A-D567-6191-E485BD7C87F0}"/>
          </ac:spMkLst>
        </pc:spChg>
        <pc:spChg chg="add mod">
          <ac:chgData name="Markus Albuscheit" userId="4f7fce57-5076-4fe0-a4ff-e69de3a8985e" providerId="ADAL" clId="{0ACAEE19-1F3C-44E9-AA98-7871674C48E4}" dt="2023-12-13T17:13:24.385" v="1615" actId="1036"/>
          <ac:spMkLst>
            <pc:docMk/>
            <pc:sldMk cId="2808918165" sldId="2147477074"/>
            <ac:spMk id="77" creationId="{92983816-C33F-C988-9C0F-F074C172D2E9}"/>
          </ac:spMkLst>
        </pc:spChg>
        <pc:spChg chg="add mod">
          <ac:chgData name="Markus Albuscheit" userId="4f7fce57-5076-4fe0-a4ff-e69de3a8985e" providerId="ADAL" clId="{0ACAEE19-1F3C-44E9-AA98-7871674C48E4}" dt="2023-12-13T17:13:24.385" v="1615" actId="1036"/>
          <ac:spMkLst>
            <pc:docMk/>
            <pc:sldMk cId="2808918165" sldId="2147477074"/>
            <ac:spMk id="78" creationId="{10965EDF-C51B-E459-A0AD-B3A04F1EA5BC}"/>
          </ac:spMkLst>
        </pc:spChg>
        <pc:spChg chg="add mod">
          <ac:chgData name="Markus Albuscheit" userId="4f7fce57-5076-4fe0-a4ff-e69de3a8985e" providerId="ADAL" clId="{0ACAEE19-1F3C-44E9-AA98-7871674C48E4}" dt="2023-12-13T17:13:24.385" v="1615" actId="1036"/>
          <ac:spMkLst>
            <pc:docMk/>
            <pc:sldMk cId="2808918165" sldId="2147477074"/>
            <ac:spMk id="79" creationId="{7D6A48C0-7982-85F0-5152-BAE09CEC35BA}"/>
          </ac:spMkLst>
        </pc:spChg>
        <pc:spChg chg="add mod">
          <ac:chgData name="Markus Albuscheit" userId="4f7fce57-5076-4fe0-a4ff-e69de3a8985e" providerId="ADAL" clId="{0ACAEE19-1F3C-44E9-AA98-7871674C48E4}" dt="2023-12-13T17:13:24.385" v="1615" actId="1036"/>
          <ac:spMkLst>
            <pc:docMk/>
            <pc:sldMk cId="2808918165" sldId="2147477074"/>
            <ac:spMk id="96" creationId="{E06C39C7-B85A-3E2D-D55E-C629E96252E1}"/>
          </ac:spMkLst>
        </pc:spChg>
        <pc:spChg chg="add del">
          <ac:chgData name="Markus Albuscheit" userId="4f7fce57-5076-4fe0-a4ff-e69de3a8985e" providerId="ADAL" clId="{0ACAEE19-1F3C-44E9-AA98-7871674C48E4}" dt="2023-12-13T17:11:10.159" v="1564" actId="22"/>
          <ac:spMkLst>
            <pc:docMk/>
            <pc:sldMk cId="2808918165" sldId="2147477074"/>
            <ac:spMk id="99" creationId="{6AB9EE49-78F3-34E2-B266-D59F1991FE7E}"/>
          </ac:spMkLst>
        </pc:spChg>
        <pc:spChg chg="add mod">
          <ac:chgData name="Markus Albuscheit" userId="4f7fce57-5076-4fe0-a4ff-e69de3a8985e" providerId="ADAL" clId="{0ACAEE19-1F3C-44E9-AA98-7871674C48E4}" dt="2023-12-13T17:13:24.385" v="1615" actId="1036"/>
          <ac:spMkLst>
            <pc:docMk/>
            <pc:sldMk cId="2808918165" sldId="2147477074"/>
            <ac:spMk id="101" creationId="{0EBF3EC2-D4B9-873C-0EE8-DDF03B9DB4B7}"/>
          </ac:spMkLst>
        </pc:spChg>
        <pc:grpChg chg="add del mod">
          <ac:chgData name="Markus Albuscheit" userId="4f7fce57-5076-4fe0-a4ff-e69de3a8985e" providerId="ADAL" clId="{0ACAEE19-1F3C-44E9-AA98-7871674C48E4}" dt="2023-12-13T17:11:48.093" v="1575" actId="165"/>
          <ac:grpSpMkLst>
            <pc:docMk/>
            <pc:sldMk cId="2808918165" sldId="2147477074"/>
            <ac:grpSpMk id="74" creationId="{DEAEE629-595F-B3BF-8D84-4CE69A8FCA7D}"/>
          </ac:grpSpMkLst>
        </pc:grpChg>
        <pc:grpChg chg="add mod">
          <ac:chgData name="Markus Albuscheit" userId="4f7fce57-5076-4fe0-a4ff-e69de3a8985e" providerId="ADAL" clId="{0ACAEE19-1F3C-44E9-AA98-7871674C48E4}" dt="2023-12-13T17:44:06.927" v="1817" actId="164"/>
          <ac:grpSpMkLst>
            <pc:docMk/>
            <pc:sldMk cId="2808918165" sldId="2147477074"/>
            <ac:grpSpMk id="102" creationId="{A47EFBDC-CF7C-1A71-1731-9CD56A075FC0}"/>
          </ac:grpSpMkLst>
        </pc:grpChg>
        <pc:picChg chg="del">
          <ac:chgData name="Markus Albuscheit" userId="4f7fce57-5076-4fe0-a4ff-e69de3a8985e" providerId="ADAL" clId="{0ACAEE19-1F3C-44E9-AA98-7871674C48E4}" dt="2023-12-13T16:58:55.603" v="1376" actId="478"/>
          <ac:picMkLst>
            <pc:docMk/>
            <pc:sldMk cId="2808918165" sldId="2147477074"/>
            <ac:picMk id="7" creationId="{72E49EC0-8AB7-96ED-A23B-A6BA6C8D8378}"/>
          </ac:picMkLst>
        </pc:picChg>
        <pc:picChg chg="mod">
          <ac:chgData name="Markus Albuscheit" userId="4f7fce57-5076-4fe0-a4ff-e69de3a8985e" providerId="ADAL" clId="{0ACAEE19-1F3C-44E9-AA98-7871674C48E4}" dt="2023-12-13T17:44:06.927" v="1817" actId="164"/>
          <ac:picMkLst>
            <pc:docMk/>
            <pc:sldMk cId="2808918165" sldId="2147477074"/>
            <ac:picMk id="15" creationId="{6869852B-3A0D-DD91-9878-B540225A4373}"/>
          </ac:picMkLst>
        </pc:picChg>
        <pc:picChg chg="add mod">
          <ac:chgData name="Markus Albuscheit" userId="4f7fce57-5076-4fe0-a4ff-e69de3a8985e" providerId="ADAL" clId="{0ACAEE19-1F3C-44E9-AA98-7871674C48E4}" dt="2023-12-13T17:13:24.385" v="1615" actId="1036"/>
          <ac:picMkLst>
            <pc:docMk/>
            <pc:sldMk cId="2808918165" sldId="2147477074"/>
            <ac:picMk id="33" creationId="{4276AEF0-CF1F-C0AA-FDB4-2E6337D3BB6C}"/>
          </ac:picMkLst>
        </pc:picChg>
        <pc:picChg chg="add mod">
          <ac:chgData name="Markus Albuscheit" userId="4f7fce57-5076-4fe0-a4ff-e69de3a8985e" providerId="ADAL" clId="{0ACAEE19-1F3C-44E9-AA98-7871674C48E4}" dt="2023-12-13T17:13:24.385" v="1615" actId="1036"/>
          <ac:picMkLst>
            <pc:docMk/>
            <pc:sldMk cId="2808918165" sldId="2147477074"/>
            <ac:picMk id="34" creationId="{DB327F6F-9F49-BEF4-C0A7-B35B201EC00B}"/>
          </ac:picMkLst>
        </pc:picChg>
        <pc:picChg chg="add mod">
          <ac:chgData name="Markus Albuscheit" userId="4f7fce57-5076-4fe0-a4ff-e69de3a8985e" providerId="ADAL" clId="{0ACAEE19-1F3C-44E9-AA98-7871674C48E4}" dt="2023-12-13T17:13:24.385" v="1615" actId="1036"/>
          <ac:picMkLst>
            <pc:docMk/>
            <pc:sldMk cId="2808918165" sldId="2147477074"/>
            <ac:picMk id="35" creationId="{385EAB40-5E45-47BB-7374-B23E9500B433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38" creationId="{AAFB38C0-60E0-C0ED-BF23-2638380C3B6A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39" creationId="{F8AC3EF0-956A-C2F0-7BE3-E6F9729B5D9E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40" creationId="{5402F7ED-7D2A-E785-6D3E-CEE747EEC7D0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41" creationId="{053F51D7-39E0-3D44-7E4C-F1238147D045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42" creationId="{B99AFD23-FA96-1E12-4553-32B878DD1D46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43" creationId="{9D843B27-6B22-2A8A-4AB8-46B1FE5CE2D9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44" creationId="{EB5576FD-55EB-C780-7DB9-918C338DCDDF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45" creationId="{A5D7E6DE-D909-FDDE-CAB0-641CBFFD07BB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46" creationId="{425D2522-C076-7039-37F7-1AB1DD9FB59B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47" creationId="{0CDCC1A9-0804-C2D6-E6BC-ED03E08C9E20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48" creationId="{602B516C-E129-47E1-2CA9-D2368CEBC12D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49" creationId="{94211B0D-F18D-3809-1251-4A4FB4DDE00B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50" creationId="{AC0E2D00-AB52-CEEF-4171-6F3AF0F17BF6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51" creationId="{55FF6F73-7871-AA43-F813-6527199193A3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52" creationId="{6F8CB944-59DB-853E-349B-F47A24598743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53" creationId="{3C75EE67-1C79-8ADE-29CF-C31CABF98BD7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54" creationId="{9C256343-8597-2FFF-4727-7D486726C39A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55" creationId="{F1BFC83B-DF15-33D2-F4D9-A09EB34244F9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56" creationId="{312E14D5-BAFA-2327-BD0A-F77D8045ED33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57" creationId="{CE5AD5B5-93B5-23A5-3E49-43DCC102B382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58" creationId="{164F6E6A-2889-4F6B-468D-4CC32E144C86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59" creationId="{93DCAD69-F056-375B-6ABA-CC8C597125E8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60" creationId="{08128431-F2F7-088D-2146-471D2C90FB2E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61" creationId="{1A63F793-9256-99E9-D346-F45AE0BB56AE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62" creationId="{E0E4AED7-4F66-9F71-5779-CE5AA5726BCA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63" creationId="{D371B860-2A8F-20DA-5F97-FBA7DD5E2FEB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64" creationId="{DB914B15-57E4-DEFF-7E1B-7F9794FC78B4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65" creationId="{3BCAAFEF-58C0-FF4B-8A99-4E23CC41F7CD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66" creationId="{88A2DA76-1D0C-58F3-86D7-3F74B8EC9BE9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67" creationId="{D14AC774-3A62-70CC-A2D3-D1E6B675BC16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68" creationId="{88BEB97D-DA23-C2A4-362A-A2CE4F0B9A8E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69" creationId="{84D7E6AC-2561-8DF0-1B92-8E1D1FB8B473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70" creationId="{69C633A2-151F-95F1-8A01-CA57C3AA39E7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71" creationId="{EED80132-AD73-2CB7-9FA4-C00B41F108AD}"/>
          </ac:picMkLst>
        </pc:picChg>
        <pc:picChg chg="add del mod">
          <ac:chgData name="Markus Albuscheit" userId="4f7fce57-5076-4fe0-a4ff-e69de3a8985e" providerId="ADAL" clId="{0ACAEE19-1F3C-44E9-AA98-7871674C48E4}" dt="2023-12-13T17:02:58.717" v="1446" actId="478"/>
          <ac:picMkLst>
            <pc:docMk/>
            <pc:sldMk cId="2808918165" sldId="2147477074"/>
            <ac:picMk id="72" creationId="{EBA72954-CAB6-CDCB-4F81-BCB2C27D6835}"/>
          </ac:picMkLst>
        </pc:picChg>
        <pc:picChg chg="add del mod">
          <ac:chgData name="Markus Albuscheit" userId="4f7fce57-5076-4fe0-a4ff-e69de3a8985e" providerId="ADAL" clId="{0ACAEE19-1F3C-44E9-AA98-7871674C48E4}" dt="2023-12-13T17:03:01.248" v="1447" actId="478"/>
          <ac:picMkLst>
            <pc:docMk/>
            <pc:sldMk cId="2808918165" sldId="2147477074"/>
            <ac:picMk id="73" creationId="{EFB3BD88-78E8-5F0E-0861-9BE71391CF69}"/>
          </ac:picMkLst>
        </pc:picChg>
        <pc:picChg chg="del mod topLvl">
          <ac:chgData name="Markus Albuscheit" userId="4f7fce57-5076-4fe0-a4ff-e69de3a8985e" providerId="ADAL" clId="{0ACAEE19-1F3C-44E9-AA98-7871674C48E4}" dt="2023-12-13T17:11:51.175" v="1576" actId="478"/>
          <ac:picMkLst>
            <pc:docMk/>
            <pc:sldMk cId="2808918165" sldId="2147477074"/>
            <ac:picMk id="75" creationId="{51ECC379-AB0F-403C-465C-7ECE57A6E0CC}"/>
          </ac:picMkLst>
        </pc:picChg>
        <pc:picChg chg="mod topLvl">
          <ac:chgData name="Markus Albuscheit" userId="4f7fce57-5076-4fe0-a4ff-e69de3a8985e" providerId="ADAL" clId="{0ACAEE19-1F3C-44E9-AA98-7871674C48E4}" dt="2023-12-13T17:13:24.385" v="1615" actId="1036"/>
          <ac:picMkLst>
            <pc:docMk/>
            <pc:sldMk cId="2808918165" sldId="2147477074"/>
            <ac:picMk id="76" creationId="{2694E6EB-BEB9-BEB0-EBE7-C10D6C7F1771}"/>
          </ac:picMkLst>
        </pc:picChg>
        <pc:picChg chg="add del mod">
          <ac:chgData name="Markus Albuscheit" userId="4f7fce57-5076-4fe0-a4ff-e69de3a8985e" providerId="ADAL" clId="{0ACAEE19-1F3C-44E9-AA98-7871674C48E4}" dt="2023-12-13T17:08:46.674" v="1508" actId="478"/>
          <ac:picMkLst>
            <pc:docMk/>
            <pc:sldMk cId="2808918165" sldId="2147477074"/>
            <ac:picMk id="81" creationId="{F711C024-EDF3-078E-252C-9E953AD96C2B}"/>
          </ac:picMkLst>
        </pc:picChg>
        <pc:picChg chg="add mod">
          <ac:chgData name="Markus Albuscheit" userId="4f7fce57-5076-4fe0-a4ff-e69de3a8985e" providerId="ADAL" clId="{0ACAEE19-1F3C-44E9-AA98-7871674C48E4}" dt="2023-12-13T17:13:24.385" v="1615" actId="1036"/>
          <ac:picMkLst>
            <pc:docMk/>
            <pc:sldMk cId="2808918165" sldId="2147477074"/>
            <ac:picMk id="83" creationId="{BF0D8373-7959-8C4A-4801-3350907F007E}"/>
          </ac:picMkLst>
        </pc:picChg>
        <pc:picChg chg="add mod">
          <ac:chgData name="Markus Albuscheit" userId="4f7fce57-5076-4fe0-a4ff-e69de3a8985e" providerId="ADAL" clId="{0ACAEE19-1F3C-44E9-AA98-7871674C48E4}" dt="2023-12-13T17:13:24.385" v="1615" actId="1036"/>
          <ac:picMkLst>
            <pc:docMk/>
            <pc:sldMk cId="2808918165" sldId="2147477074"/>
            <ac:picMk id="84" creationId="{E7182C41-2141-350A-D753-94E24A2CAD89}"/>
          </ac:picMkLst>
        </pc:picChg>
        <pc:picChg chg="add mod">
          <ac:chgData name="Markus Albuscheit" userId="4f7fce57-5076-4fe0-a4ff-e69de3a8985e" providerId="ADAL" clId="{0ACAEE19-1F3C-44E9-AA98-7871674C48E4}" dt="2023-12-13T17:13:24.385" v="1615" actId="1036"/>
          <ac:picMkLst>
            <pc:docMk/>
            <pc:sldMk cId="2808918165" sldId="2147477074"/>
            <ac:picMk id="85" creationId="{9F8D1774-BBED-A23B-78D6-E6595141990A}"/>
          </ac:picMkLst>
        </pc:picChg>
        <pc:picChg chg="add mod">
          <ac:chgData name="Markus Albuscheit" userId="4f7fce57-5076-4fe0-a4ff-e69de3a8985e" providerId="ADAL" clId="{0ACAEE19-1F3C-44E9-AA98-7871674C48E4}" dt="2023-12-13T17:13:24.385" v="1615" actId="1036"/>
          <ac:picMkLst>
            <pc:docMk/>
            <pc:sldMk cId="2808918165" sldId="2147477074"/>
            <ac:picMk id="86" creationId="{ABB3FA28-F8CC-C832-84D5-AE657E9E184E}"/>
          </ac:picMkLst>
        </pc:picChg>
        <pc:picChg chg="add del mod">
          <ac:chgData name="Markus Albuscheit" userId="4f7fce57-5076-4fe0-a4ff-e69de3a8985e" providerId="ADAL" clId="{0ACAEE19-1F3C-44E9-AA98-7871674C48E4}" dt="2023-12-13T17:07:22.349" v="1498"/>
          <ac:picMkLst>
            <pc:docMk/>
            <pc:sldMk cId="2808918165" sldId="2147477074"/>
            <ac:picMk id="87" creationId="{C51D4302-0802-ED18-8AB2-0A419C5AA36F}"/>
          </ac:picMkLst>
        </pc:picChg>
        <pc:picChg chg="add del mod">
          <ac:chgData name="Markus Albuscheit" userId="4f7fce57-5076-4fe0-a4ff-e69de3a8985e" providerId="ADAL" clId="{0ACAEE19-1F3C-44E9-AA98-7871674C48E4}" dt="2023-12-13T17:07:21.893" v="1497"/>
          <ac:picMkLst>
            <pc:docMk/>
            <pc:sldMk cId="2808918165" sldId="2147477074"/>
            <ac:picMk id="88" creationId="{C7C489F4-26C1-D9FD-C05B-332AA2DB7AAD}"/>
          </ac:picMkLst>
        </pc:picChg>
        <pc:picChg chg="add del mod">
          <ac:chgData name="Markus Albuscheit" userId="4f7fce57-5076-4fe0-a4ff-e69de3a8985e" providerId="ADAL" clId="{0ACAEE19-1F3C-44E9-AA98-7871674C48E4}" dt="2023-12-13T17:07:21.558" v="1496"/>
          <ac:picMkLst>
            <pc:docMk/>
            <pc:sldMk cId="2808918165" sldId="2147477074"/>
            <ac:picMk id="89" creationId="{41D405F5-62B4-9CBA-9176-67DC0E118ABA}"/>
          </ac:picMkLst>
        </pc:picChg>
        <pc:picChg chg="add mod">
          <ac:chgData name="Markus Albuscheit" userId="4f7fce57-5076-4fe0-a4ff-e69de3a8985e" providerId="ADAL" clId="{0ACAEE19-1F3C-44E9-AA98-7871674C48E4}" dt="2023-12-13T17:13:24.385" v="1615" actId="1036"/>
          <ac:picMkLst>
            <pc:docMk/>
            <pc:sldMk cId="2808918165" sldId="2147477074"/>
            <ac:picMk id="90" creationId="{395E852C-1860-8FC6-8526-FA6FE15F02B0}"/>
          </ac:picMkLst>
        </pc:picChg>
        <pc:picChg chg="add mod">
          <ac:chgData name="Markus Albuscheit" userId="4f7fce57-5076-4fe0-a4ff-e69de3a8985e" providerId="ADAL" clId="{0ACAEE19-1F3C-44E9-AA98-7871674C48E4}" dt="2023-12-13T17:13:24.385" v="1615" actId="1036"/>
          <ac:picMkLst>
            <pc:docMk/>
            <pc:sldMk cId="2808918165" sldId="2147477074"/>
            <ac:picMk id="91" creationId="{DF2B0A07-A647-E0AA-092C-369299BF2769}"/>
          </ac:picMkLst>
        </pc:picChg>
        <pc:picChg chg="add mod">
          <ac:chgData name="Markus Albuscheit" userId="4f7fce57-5076-4fe0-a4ff-e69de3a8985e" providerId="ADAL" clId="{0ACAEE19-1F3C-44E9-AA98-7871674C48E4}" dt="2023-12-13T17:13:24.385" v="1615" actId="1036"/>
          <ac:picMkLst>
            <pc:docMk/>
            <pc:sldMk cId="2808918165" sldId="2147477074"/>
            <ac:picMk id="92" creationId="{4339ADF3-4709-1C3A-1B23-E0BA398D9933}"/>
          </ac:picMkLst>
        </pc:picChg>
        <pc:picChg chg="add mod">
          <ac:chgData name="Markus Albuscheit" userId="4f7fce57-5076-4fe0-a4ff-e69de3a8985e" providerId="ADAL" clId="{0ACAEE19-1F3C-44E9-AA98-7871674C48E4}" dt="2023-12-13T17:13:24.385" v="1615" actId="1036"/>
          <ac:picMkLst>
            <pc:docMk/>
            <pc:sldMk cId="2808918165" sldId="2147477074"/>
            <ac:picMk id="93" creationId="{5907B7C4-9E57-1275-942B-7D096CBEEFDE}"/>
          </ac:picMkLst>
        </pc:picChg>
        <pc:picChg chg="add mod">
          <ac:chgData name="Markus Albuscheit" userId="4f7fce57-5076-4fe0-a4ff-e69de3a8985e" providerId="ADAL" clId="{0ACAEE19-1F3C-44E9-AA98-7871674C48E4}" dt="2023-12-13T17:13:24.385" v="1615" actId="1036"/>
          <ac:picMkLst>
            <pc:docMk/>
            <pc:sldMk cId="2808918165" sldId="2147477074"/>
            <ac:picMk id="94" creationId="{0AF2EC88-93D7-4918-FF97-36A223529E50}"/>
          </ac:picMkLst>
        </pc:picChg>
        <pc:picChg chg="add del mod">
          <ac:chgData name="Markus Albuscheit" userId="4f7fce57-5076-4fe0-a4ff-e69de3a8985e" providerId="ADAL" clId="{0ACAEE19-1F3C-44E9-AA98-7871674C48E4}" dt="2023-12-13T17:09:39.886" v="1521" actId="478"/>
          <ac:picMkLst>
            <pc:docMk/>
            <pc:sldMk cId="2808918165" sldId="2147477074"/>
            <ac:picMk id="95" creationId="{E9BAEC92-1BEF-EC22-B3D6-5BA98CDC6895}"/>
          </ac:picMkLst>
        </pc:picChg>
        <pc:picChg chg="add mod">
          <ac:chgData name="Markus Albuscheit" userId="4f7fce57-5076-4fe0-a4ff-e69de3a8985e" providerId="ADAL" clId="{0ACAEE19-1F3C-44E9-AA98-7871674C48E4}" dt="2023-12-13T17:13:24.385" v="1615" actId="1036"/>
          <ac:picMkLst>
            <pc:docMk/>
            <pc:sldMk cId="2808918165" sldId="2147477074"/>
            <ac:picMk id="97" creationId="{0353CEC9-B6E6-8941-0AAA-58825C5ED3E1}"/>
          </ac:picMkLst>
        </pc:picChg>
      </pc:sldChg>
      <pc:sldChg chg="addSp delSp modSp add del mod ord modShow">
        <pc:chgData name="Markus Albuscheit" userId="4f7fce57-5076-4fe0-a4ff-e69de3a8985e" providerId="ADAL" clId="{0ACAEE19-1F3C-44E9-AA98-7871674C48E4}" dt="2023-12-15T07:58:59.222" v="8033" actId="47"/>
        <pc:sldMkLst>
          <pc:docMk/>
          <pc:sldMk cId="4290502486" sldId="2147477075"/>
        </pc:sldMkLst>
        <pc:spChg chg="add mod">
          <ac:chgData name="Markus Albuscheit" userId="4f7fce57-5076-4fe0-a4ff-e69de3a8985e" providerId="ADAL" clId="{0ACAEE19-1F3C-44E9-AA98-7871674C48E4}" dt="2023-12-13T17:35:31.231" v="1709" actId="14100"/>
          <ac:spMkLst>
            <pc:docMk/>
            <pc:sldMk cId="4290502486" sldId="2147477075"/>
            <ac:spMk id="7" creationId="{09DBCCE3-2E30-550D-03B4-2D664329B05C}"/>
          </ac:spMkLst>
        </pc:spChg>
        <pc:spChg chg="del">
          <ac:chgData name="Markus Albuscheit" userId="4f7fce57-5076-4fe0-a4ff-e69de3a8985e" providerId="ADAL" clId="{0ACAEE19-1F3C-44E9-AA98-7871674C48E4}" dt="2023-12-13T17:17:25.385" v="1656" actId="478"/>
          <ac:spMkLst>
            <pc:docMk/>
            <pc:sldMk cId="4290502486" sldId="2147477075"/>
            <ac:spMk id="8" creationId="{9B8DD9DA-23B3-E740-31F3-F8B70C4E120A}"/>
          </ac:spMkLst>
        </pc:spChg>
        <pc:spChg chg="del">
          <ac:chgData name="Markus Albuscheit" userId="4f7fce57-5076-4fe0-a4ff-e69de3a8985e" providerId="ADAL" clId="{0ACAEE19-1F3C-44E9-AA98-7871674C48E4}" dt="2023-12-13T17:17:25.385" v="1656" actId="478"/>
          <ac:spMkLst>
            <pc:docMk/>
            <pc:sldMk cId="4290502486" sldId="2147477075"/>
            <ac:spMk id="9" creationId="{2B23CB48-F680-35DD-C744-CD9A3A2CFDAC}"/>
          </ac:spMkLst>
        </pc:spChg>
        <pc:spChg chg="del">
          <ac:chgData name="Markus Albuscheit" userId="4f7fce57-5076-4fe0-a4ff-e69de3a8985e" providerId="ADAL" clId="{0ACAEE19-1F3C-44E9-AA98-7871674C48E4}" dt="2023-12-13T17:17:25.385" v="1656" actId="478"/>
          <ac:spMkLst>
            <pc:docMk/>
            <pc:sldMk cId="4290502486" sldId="2147477075"/>
            <ac:spMk id="10" creationId="{878DFF2F-CF4B-7214-CAB0-9C465AD2DA28}"/>
          </ac:spMkLst>
        </pc:spChg>
        <pc:spChg chg="del">
          <ac:chgData name="Markus Albuscheit" userId="4f7fce57-5076-4fe0-a4ff-e69de3a8985e" providerId="ADAL" clId="{0ACAEE19-1F3C-44E9-AA98-7871674C48E4}" dt="2023-12-13T17:17:25.385" v="1656" actId="478"/>
          <ac:spMkLst>
            <pc:docMk/>
            <pc:sldMk cId="4290502486" sldId="2147477075"/>
            <ac:spMk id="11" creationId="{873737AF-F305-940D-E24C-22D679F76CE8}"/>
          </ac:spMkLst>
        </pc:spChg>
        <pc:spChg chg="del">
          <ac:chgData name="Markus Albuscheit" userId="4f7fce57-5076-4fe0-a4ff-e69de3a8985e" providerId="ADAL" clId="{0ACAEE19-1F3C-44E9-AA98-7871674C48E4}" dt="2023-12-13T17:17:25.385" v="1656" actId="478"/>
          <ac:spMkLst>
            <pc:docMk/>
            <pc:sldMk cId="4290502486" sldId="2147477075"/>
            <ac:spMk id="12" creationId="{30B1C6DC-8534-D735-42A6-CCC0C2D05942}"/>
          </ac:spMkLst>
        </pc:spChg>
        <pc:spChg chg="del">
          <ac:chgData name="Markus Albuscheit" userId="4f7fce57-5076-4fe0-a4ff-e69de3a8985e" providerId="ADAL" clId="{0ACAEE19-1F3C-44E9-AA98-7871674C48E4}" dt="2023-12-13T17:43:37.151" v="1811" actId="478"/>
          <ac:spMkLst>
            <pc:docMk/>
            <pc:sldMk cId="4290502486" sldId="2147477075"/>
            <ac:spMk id="14" creationId="{243114D7-9AA6-0403-F042-FF03D979227E}"/>
          </ac:spMkLst>
        </pc:spChg>
        <pc:spChg chg="del">
          <ac:chgData name="Markus Albuscheit" userId="4f7fce57-5076-4fe0-a4ff-e69de3a8985e" providerId="ADAL" clId="{0ACAEE19-1F3C-44E9-AA98-7871674C48E4}" dt="2023-12-13T17:17:25.385" v="1656" actId="478"/>
          <ac:spMkLst>
            <pc:docMk/>
            <pc:sldMk cId="4290502486" sldId="2147477075"/>
            <ac:spMk id="16" creationId="{31460AE9-E521-1498-5DED-5C27446DEE17}"/>
          </ac:spMkLst>
        </pc:spChg>
        <pc:spChg chg="del">
          <ac:chgData name="Markus Albuscheit" userId="4f7fce57-5076-4fe0-a4ff-e69de3a8985e" providerId="ADAL" clId="{0ACAEE19-1F3C-44E9-AA98-7871674C48E4}" dt="2023-12-13T17:43:39.153" v="1813" actId="478"/>
          <ac:spMkLst>
            <pc:docMk/>
            <pc:sldMk cId="4290502486" sldId="2147477075"/>
            <ac:spMk id="17" creationId="{34074313-61E8-F2E8-273C-8B7723FB0BF5}"/>
          </ac:spMkLst>
        </pc:spChg>
        <pc:spChg chg="del">
          <ac:chgData name="Markus Albuscheit" userId="4f7fce57-5076-4fe0-a4ff-e69de3a8985e" providerId="ADAL" clId="{0ACAEE19-1F3C-44E9-AA98-7871674C48E4}" dt="2023-12-13T17:17:25.385" v="1656" actId="478"/>
          <ac:spMkLst>
            <pc:docMk/>
            <pc:sldMk cId="4290502486" sldId="2147477075"/>
            <ac:spMk id="18" creationId="{047B2104-F249-A5D7-E5F2-00F2194C51BA}"/>
          </ac:spMkLst>
        </pc:spChg>
        <pc:spChg chg="del">
          <ac:chgData name="Markus Albuscheit" userId="4f7fce57-5076-4fe0-a4ff-e69de3a8985e" providerId="ADAL" clId="{0ACAEE19-1F3C-44E9-AA98-7871674C48E4}" dt="2023-12-13T17:17:25.385" v="1656" actId="478"/>
          <ac:spMkLst>
            <pc:docMk/>
            <pc:sldMk cId="4290502486" sldId="2147477075"/>
            <ac:spMk id="19" creationId="{DFCE61D5-CE06-BB19-9F00-1EF8454FC3F0}"/>
          </ac:spMkLst>
        </pc:spChg>
        <pc:spChg chg="del">
          <ac:chgData name="Markus Albuscheit" userId="4f7fce57-5076-4fe0-a4ff-e69de3a8985e" providerId="ADAL" clId="{0ACAEE19-1F3C-44E9-AA98-7871674C48E4}" dt="2023-12-13T17:17:25.385" v="1656" actId="478"/>
          <ac:spMkLst>
            <pc:docMk/>
            <pc:sldMk cId="4290502486" sldId="2147477075"/>
            <ac:spMk id="20" creationId="{E052A6C5-BFF0-7D94-AA8D-D6524DCAC4C8}"/>
          </ac:spMkLst>
        </pc:spChg>
        <pc:spChg chg="del">
          <ac:chgData name="Markus Albuscheit" userId="4f7fce57-5076-4fe0-a4ff-e69de3a8985e" providerId="ADAL" clId="{0ACAEE19-1F3C-44E9-AA98-7871674C48E4}" dt="2023-12-13T17:17:25.385" v="1656" actId="478"/>
          <ac:spMkLst>
            <pc:docMk/>
            <pc:sldMk cId="4290502486" sldId="2147477075"/>
            <ac:spMk id="21" creationId="{254157A5-C42F-B927-6944-F9540F7846AC}"/>
          </ac:spMkLst>
        </pc:spChg>
        <pc:spChg chg="del">
          <ac:chgData name="Markus Albuscheit" userId="4f7fce57-5076-4fe0-a4ff-e69de3a8985e" providerId="ADAL" clId="{0ACAEE19-1F3C-44E9-AA98-7871674C48E4}" dt="2023-12-13T17:17:25.385" v="1656" actId="478"/>
          <ac:spMkLst>
            <pc:docMk/>
            <pc:sldMk cId="4290502486" sldId="2147477075"/>
            <ac:spMk id="22" creationId="{AA304E91-17A2-B997-3BFA-F149906E9245}"/>
          </ac:spMkLst>
        </pc:spChg>
        <pc:spChg chg="del">
          <ac:chgData name="Markus Albuscheit" userId="4f7fce57-5076-4fe0-a4ff-e69de3a8985e" providerId="ADAL" clId="{0ACAEE19-1F3C-44E9-AA98-7871674C48E4}" dt="2023-12-13T17:17:25.385" v="1656" actId="478"/>
          <ac:spMkLst>
            <pc:docMk/>
            <pc:sldMk cId="4290502486" sldId="2147477075"/>
            <ac:spMk id="23" creationId="{7BB7157B-2C3D-1E7E-6E50-067D1848CF5D}"/>
          </ac:spMkLst>
        </pc:spChg>
        <pc:spChg chg="del">
          <ac:chgData name="Markus Albuscheit" userId="4f7fce57-5076-4fe0-a4ff-e69de3a8985e" providerId="ADAL" clId="{0ACAEE19-1F3C-44E9-AA98-7871674C48E4}" dt="2023-12-13T17:17:25.385" v="1656" actId="478"/>
          <ac:spMkLst>
            <pc:docMk/>
            <pc:sldMk cId="4290502486" sldId="2147477075"/>
            <ac:spMk id="24" creationId="{ACC67023-5AAE-8B72-DAB8-DE2CA8F18800}"/>
          </ac:spMkLst>
        </pc:spChg>
        <pc:spChg chg="del">
          <ac:chgData name="Markus Albuscheit" userId="4f7fce57-5076-4fe0-a4ff-e69de3a8985e" providerId="ADAL" clId="{0ACAEE19-1F3C-44E9-AA98-7871674C48E4}" dt="2023-12-13T17:17:25.385" v="1656" actId="478"/>
          <ac:spMkLst>
            <pc:docMk/>
            <pc:sldMk cId="4290502486" sldId="2147477075"/>
            <ac:spMk id="25" creationId="{3C9B8FDE-5DAA-3A3D-1A9E-A716982DDC9C}"/>
          </ac:spMkLst>
        </pc:spChg>
        <pc:spChg chg="del">
          <ac:chgData name="Markus Albuscheit" userId="4f7fce57-5076-4fe0-a4ff-e69de3a8985e" providerId="ADAL" clId="{0ACAEE19-1F3C-44E9-AA98-7871674C48E4}" dt="2023-12-13T17:17:25.385" v="1656" actId="478"/>
          <ac:spMkLst>
            <pc:docMk/>
            <pc:sldMk cId="4290502486" sldId="2147477075"/>
            <ac:spMk id="26" creationId="{13656FC1-7AB3-3F2D-4C13-8679C4BE4BF4}"/>
          </ac:spMkLst>
        </pc:spChg>
        <pc:spChg chg="del">
          <ac:chgData name="Markus Albuscheit" userId="4f7fce57-5076-4fe0-a4ff-e69de3a8985e" providerId="ADAL" clId="{0ACAEE19-1F3C-44E9-AA98-7871674C48E4}" dt="2023-12-13T17:17:25.385" v="1656" actId="478"/>
          <ac:spMkLst>
            <pc:docMk/>
            <pc:sldMk cId="4290502486" sldId="2147477075"/>
            <ac:spMk id="27" creationId="{29A12C74-7127-E357-09C3-6A19E43DE730}"/>
          </ac:spMkLst>
        </pc:spChg>
        <pc:spChg chg="del">
          <ac:chgData name="Markus Albuscheit" userId="4f7fce57-5076-4fe0-a4ff-e69de3a8985e" providerId="ADAL" clId="{0ACAEE19-1F3C-44E9-AA98-7871674C48E4}" dt="2023-12-13T17:17:25.385" v="1656" actId="478"/>
          <ac:spMkLst>
            <pc:docMk/>
            <pc:sldMk cId="4290502486" sldId="2147477075"/>
            <ac:spMk id="28" creationId="{E61A988C-7061-C31E-B2AF-AD395CFD4D24}"/>
          </ac:spMkLst>
        </pc:spChg>
        <pc:spChg chg="del">
          <ac:chgData name="Markus Albuscheit" userId="4f7fce57-5076-4fe0-a4ff-e69de3a8985e" providerId="ADAL" clId="{0ACAEE19-1F3C-44E9-AA98-7871674C48E4}" dt="2023-12-13T17:17:25.385" v="1656" actId="478"/>
          <ac:spMkLst>
            <pc:docMk/>
            <pc:sldMk cId="4290502486" sldId="2147477075"/>
            <ac:spMk id="29" creationId="{984E5373-FFC1-9280-1BB0-12D28E0F4B0D}"/>
          </ac:spMkLst>
        </pc:spChg>
        <pc:spChg chg="del">
          <ac:chgData name="Markus Albuscheit" userId="4f7fce57-5076-4fe0-a4ff-e69de3a8985e" providerId="ADAL" clId="{0ACAEE19-1F3C-44E9-AA98-7871674C48E4}" dt="2023-12-13T17:17:25.385" v="1656" actId="478"/>
          <ac:spMkLst>
            <pc:docMk/>
            <pc:sldMk cId="4290502486" sldId="2147477075"/>
            <ac:spMk id="30" creationId="{D1EDFE42-48BD-8AC7-4F47-FB989EBAD491}"/>
          </ac:spMkLst>
        </pc:spChg>
        <pc:spChg chg="del">
          <ac:chgData name="Markus Albuscheit" userId="4f7fce57-5076-4fe0-a4ff-e69de3a8985e" providerId="ADAL" clId="{0ACAEE19-1F3C-44E9-AA98-7871674C48E4}" dt="2023-12-13T17:17:25.385" v="1656" actId="478"/>
          <ac:spMkLst>
            <pc:docMk/>
            <pc:sldMk cId="4290502486" sldId="2147477075"/>
            <ac:spMk id="31" creationId="{C63E1642-26F1-7E3E-384A-7D2E4219AA0F}"/>
          </ac:spMkLst>
        </pc:spChg>
        <pc:spChg chg="del">
          <ac:chgData name="Markus Albuscheit" userId="4f7fce57-5076-4fe0-a4ff-e69de3a8985e" providerId="ADAL" clId="{0ACAEE19-1F3C-44E9-AA98-7871674C48E4}" dt="2023-12-13T17:17:25.385" v="1656" actId="478"/>
          <ac:spMkLst>
            <pc:docMk/>
            <pc:sldMk cId="4290502486" sldId="2147477075"/>
            <ac:spMk id="32" creationId="{4E34BE69-73F7-E6C4-E8FE-5D68D8EF8EAE}"/>
          </ac:spMkLst>
        </pc:spChg>
        <pc:spChg chg="del">
          <ac:chgData name="Markus Albuscheit" userId="4f7fce57-5076-4fe0-a4ff-e69de3a8985e" providerId="ADAL" clId="{0ACAEE19-1F3C-44E9-AA98-7871674C48E4}" dt="2023-12-13T17:17:25.385" v="1656" actId="478"/>
          <ac:spMkLst>
            <pc:docMk/>
            <pc:sldMk cId="4290502486" sldId="2147477075"/>
            <ac:spMk id="36" creationId="{9D5542C8-57BD-9463-8ECE-E1E0B12BFB0C}"/>
          </ac:spMkLst>
        </pc:spChg>
        <pc:spChg chg="del">
          <ac:chgData name="Markus Albuscheit" userId="4f7fce57-5076-4fe0-a4ff-e69de3a8985e" providerId="ADAL" clId="{0ACAEE19-1F3C-44E9-AA98-7871674C48E4}" dt="2023-12-13T17:17:25.385" v="1656" actId="478"/>
          <ac:spMkLst>
            <pc:docMk/>
            <pc:sldMk cId="4290502486" sldId="2147477075"/>
            <ac:spMk id="37" creationId="{FF8297EB-F22A-D567-6191-E485BD7C87F0}"/>
          </ac:spMkLst>
        </pc:spChg>
        <pc:spChg chg="add mod">
          <ac:chgData name="Markus Albuscheit" userId="4f7fce57-5076-4fe0-a4ff-e69de3a8985e" providerId="ADAL" clId="{0ACAEE19-1F3C-44E9-AA98-7871674C48E4}" dt="2023-12-13T17:47:03.970" v="2032" actId="14100"/>
          <ac:spMkLst>
            <pc:docMk/>
            <pc:sldMk cId="4290502486" sldId="2147477075"/>
            <ac:spMk id="39" creationId="{FE8B9230-7BD3-30CC-15FC-9AA8B922BF36}"/>
          </ac:spMkLst>
        </pc:spChg>
        <pc:spChg chg="mod">
          <ac:chgData name="Markus Albuscheit" userId="4f7fce57-5076-4fe0-a4ff-e69de3a8985e" providerId="ADAL" clId="{0ACAEE19-1F3C-44E9-AA98-7871674C48E4}" dt="2023-12-13T17:44:12.037" v="1818"/>
          <ac:spMkLst>
            <pc:docMk/>
            <pc:sldMk cId="4290502486" sldId="2147477075"/>
            <ac:spMk id="41" creationId="{08833C65-66FD-7498-783F-FE43621EEF33}"/>
          </ac:spMkLst>
        </pc:spChg>
        <pc:spChg chg="del">
          <ac:chgData name="Markus Albuscheit" userId="4f7fce57-5076-4fe0-a4ff-e69de3a8985e" providerId="ADAL" clId="{0ACAEE19-1F3C-44E9-AA98-7871674C48E4}" dt="2023-12-13T17:17:25.385" v="1656" actId="478"/>
          <ac:spMkLst>
            <pc:docMk/>
            <pc:sldMk cId="4290502486" sldId="2147477075"/>
            <ac:spMk id="77" creationId="{92983816-C33F-C988-9C0F-F074C172D2E9}"/>
          </ac:spMkLst>
        </pc:spChg>
        <pc:spChg chg="del">
          <ac:chgData name="Markus Albuscheit" userId="4f7fce57-5076-4fe0-a4ff-e69de3a8985e" providerId="ADAL" clId="{0ACAEE19-1F3C-44E9-AA98-7871674C48E4}" dt="2023-12-13T17:17:25.385" v="1656" actId="478"/>
          <ac:spMkLst>
            <pc:docMk/>
            <pc:sldMk cId="4290502486" sldId="2147477075"/>
            <ac:spMk id="78" creationId="{10965EDF-C51B-E459-A0AD-B3A04F1EA5BC}"/>
          </ac:spMkLst>
        </pc:spChg>
        <pc:spChg chg="del">
          <ac:chgData name="Markus Albuscheit" userId="4f7fce57-5076-4fe0-a4ff-e69de3a8985e" providerId="ADAL" clId="{0ACAEE19-1F3C-44E9-AA98-7871674C48E4}" dt="2023-12-13T17:17:25.385" v="1656" actId="478"/>
          <ac:spMkLst>
            <pc:docMk/>
            <pc:sldMk cId="4290502486" sldId="2147477075"/>
            <ac:spMk id="79" creationId="{7D6A48C0-7982-85F0-5152-BAE09CEC35BA}"/>
          </ac:spMkLst>
        </pc:spChg>
        <pc:spChg chg="del">
          <ac:chgData name="Markus Albuscheit" userId="4f7fce57-5076-4fe0-a4ff-e69de3a8985e" providerId="ADAL" clId="{0ACAEE19-1F3C-44E9-AA98-7871674C48E4}" dt="2023-12-13T17:17:25.385" v="1656" actId="478"/>
          <ac:spMkLst>
            <pc:docMk/>
            <pc:sldMk cId="4290502486" sldId="2147477075"/>
            <ac:spMk id="96" creationId="{E06C39C7-B85A-3E2D-D55E-C629E96252E1}"/>
          </ac:spMkLst>
        </pc:spChg>
        <pc:spChg chg="del">
          <ac:chgData name="Markus Albuscheit" userId="4f7fce57-5076-4fe0-a4ff-e69de3a8985e" providerId="ADAL" clId="{0ACAEE19-1F3C-44E9-AA98-7871674C48E4}" dt="2023-12-13T17:17:25.385" v="1656" actId="478"/>
          <ac:spMkLst>
            <pc:docMk/>
            <pc:sldMk cId="4290502486" sldId="2147477075"/>
            <ac:spMk id="101" creationId="{0EBF3EC2-D4B9-873C-0EE8-DDF03B9DB4B7}"/>
          </ac:spMkLst>
        </pc:spChg>
        <pc:grpChg chg="add mod">
          <ac:chgData name="Markus Albuscheit" userId="4f7fce57-5076-4fe0-a4ff-e69de3a8985e" providerId="ADAL" clId="{0ACAEE19-1F3C-44E9-AA98-7871674C48E4}" dt="2023-12-13T17:44:12.037" v="1818"/>
          <ac:grpSpMkLst>
            <pc:docMk/>
            <pc:sldMk cId="4290502486" sldId="2147477075"/>
            <ac:grpSpMk id="40" creationId="{02F1B994-8DF1-2D06-D6E9-CE6C415A107E}"/>
          </ac:grpSpMkLst>
        </pc:grpChg>
        <pc:picChg chg="del">
          <ac:chgData name="Markus Albuscheit" userId="4f7fce57-5076-4fe0-a4ff-e69de3a8985e" providerId="ADAL" clId="{0ACAEE19-1F3C-44E9-AA98-7871674C48E4}" dt="2023-12-13T17:43:37.709" v="1812" actId="478"/>
          <ac:picMkLst>
            <pc:docMk/>
            <pc:sldMk cId="4290502486" sldId="2147477075"/>
            <ac:picMk id="15" creationId="{6869852B-3A0D-DD91-9878-B540225A4373}"/>
          </ac:picMkLst>
        </pc:picChg>
        <pc:picChg chg="del">
          <ac:chgData name="Markus Albuscheit" userId="4f7fce57-5076-4fe0-a4ff-e69de3a8985e" providerId="ADAL" clId="{0ACAEE19-1F3C-44E9-AA98-7871674C48E4}" dt="2023-12-13T17:17:25.385" v="1656" actId="478"/>
          <ac:picMkLst>
            <pc:docMk/>
            <pc:sldMk cId="4290502486" sldId="2147477075"/>
            <ac:picMk id="33" creationId="{4276AEF0-CF1F-C0AA-FDB4-2E6337D3BB6C}"/>
          </ac:picMkLst>
        </pc:picChg>
        <pc:picChg chg="del">
          <ac:chgData name="Markus Albuscheit" userId="4f7fce57-5076-4fe0-a4ff-e69de3a8985e" providerId="ADAL" clId="{0ACAEE19-1F3C-44E9-AA98-7871674C48E4}" dt="2023-12-13T17:17:25.385" v="1656" actId="478"/>
          <ac:picMkLst>
            <pc:docMk/>
            <pc:sldMk cId="4290502486" sldId="2147477075"/>
            <ac:picMk id="34" creationId="{DB327F6F-9F49-BEF4-C0A7-B35B201EC00B}"/>
          </ac:picMkLst>
        </pc:picChg>
        <pc:picChg chg="del">
          <ac:chgData name="Markus Albuscheit" userId="4f7fce57-5076-4fe0-a4ff-e69de3a8985e" providerId="ADAL" clId="{0ACAEE19-1F3C-44E9-AA98-7871674C48E4}" dt="2023-12-13T17:17:25.385" v="1656" actId="478"/>
          <ac:picMkLst>
            <pc:docMk/>
            <pc:sldMk cId="4290502486" sldId="2147477075"/>
            <ac:picMk id="35" creationId="{385EAB40-5E45-47BB-7374-B23E9500B433}"/>
          </ac:picMkLst>
        </pc:picChg>
        <pc:picChg chg="add mod">
          <ac:chgData name="Markus Albuscheit" userId="4f7fce57-5076-4fe0-a4ff-e69de3a8985e" providerId="ADAL" clId="{0ACAEE19-1F3C-44E9-AA98-7871674C48E4}" dt="2023-12-13T17:35:38.039" v="1710" actId="1076"/>
          <ac:picMkLst>
            <pc:docMk/>
            <pc:sldMk cId="4290502486" sldId="2147477075"/>
            <ac:picMk id="38" creationId="{1F36D944-CD6B-F632-E5A0-4674345D42B7}"/>
          </ac:picMkLst>
        </pc:picChg>
        <pc:picChg chg="mod">
          <ac:chgData name="Markus Albuscheit" userId="4f7fce57-5076-4fe0-a4ff-e69de3a8985e" providerId="ADAL" clId="{0ACAEE19-1F3C-44E9-AA98-7871674C48E4}" dt="2023-12-13T17:44:12.037" v="1818"/>
          <ac:picMkLst>
            <pc:docMk/>
            <pc:sldMk cId="4290502486" sldId="2147477075"/>
            <ac:picMk id="42" creationId="{6B9EB8C8-042F-82A9-9EFE-CA8E404DA9C0}"/>
          </ac:picMkLst>
        </pc:picChg>
        <pc:picChg chg="del">
          <ac:chgData name="Markus Albuscheit" userId="4f7fce57-5076-4fe0-a4ff-e69de3a8985e" providerId="ADAL" clId="{0ACAEE19-1F3C-44E9-AA98-7871674C48E4}" dt="2023-12-13T17:17:25.385" v="1656" actId="478"/>
          <ac:picMkLst>
            <pc:docMk/>
            <pc:sldMk cId="4290502486" sldId="2147477075"/>
            <ac:picMk id="76" creationId="{2694E6EB-BEB9-BEB0-EBE7-C10D6C7F1771}"/>
          </ac:picMkLst>
        </pc:picChg>
        <pc:picChg chg="del">
          <ac:chgData name="Markus Albuscheit" userId="4f7fce57-5076-4fe0-a4ff-e69de3a8985e" providerId="ADAL" clId="{0ACAEE19-1F3C-44E9-AA98-7871674C48E4}" dt="2023-12-13T17:17:25.385" v="1656" actId="478"/>
          <ac:picMkLst>
            <pc:docMk/>
            <pc:sldMk cId="4290502486" sldId="2147477075"/>
            <ac:picMk id="83" creationId="{BF0D8373-7959-8C4A-4801-3350907F007E}"/>
          </ac:picMkLst>
        </pc:picChg>
        <pc:picChg chg="del">
          <ac:chgData name="Markus Albuscheit" userId="4f7fce57-5076-4fe0-a4ff-e69de3a8985e" providerId="ADAL" clId="{0ACAEE19-1F3C-44E9-AA98-7871674C48E4}" dt="2023-12-13T17:17:25.385" v="1656" actId="478"/>
          <ac:picMkLst>
            <pc:docMk/>
            <pc:sldMk cId="4290502486" sldId="2147477075"/>
            <ac:picMk id="84" creationId="{E7182C41-2141-350A-D753-94E24A2CAD89}"/>
          </ac:picMkLst>
        </pc:picChg>
        <pc:picChg chg="del">
          <ac:chgData name="Markus Albuscheit" userId="4f7fce57-5076-4fe0-a4ff-e69de3a8985e" providerId="ADAL" clId="{0ACAEE19-1F3C-44E9-AA98-7871674C48E4}" dt="2023-12-13T17:17:25.385" v="1656" actId="478"/>
          <ac:picMkLst>
            <pc:docMk/>
            <pc:sldMk cId="4290502486" sldId="2147477075"/>
            <ac:picMk id="85" creationId="{9F8D1774-BBED-A23B-78D6-E6595141990A}"/>
          </ac:picMkLst>
        </pc:picChg>
        <pc:picChg chg="del">
          <ac:chgData name="Markus Albuscheit" userId="4f7fce57-5076-4fe0-a4ff-e69de3a8985e" providerId="ADAL" clId="{0ACAEE19-1F3C-44E9-AA98-7871674C48E4}" dt="2023-12-13T17:17:25.385" v="1656" actId="478"/>
          <ac:picMkLst>
            <pc:docMk/>
            <pc:sldMk cId="4290502486" sldId="2147477075"/>
            <ac:picMk id="86" creationId="{ABB3FA28-F8CC-C832-84D5-AE657E9E184E}"/>
          </ac:picMkLst>
        </pc:picChg>
        <pc:picChg chg="del">
          <ac:chgData name="Markus Albuscheit" userId="4f7fce57-5076-4fe0-a4ff-e69de3a8985e" providerId="ADAL" clId="{0ACAEE19-1F3C-44E9-AA98-7871674C48E4}" dt="2023-12-13T17:17:25.385" v="1656" actId="478"/>
          <ac:picMkLst>
            <pc:docMk/>
            <pc:sldMk cId="4290502486" sldId="2147477075"/>
            <ac:picMk id="90" creationId="{395E852C-1860-8FC6-8526-FA6FE15F02B0}"/>
          </ac:picMkLst>
        </pc:picChg>
        <pc:picChg chg="del">
          <ac:chgData name="Markus Albuscheit" userId="4f7fce57-5076-4fe0-a4ff-e69de3a8985e" providerId="ADAL" clId="{0ACAEE19-1F3C-44E9-AA98-7871674C48E4}" dt="2023-12-13T17:17:25.385" v="1656" actId="478"/>
          <ac:picMkLst>
            <pc:docMk/>
            <pc:sldMk cId="4290502486" sldId="2147477075"/>
            <ac:picMk id="91" creationId="{DF2B0A07-A647-E0AA-092C-369299BF2769}"/>
          </ac:picMkLst>
        </pc:picChg>
        <pc:picChg chg="del">
          <ac:chgData name="Markus Albuscheit" userId="4f7fce57-5076-4fe0-a4ff-e69de3a8985e" providerId="ADAL" clId="{0ACAEE19-1F3C-44E9-AA98-7871674C48E4}" dt="2023-12-13T17:17:25.385" v="1656" actId="478"/>
          <ac:picMkLst>
            <pc:docMk/>
            <pc:sldMk cId="4290502486" sldId="2147477075"/>
            <ac:picMk id="92" creationId="{4339ADF3-4709-1C3A-1B23-E0BA398D9933}"/>
          </ac:picMkLst>
        </pc:picChg>
        <pc:picChg chg="del">
          <ac:chgData name="Markus Albuscheit" userId="4f7fce57-5076-4fe0-a4ff-e69de3a8985e" providerId="ADAL" clId="{0ACAEE19-1F3C-44E9-AA98-7871674C48E4}" dt="2023-12-13T17:17:25.385" v="1656" actId="478"/>
          <ac:picMkLst>
            <pc:docMk/>
            <pc:sldMk cId="4290502486" sldId="2147477075"/>
            <ac:picMk id="93" creationId="{5907B7C4-9E57-1275-942B-7D096CBEEFDE}"/>
          </ac:picMkLst>
        </pc:picChg>
        <pc:picChg chg="del">
          <ac:chgData name="Markus Albuscheit" userId="4f7fce57-5076-4fe0-a4ff-e69de3a8985e" providerId="ADAL" clId="{0ACAEE19-1F3C-44E9-AA98-7871674C48E4}" dt="2023-12-13T17:17:25.385" v="1656" actId="478"/>
          <ac:picMkLst>
            <pc:docMk/>
            <pc:sldMk cId="4290502486" sldId="2147477075"/>
            <ac:picMk id="94" creationId="{0AF2EC88-93D7-4918-FF97-36A223529E50}"/>
          </ac:picMkLst>
        </pc:picChg>
        <pc:picChg chg="del">
          <ac:chgData name="Markus Albuscheit" userId="4f7fce57-5076-4fe0-a4ff-e69de3a8985e" providerId="ADAL" clId="{0ACAEE19-1F3C-44E9-AA98-7871674C48E4}" dt="2023-12-13T17:17:25.385" v="1656" actId="478"/>
          <ac:picMkLst>
            <pc:docMk/>
            <pc:sldMk cId="4290502486" sldId="2147477075"/>
            <ac:picMk id="97" creationId="{0353CEC9-B6E6-8941-0AAA-58825C5ED3E1}"/>
          </ac:picMkLst>
        </pc:picChg>
        <pc:picChg chg="add del mod">
          <ac:chgData name="Markus Albuscheit" userId="4f7fce57-5076-4fe0-a4ff-e69de3a8985e" providerId="ADAL" clId="{0ACAEE19-1F3C-44E9-AA98-7871674C48E4}" dt="2023-12-13T17:34:39.822" v="1693" actId="478"/>
          <ac:picMkLst>
            <pc:docMk/>
            <pc:sldMk cId="4290502486" sldId="2147477075"/>
            <ac:picMk id="2050" creationId="{AAE06D64-7181-25E6-CBFB-5BE58ECD7D3B}"/>
          </ac:picMkLst>
        </pc:picChg>
      </pc:sldChg>
      <pc:sldChg chg="addSp delSp modSp add del mod ord modAnim modShow addCm">
        <pc:chgData name="Markus Albuscheit" userId="4f7fce57-5076-4fe0-a4ff-e69de3a8985e" providerId="ADAL" clId="{0ACAEE19-1F3C-44E9-AA98-7871674C48E4}" dt="2023-12-15T07:58:58.782" v="8032" actId="47"/>
        <pc:sldMkLst>
          <pc:docMk/>
          <pc:sldMk cId="294971200" sldId="2147477076"/>
        </pc:sldMkLst>
        <pc:spChg chg="mod">
          <ac:chgData name="Markus Albuscheit" userId="4f7fce57-5076-4fe0-a4ff-e69de3a8985e" providerId="ADAL" clId="{0ACAEE19-1F3C-44E9-AA98-7871674C48E4}" dt="2023-12-14T08:44:46.199" v="2601" actId="1076"/>
          <ac:spMkLst>
            <pc:docMk/>
            <pc:sldMk cId="294971200" sldId="2147477076"/>
            <ac:spMk id="5" creationId="{4E544419-D65E-039F-C114-E329B6CA574D}"/>
          </ac:spMkLst>
        </pc:spChg>
        <pc:spChg chg="mod">
          <ac:chgData name="Markus Albuscheit" userId="4f7fce57-5076-4fe0-a4ff-e69de3a8985e" providerId="ADAL" clId="{0ACAEE19-1F3C-44E9-AA98-7871674C48E4}" dt="2023-12-13T17:19:36.533" v="1678" actId="20577"/>
          <ac:spMkLst>
            <pc:docMk/>
            <pc:sldMk cId="294971200" sldId="2147477076"/>
            <ac:spMk id="6" creationId="{7CB53F27-7AB3-C594-83F2-7F716F6860D3}"/>
          </ac:spMkLst>
        </pc:spChg>
        <pc:spChg chg="del">
          <ac:chgData name="Markus Albuscheit" userId="4f7fce57-5076-4fe0-a4ff-e69de3a8985e" providerId="ADAL" clId="{0ACAEE19-1F3C-44E9-AA98-7871674C48E4}" dt="2023-12-14T08:34:36.364" v="2494" actId="478"/>
          <ac:spMkLst>
            <pc:docMk/>
            <pc:sldMk cId="294971200" sldId="2147477076"/>
            <ac:spMk id="7" creationId="{09DBCCE3-2E30-550D-03B4-2D664329B05C}"/>
          </ac:spMkLst>
        </pc:spChg>
        <pc:spChg chg="add mod">
          <ac:chgData name="Markus Albuscheit" userId="4f7fce57-5076-4fe0-a4ff-e69de3a8985e" providerId="ADAL" clId="{0ACAEE19-1F3C-44E9-AA98-7871674C48E4}" dt="2023-12-14T08:45:48.525" v="2611" actId="1076"/>
          <ac:spMkLst>
            <pc:docMk/>
            <pc:sldMk cId="294971200" sldId="2147477076"/>
            <ac:spMk id="8" creationId="{7793E73D-46A6-347C-D563-165C1D898DD1}"/>
          </ac:spMkLst>
        </pc:spChg>
        <pc:spChg chg="add mod">
          <ac:chgData name="Markus Albuscheit" userId="4f7fce57-5076-4fe0-a4ff-e69de3a8985e" providerId="ADAL" clId="{0ACAEE19-1F3C-44E9-AA98-7871674C48E4}" dt="2023-12-14T08:42:49.875" v="2564" actId="1037"/>
          <ac:spMkLst>
            <pc:docMk/>
            <pc:sldMk cId="294971200" sldId="2147477076"/>
            <ac:spMk id="9" creationId="{19E967C2-715B-632C-1E4E-0E7A74B4A632}"/>
          </ac:spMkLst>
        </pc:spChg>
        <pc:spChg chg="mod">
          <ac:chgData name="Markus Albuscheit" userId="4f7fce57-5076-4fe0-a4ff-e69de3a8985e" providerId="ADAL" clId="{0ACAEE19-1F3C-44E9-AA98-7871674C48E4}" dt="2023-12-14T08:45:03.326" v="2605" actId="14100"/>
          <ac:spMkLst>
            <pc:docMk/>
            <pc:sldMk cId="294971200" sldId="2147477076"/>
            <ac:spMk id="14" creationId="{243114D7-9AA6-0403-F042-FF03D979227E}"/>
          </ac:spMkLst>
        </pc:spChg>
        <pc:spChg chg="ord">
          <ac:chgData name="Markus Albuscheit" userId="4f7fce57-5076-4fe0-a4ff-e69de3a8985e" providerId="ADAL" clId="{0ACAEE19-1F3C-44E9-AA98-7871674C48E4}" dt="2023-12-14T08:44:55.926" v="2603" actId="171"/>
          <ac:spMkLst>
            <pc:docMk/>
            <pc:sldMk cId="294971200" sldId="2147477076"/>
            <ac:spMk id="17" creationId="{34074313-61E8-F2E8-273C-8B7723FB0BF5}"/>
          </ac:spMkLst>
        </pc:spChg>
        <pc:spChg chg="add mod">
          <ac:chgData name="Markus Albuscheit" userId="4f7fce57-5076-4fe0-a4ff-e69de3a8985e" providerId="ADAL" clId="{0ACAEE19-1F3C-44E9-AA98-7871674C48E4}" dt="2023-12-14T08:42:49.875" v="2564" actId="1037"/>
          <ac:spMkLst>
            <pc:docMk/>
            <pc:sldMk cId="294971200" sldId="2147477076"/>
            <ac:spMk id="18" creationId="{AC8A4FE7-FD4C-B509-ADE7-9A10EF0D4F99}"/>
          </ac:spMkLst>
        </pc:spChg>
        <pc:spChg chg="add mod">
          <ac:chgData name="Markus Albuscheit" userId="4f7fce57-5076-4fe0-a4ff-e69de3a8985e" providerId="ADAL" clId="{0ACAEE19-1F3C-44E9-AA98-7871674C48E4}" dt="2023-12-14T08:42:49.875" v="2564" actId="1037"/>
          <ac:spMkLst>
            <pc:docMk/>
            <pc:sldMk cId="294971200" sldId="2147477076"/>
            <ac:spMk id="22" creationId="{19B4C74B-2CBF-A76A-5759-985BFA22E69C}"/>
          </ac:spMkLst>
        </pc:spChg>
        <pc:spChg chg="add mod">
          <ac:chgData name="Markus Albuscheit" userId="4f7fce57-5076-4fe0-a4ff-e69de3a8985e" providerId="ADAL" clId="{0ACAEE19-1F3C-44E9-AA98-7871674C48E4}" dt="2023-12-14T08:42:49.875" v="2564" actId="1037"/>
          <ac:spMkLst>
            <pc:docMk/>
            <pc:sldMk cId="294971200" sldId="2147477076"/>
            <ac:spMk id="23" creationId="{271976F1-654B-4634-BDA6-15D0F2DFE4B8}"/>
          </ac:spMkLst>
        </pc:spChg>
        <pc:spChg chg="add mod">
          <ac:chgData name="Markus Albuscheit" userId="4f7fce57-5076-4fe0-a4ff-e69de3a8985e" providerId="ADAL" clId="{0ACAEE19-1F3C-44E9-AA98-7871674C48E4}" dt="2023-12-14T08:42:49.875" v="2564" actId="1037"/>
          <ac:spMkLst>
            <pc:docMk/>
            <pc:sldMk cId="294971200" sldId="2147477076"/>
            <ac:spMk id="24" creationId="{D97EAC7E-5739-AD74-C370-FE819D712CF1}"/>
          </ac:spMkLst>
        </pc:spChg>
        <pc:spChg chg="add mod">
          <ac:chgData name="Markus Albuscheit" userId="4f7fce57-5076-4fe0-a4ff-e69de3a8985e" providerId="ADAL" clId="{0ACAEE19-1F3C-44E9-AA98-7871674C48E4}" dt="2023-12-14T08:42:49.875" v="2564" actId="1037"/>
          <ac:spMkLst>
            <pc:docMk/>
            <pc:sldMk cId="294971200" sldId="2147477076"/>
            <ac:spMk id="25" creationId="{FB204F54-A0D3-9B51-7258-F2CD3C11931C}"/>
          </ac:spMkLst>
        </pc:spChg>
        <pc:spChg chg="add mod">
          <ac:chgData name="Markus Albuscheit" userId="4f7fce57-5076-4fe0-a4ff-e69de3a8985e" providerId="ADAL" clId="{0ACAEE19-1F3C-44E9-AA98-7871674C48E4}" dt="2023-12-14T08:42:49.875" v="2564" actId="1037"/>
          <ac:spMkLst>
            <pc:docMk/>
            <pc:sldMk cId="294971200" sldId="2147477076"/>
            <ac:spMk id="26" creationId="{778D14AA-E1F6-DE46-2DEB-6735717FBBC2}"/>
          </ac:spMkLst>
        </pc:spChg>
        <pc:spChg chg="add mod">
          <ac:chgData name="Markus Albuscheit" userId="4f7fce57-5076-4fe0-a4ff-e69de3a8985e" providerId="ADAL" clId="{0ACAEE19-1F3C-44E9-AA98-7871674C48E4}" dt="2023-12-14T08:42:49.875" v="2564" actId="1037"/>
          <ac:spMkLst>
            <pc:docMk/>
            <pc:sldMk cId="294971200" sldId="2147477076"/>
            <ac:spMk id="27" creationId="{44487910-740C-A904-863E-CFB6761ACF44}"/>
          </ac:spMkLst>
        </pc:spChg>
        <pc:spChg chg="add mod">
          <ac:chgData name="Markus Albuscheit" userId="4f7fce57-5076-4fe0-a4ff-e69de3a8985e" providerId="ADAL" clId="{0ACAEE19-1F3C-44E9-AA98-7871674C48E4}" dt="2023-12-14T08:42:49.875" v="2564" actId="1037"/>
          <ac:spMkLst>
            <pc:docMk/>
            <pc:sldMk cId="294971200" sldId="2147477076"/>
            <ac:spMk id="28" creationId="{B8662B44-C427-9A8F-3E47-10055AA034AB}"/>
          </ac:spMkLst>
        </pc:spChg>
        <pc:spChg chg="add mod">
          <ac:chgData name="Markus Albuscheit" userId="4f7fce57-5076-4fe0-a4ff-e69de3a8985e" providerId="ADAL" clId="{0ACAEE19-1F3C-44E9-AA98-7871674C48E4}" dt="2023-12-14T08:42:49.875" v="2564" actId="1037"/>
          <ac:spMkLst>
            <pc:docMk/>
            <pc:sldMk cId="294971200" sldId="2147477076"/>
            <ac:spMk id="29" creationId="{CCB5EFB7-C976-FFD3-4D84-77E3E78477AB}"/>
          </ac:spMkLst>
        </pc:spChg>
        <pc:spChg chg="add mod">
          <ac:chgData name="Markus Albuscheit" userId="4f7fce57-5076-4fe0-a4ff-e69de3a8985e" providerId="ADAL" clId="{0ACAEE19-1F3C-44E9-AA98-7871674C48E4}" dt="2023-12-14T08:42:49.875" v="2564" actId="1037"/>
          <ac:spMkLst>
            <pc:docMk/>
            <pc:sldMk cId="294971200" sldId="2147477076"/>
            <ac:spMk id="30" creationId="{82D81056-F399-59D6-EF63-2175CE0F2882}"/>
          </ac:spMkLst>
        </pc:spChg>
        <pc:spChg chg="add mod">
          <ac:chgData name="Markus Albuscheit" userId="4f7fce57-5076-4fe0-a4ff-e69de3a8985e" providerId="ADAL" clId="{0ACAEE19-1F3C-44E9-AA98-7871674C48E4}" dt="2023-12-14T08:42:49.875" v="2564" actId="1037"/>
          <ac:spMkLst>
            <pc:docMk/>
            <pc:sldMk cId="294971200" sldId="2147477076"/>
            <ac:spMk id="31" creationId="{759B0E3C-E3E0-A97D-DBA1-BD97FD4AF86D}"/>
          </ac:spMkLst>
        </pc:spChg>
        <pc:spChg chg="add mod">
          <ac:chgData name="Markus Albuscheit" userId="4f7fce57-5076-4fe0-a4ff-e69de3a8985e" providerId="ADAL" clId="{0ACAEE19-1F3C-44E9-AA98-7871674C48E4}" dt="2023-12-14T08:42:49.875" v="2564" actId="1037"/>
          <ac:spMkLst>
            <pc:docMk/>
            <pc:sldMk cId="294971200" sldId="2147477076"/>
            <ac:spMk id="35" creationId="{AE13CD89-3069-FD3C-D651-B09041905B80}"/>
          </ac:spMkLst>
        </pc:spChg>
        <pc:spChg chg="add mod">
          <ac:chgData name="Markus Albuscheit" userId="4f7fce57-5076-4fe0-a4ff-e69de3a8985e" providerId="ADAL" clId="{0ACAEE19-1F3C-44E9-AA98-7871674C48E4}" dt="2023-12-14T08:42:49.875" v="2564" actId="1037"/>
          <ac:spMkLst>
            <pc:docMk/>
            <pc:sldMk cId="294971200" sldId="2147477076"/>
            <ac:spMk id="36" creationId="{BC60F28C-1F28-FE6C-130B-F26A104FAE54}"/>
          </ac:spMkLst>
        </pc:spChg>
        <pc:spChg chg="add mod">
          <ac:chgData name="Markus Albuscheit" userId="4f7fce57-5076-4fe0-a4ff-e69de3a8985e" providerId="ADAL" clId="{0ACAEE19-1F3C-44E9-AA98-7871674C48E4}" dt="2023-12-14T08:42:49.875" v="2564" actId="1037"/>
          <ac:spMkLst>
            <pc:docMk/>
            <pc:sldMk cId="294971200" sldId="2147477076"/>
            <ac:spMk id="37" creationId="{F5B92749-7FE1-3118-B53E-A5C0A7EAA190}"/>
          </ac:spMkLst>
        </pc:spChg>
        <pc:spChg chg="add mod">
          <ac:chgData name="Markus Albuscheit" userId="4f7fce57-5076-4fe0-a4ff-e69de3a8985e" providerId="ADAL" clId="{0ACAEE19-1F3C-44E9-AA98-7871674C48E4}" dt="2023-12-14T08:42:49.875" v="2564" actId="1037"/>
          <ac:spMkLst>
            <pc:docMk/>
            <pc:sldMk cId="294971200" sldId="2147477076"/>
            <ac:spMk id="38" creationId="{EF927286-534E-5183-0D25-4242106D034D}"/>
          </ac:spMkLst>
        </pc:spChg>
        <pc:spChg chg="add mod">
          <ac:chgData name="Markus Albuscheit" userId="4f7fce57-5076-4fe0-a4ff-e69de3a8985e" providerId="ADAL" clId="{0ACAEE19-1F3C-44E9-AA98-7871674C48E4}" dt="2023-12-14T08:42:49.875" v="2564" actId="1037"/>
          <ac:spMkLst>
            <pc:docMk/>
            <pc:sldMk cId="294971200" sldId="2147477076"/>
            <ac:spMk id="39" creationId="{C1F0EC60-1972-FF4B-ED11-74E967096364}"/>
          </ac:spMkLst>
        </pc:spChg>
        <pc:spChg chg="add mod">
          <ac:chgData name="Markus Albuscheit" userId="4f7fce57-5076-4fe0-a4ff-e69de3a8985e" providerId="ADAL" clId="{0ACAEE19-1F3C-44E9-AA98-7871674C48E4}" dt="2023-12-14T08:42:49.875" v="2564" actId="1037"/>
          <ac:spMkLst>
            <pc:docMk/>
            <pc:sldMk cId="294971200" sldId="2147477076"/>
            <ac:spMk id="40" creationId="{D27BF92F-3273-1628-4374-25A42A206582}"/>
          </ac:spMkLst>
        </pc:spChg>
        <pc:spChg chg="add mod">
          <ac:chgData name="Markus Albuscheit" userId="4f7fce57-5076-4fe0-a4ff-e69de3a8985e" providerId="ADAL" clId="{0ACAEE19-1F3C-44E9-AA98-7871674C48E4}" dt="2023-12-14T08:42:49.875" v="2564" actId="1037"/>
          <ac:spMkLst>
            <pc:docMk/>
            <pc:sldMk cId="294971200" sldId="2147477076"/>
            <ac:spMk id="41" creationId="{BA326B56-5BF6-EDA3-D9C9-AABF35D999C0}"/>
          </ac:spMkLst>
        </pc:spChg>
        <pc:spChg chg="add mod">
          <ac:chgData name="Markus Albuscheit" userId="4f7fce57-5076-4fe0-a4ff-e69de3a8985e" providerId="ADAL" clId="{0ACAEE19-1F3C-44E9-AA98-7871674C48E4}" dt="2023-12-14T08:42:49.875" v="2564" actId="1037"/>
          <ac:spMkLst>
            <pc:docMk/>
            <pc:sldMk cId="294971200" sldId="2147477076"/>
            <ac:spMk id="42" creationId="{CF2E5B46-FF93-E78F-F51A-DFFBB3A8FE55}"/>
          </ac:spMkLst>
        </pc:spChg>
        <pc:spChg chg="add mod">
          <ac:chgData name="Markus Albuscheit" userId="4f7fce57-5076-4fe0-a4ff-e69de3a8985e" providerId="ADAL" clId="{0ACAEE19-1F3C-44E9-AA98-7871674C48E4}" dt="2023-12-14T08:42:49.875" v="2564" actId="1037"/>
          <ac:spMkLst>
            <pc:docMk/>
            <pc:sldMk cId="294971200" sldId="2147477076"/>
            <ac:spMk id="43" creationId="{A7B80102-1ACB-350D-BC62-FAA75AFFE234}"/>
          </ac:spMkLst>
        </pc:spChg>
        <pc:spChg chg="add mod">
          <ac:chgData name="Markus Albuscheit" userId="4f7fce57-5076-4fe0-a4ff-e69de3a8985e" providerId="ADAL" clId="{0ACAEE19-1F3C-44E9-AA98-7871674C48E4}" dt="2023-12-14T08:42:49.875" v="2564" actId="1037"/>
          <ac:spMkLst>
            <pc:docMk/>
            <pc:sldMk cId="294971200" sldId="2147477076"/>
            <ac:spMk id="44" creationId="{2BC9829A-AFE1-C200-1861-0856DCE43CA3}"/>
          </ac:spMkLst>
        </pc:spChg>
        <pc:spChg chg="add mod">
          <ac:chgData name="Markus Albuscheit" userId="4f7fce57-5076-4fe0-a4ff-e69de3a8985e" providerId="ADAL" clId="{0ACAEE19-1F3C-44E9-AA98-7871674C48E4}" dt="2023-12-14T08:42:49.875" v="2564" actId="1037"/>
          <ac:spMkLst>
            <pc:docMk/>
            <pc:sldMk cId="294971200" sldId="2147477076"/>
            <ac:spMk id="48" creationId="{85010F71-3C0A-2058-406E-1055F1362F55}"/>
          </ac:spMkLst>
        </pc:spChg>
        <pc:spChg chg="add mod">
          <ac:chgData name="Markus Albuscheit" userId="4f7fce57-5076-4fe0-a4ff-e69de3a8985e" providerId="ADAL" clId="{0ACAEE19-1F3C-44E9-AA98-7871674C48E4}" dt="2023-12-14T08:42:49.875" v="2564" actId="1037"/>
          <ac:spMkLst>
            <pc:docMk/>
            <pc:sldMk cId="294971200" sldId="2147477076"/>
            <ac:spMk id="49" creationId="{C21A09F7-7B9C-E538-BA00-E9E3FC6FB7C4}"/>
          </ac:spMkLst>
        </pc:spChg>
        <pc:spChg chg="add mod">
          <ac:chgData name="Markus Albuscheit" userId="4f7fce57-5076-4fe0-a4ff-e69de3a8985e" providerId="ADAL" clId="{0ACAEE19-1F3C-44E9-AA98-7871674C48E4}" dt="2023-12-14T08:42:49.875" v="2564" actId="1037"/>
          <ac:spMkLst>
            <pc:docMk/>
            <pc:sldMk cId="294971200" sldId="2147477076"/>
            <ac:spMk id="50" creationId="{F23ADBBB-291F-4B9A-1555-03EB72C0F500}"/>
          </ac:spMkLst>
        </pc:spChg>
        <pc:spChg chg="add mod">
          <ac:chgData name="Markus Albuscheit" userId="4f7fce57-5076-4fe0-a4ff-e69de3a8985e" providerId="ADAL" clId="{0ACAEE19-1F3C-44E9-AA98-7871674C48E4}" dt="2023-12-14T08:42:49.875" v="2564" actId="1037"/>
          <ac:spMkLst>
            <pc:docMk/>
            <pc:sldMk cId="294971200" sldId="2147477076"/>
            <ac:spMk id="51" creationId="{A43C27EF-8EA0-B3C8-2D0E-0021EE0FB2D4}"/>
          </ac:spMkLst>
        </pc:spChg>
        <pc:spChg chg="add mod">
          <ac:chgData name="Markus Albuscheit" userId="4f7fce57-5076-4fe0-a4ff-e69de3a8985e" providerId="ADAL" clId="{0ACAEE19-1F3C-44E9-AA98-7871674C48E4}" dt="2023-12-14T08:42:49.875" v="2564" actId="1037"/>
          <ac:spMkLst>
            <pc:docMk/>
            <pc:sldMk cId="294971200" sldId="2147477076"/>
            <ac:spMk id="52" creationId="{4B0A5EA2-FFA9-DBCE-3703-1D6889251C58}"/>
          </ac:spMkLst>
        </pc:spChg>
        <pc:spChg chg="add mod">
          <ac:chgData name="Markus Albuscheit" userId="4f7fce57-5076-4fe0-a4ff-e69de3a8985e" providerId="ADAL" clId="{0ACAEE19-1F3C-44E9-AA98-7871674C48E4}" dt="2023-12-14T08:42:49.875" v="2564" actId="1037"/>
          <ac:spMkLst>
            <pc:docMk/>
            <pc:sldMk cId="294971200" sldId="2147477076"/>
            <ac:spMk id="53" creationId="{6A6DBCA3-4952-E44D-EDA9-0DA98A2EE0B2}"/>
          </ac:spMkLst>
        </pc:spChg>
        <pc:spChg chg="add mod">
          <ac:chgData name="Markus Albuscheit" userId="4f7fce57-5076-4fe0-a4ff-e69de3a8985e" providerId="ADAL" clId="{0ACAEE19-1F3C-44E9-AA98-7871674C48E4}" dt="2023-12-14T08:42:49.875" v="2564" actId="1037"/>
          <ac:spMkLst>
            <pc:docMk/>
            <pc:sldMk cId="294971200" sldId="2147477076"/>
            <ac:spMk id="54" creationId="{0E75276B-D875-A465-62B4-3CAD6A8088DF}"/>
          </ac:spMkLst>
        </pc:spChg>
        <pc:spChg chg="add mod">
          <ac:chgData name="Markus Albuscheit" userId="4f7fce57-5076-4fe0-a4ff-e69de3a8985e" providerId="ADAL" clId="{0ACAEE19-1F3C-44E9-AA98-7871674C48E4}" dt="2023-12-14T08:42:49.875" v="2564" actId="1037"/>
          <ac:spMkLst>
            <pc:docMk/>
            <pc:sldMk cId="294971200" sldId="2147477076"/>
            <ac:spMk id="55" creationId="{C6EFD6F2-83EC-115D-1709-C3C25455049A}"/>
          </ac:spMkLst>
        </pc:spChg>
        <pc:spChg chg="add mod">
          <ac:chgData name="Markus Albuscheit" userId="4f7fce57-5076-4fe0-a4ff-e69de3a8985e" providerId="ADAL" clId="{0ACAEE19-1F3C-44E9-AA98-7871674C48E4}" dt="2023-12-14T08:42:49.875" v="2564" actId="1037"/>
          <ac:spMkLst>
            <pc:docMk/>
            <pc:sldMk cId="294971200" sldId="2147477076"/>
            <ac:spMk id="56" creationId="{FB45EB36-9226-7DFF-F6C6-BCC976A829CE}"/>
          </ac:spMkLst>
        </pc:spChg>
        <pc:spChg chg="add mod">
          <ac:chgData name="Markus Albuscheit" userId="4f7fce57-5076-4fe0-a4ff-e69de3a8985e" providerId="ADAL" clId="{0ACAEE19-1F3C-44E9-AA98-7871674C48E4}" dt="2023-12-14T08:43:53.678" v="2580" actId="1037"/>
          <ac:spMkLst>
            <pc:docMk/>
            <pc:sldMk cId="294971200" sldId="2147477076"/>
            <ac:spMk id="57" creationId="{7E08F500-02E7-8814-6157-ADED6E091211}"/>
          </ac:spMkLst>
        </pc:spChg>
        <pc:spChg chg="add mod">
          <ac:chgData name="Markus Albuscheit" userId="4f7fce57-5076-4fe0-a4ff-e69de3a8985e" providerId="ADAL" clId="{0ACAEE19-1F3C-44E9-AA98-7871674C48E4}" dt="2023-12-14T08:44:32.946" v="2592" actId="1038"/>
          <ac:spMkLst>
            <pc:docMk/>
            <pc:sldMk cId="294971200" sldId="2147477076"/>
            <ac:spMk id="58" creationId="{872446C1-2121-ED91-0B90-7B317788FBA1}"/>
          </ac:spMkLst>
        </pc:spChg>
        <pc:spChg chg="add mod">
          <ac:chgData name="Markus Albuscheit" userId="4f7fce57-5076-4fe0-a4ff-e69de3a8985e" providerId="ADAL" clId="{0ACAEE19-1F3C-44E9-AA98-7871674C48E4}" dt="2023-12-14T08:43:53.678" v="2580" actId="1037"/>
          <ac:spMkLst>
            <pc:docMk/>
            <pc:sldMk cId="294971200" sldId="2147477076"/>
            <ac:spMk id="59" creationId="{8C7167B1-965A-6DF8-DE1A-2F65CC64E497}"/>
          </ac:spMkLst>
        </pc:spChg>
        <pc:spChg chg="add mod">
          <ac:chgData name="Markus Albuscheit" userId="4f7fce57-5076-4fe0-a4ff-e69de3a8985e" providerId="ADAL" clId="{0ACAEE19-1F3C-44E9-AA98-7871674C48E4}" dt="2023-12-14T08:44:29.150" v="2588" actId="1038"/>
          <ac:spMkLst>
            <pc:docMk/>
            <pc:sldMk cId="294971200" sldId="2147477076"/>
            <ac:spMk id="60" creationId="{D5EC88EA-1C9C-6C4C-EF68-2FEC668BC645}"/>
          </ac:spMkLst>
        </pc:spChg>
        <pc:spChg chg="add mod">
          <ac:chgData name="Markus Albuscheit" userId="4f7fce57-5076-4fe0-a4ff-e69de3a8985e" providerId="ADAL" clId="{0ACAEE19-1F3C-44E9-AA98-7871674C48E4}" dt="2023-12-14T08:44:11.349" v="2583" actId="1036"/>
          <ac:spMkLst>
            <pc:docMk/>
            <pc:sldMk cId="294971200" sldId="2147477076"/>
            <ac:spMk id="61" creationId="{388CFFE2-3469-9215-5671-E5F1AAFD1EEA}"/>
          </ac:spMkLst>
        </pc:spChg>
        <pc:spChg chg="add mod">
          <ac:chgData name="Markus Albuscheit" userId="4f7fce57-5076-4fe0-a4ff-e69de3a8985e" providerId="ADAL" clId="{0ACAEE19-1F3C-44E9-AA98-7871674C48E4}" dt="2023-12-14T08:44:35.743" v="2596" actId="1038"/>
          <ac:spMkLst>
            <pc:docMk/>
            <pc:sldMk cId="294971200" sldId="2147477076"/>
            <ac:spMk id="62" creationId="{380D3E15-596B-792B-827C-88629A4DF8DF}"/>
          </ac:spMkLst>
        </pc:spChg>
        <pc:grpChg chg="mod">
          <ac:chgData name="Markus Albuscheit" userId="4f7fce57-5076-4fe0-a4ff-e69de3a8985e" providerId="ADAL" clId="{0ACAEE19-1F3C-44E9-AA98-7871674C48E4}" dt="2023-12-14T08:34:41.262" v="2495" actId="1076"/>
          <ac:grpSpMkLst>
            <pc:docMk/>
            <pc:sldMk cId="294971200" sldId="2147477076"/>
            <ac:grpSpMk id="10" creationId="{EF20D02E-C1D6-DDE0-1EA6-795BB4751D3E}"/>
          </ac:grpSpMkLst>
        </pc:grpChg>
        <pc:picChg chg="mod">
          <ac:chgData name="Markus Albuscheit" userId="4f7fce57-5076-4fe0-a4ff-e69de3a8985e" providerId="ADAL" clId="{0ACAEE19-1F3C-44E9-AA98-7871674C48E4}" dt="2023-12-14T08:34:41.262" v="2495" actId="1076"/>
          <ac:picMkLst>
            <pc:docMk/>
            <pc:sldMk cId="294971200" sldId="2147477076"/>
            <ac:picMk id="13" creationId="{5905BC56-F8DE-36F8-3EE7-66819B9E5DDE}"/>
          </ac:picMkLst>
        </pc:picChg>
        <pc:picChg chg="ord">
          <ac:chgData name="Markus Albuscheit" userId="4f7fce57-5076-4fe0-a4ff-e69de3a8985e" providerId="ADAL" clId="{0ACAEE19-1F3C-44E9-AA98-7871674C48E4}" dt="2023-12-14T08:44:51.594" v="2602" actId="166"/>
          <ac:picMkLst>
            <pc:docMk/>
            <pc:sldMk cId="294971200" sldId="2147477076"/>
            <ac:picMk id="15" creationId="{6869852B-3A0D-DD91-9878-B540225A4373}"/>
          </ac:picMkLst>
        </pc:picChg>
        <pc:picChg chg="mod">
          <ac:chgData name="Markus Albuscheit" userId="4f7fce57-5076-4fe0-a4ff-e69de3a8985e" providerId="ADAL" clId="{0ACAEE19-1F3C-44E9-AA98-7871674C48E4}" dt="2023-12-14T08:34:41.262" v="2495" actId="1076"/>
          <ac:picMkLst>
            <pc:docMk/>
            <pc:sldMk cId="294971200" sldId="2147477076"/>
            <ac:picMk id="16" creationId="{170EFF63-ECC7-6053-66A4-1ABF3D6F4C4E}"/>
          </ac:picMkLst>
        </pc:picChg>
        <pc:picChg chg="add mod">
          <ac:chgData name="Markus Albuscheit" userId="4f7fce57-5076-4fe0-a4ff-e69de3a8985e" providerId="ADAL" clId="{0ACAEE19-1F3C-44E9-AA98-7871674C48E4}" dt="2023-12-14T08:42:49.875" v="2564" actId="1037"/>
          <ac:picMkLst>
            <pc:docMk/>
            <pc:sldMk cId="294971200" sldId="2147477076"/>
            <ac:picMk id="19" creationId="{9C915977-B792-0558-A718-558C5F073D5A}"/>
          </ac:picMkLst>
        </pc:picChg>
        <pc:picChg chg="add mod">
          <ac:chgData name="Markus Albuscheit" userId="4f7fce57-5076-4fe0-a4ff-e69de3a8985e" providerId="ADAL" clId="{0ACAEE19-1F3C-44E9-AA98-7871674C48E4}" dt="2023-12-14T08:42:49.875" v="2564" actId="1037"/>
          <ac:picMkLst>
            <pc:docMk/>
            <pc:sldMk cId="294971200" sldId="2147477076"/>
            <ac:picMk id="20" creationId="{050BD204-35CA-4857-3BF9-9E262ED8B0B2}"/>
          </ac:picMkLst>
        </pc:picChg>
        <pc:picChg chg="add mod">
          <ac:chgData name="Markus Albuscheit" userId="4f7fce57-5076-4fe0-a4ff-e69de3a8985e" providerId="ADAL" clId="{0ACAEE19-1F3C-44E9-AA98-7871674C48E4}" dt="2023-12-14T08:42:49.875" v="2564" actId="1037"/>
          <ac:picMkLst>
            <pc:docMk/>
            <pc:sldMk cId="294971200" sldId="2147477076"/>
            <ac:picMk id="21" creationId="{4ED27BB9-6CD4-3BD9-DC6A-BEC8769FA714}"/>
          </ac:picMkLst>
        </pc:picChg>
        <pc:picChg chg="add mod">
          <ac:chgData name="Markus Albuscheit" userId="4f7fce57-5076-4fe0-a4ff-e69de3a8985e" providerId="ADAL" clId="{0ACAEE19-1F3C-44E9-AA98-7871674C48E4}" dt="2023-12-14T08:42:49.875" v="2564" actId="1037"/>
          <ac:picMkLst>
            <pc:docMk/>
            <pc:sldMk cId="294971200" sldId="2147477076"/>
            <ac:picMk id="32" creationId="{C60AE1C8-E676-C8D0-7D1D-CEF6EE8F151B}"/>
          </ac:picMkLst>
        </pc:picChg>
        <pc:picChg chg="add mod">
          <ac:chgData name="Markus Albuscheit" userId="4f7fce57-5076-4fe0-a4ff-e69de3a8985e" providerId="ADAL" clId="{0ACAEE19-1F3C-44E9-AA98-7871674C48E4}" dt="2023-12-14T08:42:49.875" v="2564" actId="1037"/>
          <ac:picMkLst>
            <pc:docMk/>
            <pc:sldMk cId="294971200" sldId="2147477076"/>
            <ac:picMk id="33" creationId="{5B646D70-2DBC-1D5A-3810-602BA27218E4}"/>
          </ac:picMkLst>
        </pc:picChg>
        <pc:picChg chg="add mod">
          <ac:chgData name="Markus Albuscheit" userId="4f7fce57-5076-4fe0-a4ff-e69de3a8985e" providerId="ADAL" clId="{0ACAEE19-1F3C-44E9-AA98-7871674C48E4}" dt="2023-12-14T08:42:49.875" v="2564" actId="1037"/>
          <ac:picMkLst>
            <pc:docMk/>
            <pc:sldMk cId="294971200" sldId="2147477076"/>
            <ac:picMk id="34" creationId="{BAF8A7E2-1224-D36A-63C1-5801EA6E3DD3}"/>
          </ac:picMkLst>
        </pc:picChg>
        <pc:picChg chg="add mod">
          <ac:chgData name="Markus Albuscheit" userId="4f7fce57-5076-4fe0-a4ff-e69de3a8985e" providerId="ADAL" clId="{0ACAEE19-1F3C-44E9-AA98-7871674C48E4}" dt="2023-12-14T08:42:49.875" v="2564" actId="1037"/>
          <ac:picMkLst>
            <pc:docMk/>
            <pc:sldMk cId="294971200" sldId="2147477076"/>
            <ac:picMk id="45" creationId="{71EBD219-FC04-1549-F426-528E86CF895E}"/>
          </ac:picMkLst>
        </pc:picChg>
        <pc:picChg chg="add mod">
          <ac:chgData name="Markus Albuscheit" userId="4f7fce57-5076-4fe0-a4ff-e69de3a8985e" providerId="ADAL" clId="{0ACAEE19-1F3C-44E9-AA98-7871674C48E4}" dt="2023-12-14T08:42:49.875" v="2564" actId="1037"/>
          <ac:picMkLst>
            <pc:docMk/>
            <pc:sldMk cId="294971200" sldId="2147477076"/>
            <ac:picMk id="46" creationId="{8D47294C-E2C2-6D66-3BB2-0139DB983090}"/>
          </ac:picMkLst>
        </pc:picChg>
        <pc:picChg chg="add mod">
          <ac:chgData name="Markus Albuscheit" userId="4f7fce57-5076-4fe0-a4ff-e69de3a8985e" providerId="ADAL" clId="{0ACAEE19-1F3C-44E9-AA98-7871674C48E4}" dt="2023-12-14T08:42:49.875" v="2564" actId="1037"/>
          <ac:picMkLst>
            <pc:docMk/>
            <pc:sldMk cId="294971200" sldId="2147477076"/>
            <ac:picMk id="47" creationId="{99FC52A3-FD14-E422-6DC4-A34EFDE27EEF}"/>
          </ac:picMkLst>
        </pc:picChg>
        <pc:picChg chg="del">
          <ac:chgData name="Markus Albuscheit" userId="4f7fce57-5076-4fe0-a4ff-e69de3a8985e" providerId="ADAL" clId="{0ACAEE19-1F3C-44E9-AA98-7871674C48E4}" dt="2023-12-13T17:19:43.630" v="1688" actId="478"/>
          <ac:picMkLst>
            <pc:docMk/>
            <pc:sldMk cId="294971200" sldId="2147477076"/>
            <ac:picMk id="2050" creationId="{AAE06D64-7181-25E6-CBFB-5BE58ECD7D3B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Markus Albuscheit" userId="4f7fce57-5076-4fe0-a4ff-e69de3a8985e" providerId="ADAL" clId="{0ACAEE19-1F3C-44E9-AA98-7871674C48E4}" dt="2023-12-14T08:39:39.239" v="2523"/>
              <pc2:cmMkLst xmlns:pc2="http://schemas.microsoft.com/office/powerpoint/2019/9/main/command">
                <pc:docMk/>
                <pc:sldMk cId="294971200" sldId="2147477076"/>
                <pc2:cmMk id="{79AAC744-CD97-4279-89FC-F693C822F52E}"/>
              </pc2:cmMkLst>
            </pc226:cmChg>
          </p:ext>
        </pc:extLst>
      </pc:sldChg>
      <pc:sldChg chg="modSp del mod ord modShow modNotesTx">
        <pc:chgData name="Markus Albuscheit" userId="4f7fce57-5076-4fe0-a4ff-e69de3a8985e" providerId="ADAL" clId="{0ACAEE19-1F3C-44E9-AA98-7871674C48E4}" dt="2023-12-15T07:59:59.533" v="8040" actId="47"/>
        <pc:sldMkLst>
          <pc:docMk/>
          <pc:sldMk cId="3576104105" sldId="2147477078"/>
        </pc:sldMkLst>
        <pc:spChg chg="mod">
          <ac:chgData name="Markus Albuscheit" userId="4f7fce57-5076-4fe0-a4ff-e69de3a8985e" providerId="ADAL" clId="{0ACAEE19-1F3C-44E9-AA98-7871674C48E4}" dt="2023-12-14T11:17:36.982" v="5451" actId="20577"/>
          <ac:spMkLst>
            <pc:docMk/>
            <pc:sldMk cId="3576104105" sldId="2147477078"/>
            <ac:spMk id="6" creationId="{C11C766E-AA5E-7DD3-598C-112FC78C5BAB}"/>
          </ac:spMkLst>
        </pc:spChg>
      </pc:sldChg>
      <pc:sldChg chg="addSp delSp modSp add mod modClrScheme chgLayout modNotesTx">
        <pc:chgData name="Markus Albuscheit" userId="4f7fce57-5076-4fe0-a4ff-e69de3a8985e" providerId="ADAL" clId="{0ACAEE19-1F3C-44E9-AA98-7871674C48E4}" dt="2023-12-15T08:03:21.606" v="8053" actId="20577"/>
        <pc:sldMkLst>
          <pc:docMk/>
          <pc:sldMk cId="3255267388" sldId="2147477079"/>
        </pc:sldMkLst>
        <pc:spChg chg="mod ord">
          <ac:chgData name="Markus Albuscheit" userId="4f7fce57-5076-4fe0-a4ff-e69de3a8985e" providerId="ADAL" clId="{0ACAEE19-1F3C-44E9-AA98-7871674C48E4}" dt="2023-12-14T09:56:03.395" v="2727" actId="700"/>
          <ac:spMkLst>
            <pc:docMk/>
            <pc:sldMk cId="3255267388" sldId="2147477079"/>
            <ac:spMk id="2" creationId="{569110AE-BCA4-67F8-48DD-9233B5C72535}"/>
          </ac:spMkLst>
        </pc:spChg>
        <pc:spChg chg="mod ord">
          <ac:chgData name="Markus Albuscheit" userId="4f7fce57-5076-4fe0-a4ff-e69de3a8985e" providerId="ADAL" clId="{0ACAEE19-1F3C-44E9-AA98-7871674C48E4}" dt="2023-12-14T09:56:03.395" v="2727" actId="700"/>
          <ac:spMkLst>
            <pc:docMk/>
            <pc:sldMk cId="3255267388" sldId="2147477079"/>
            <ac:spMk id="3" creationId="{D69A653E-B05B-91A1-4387-217B46E6DAA5}"/>
          </ac:spMkLst>
        </pc:spChg>
        <pc:spChg chg="del mod">
          <ac:chgData name="Markus Albuscheit" userId="4f7fce57-5076-4fe0-a4ff-e69de3a8985e" providerId="ADAL" clId="{0ACAEE19-1F3C-44E9-AA98-7871674C48E4}" dt="2023-12-14T17:06:44.529" v="7367" actId="478"/>
          <ac:spMkLst>
            <pc:docMk/>
            <pc:sldMk cId="3255267388" sldId="2147477079"/>
            <ac:spMk id="4" creationId="{14A5A785-0D0A-6118-72C7-2CC91515CA6D}"/>
          </ac:spMkLst>
        </pc:spChg>
        <pc:spChg chg="add del mod ord">
          <ac:chgData name="Markus Albuscheit" userId="4f7fce57-5076-4fe0-a4ff-e69de3a8985e" providerId="ADAL" clId="{0ACAEE19-1F3C-44E9-AA98-7871674C48E4}" dt="2023-12-14T10:10:22.224" v="3193" actId="478"/>
          <ac:spMkLst>
            <pc:docMk/>
            <pc:sldMk cId="3255267388" sldId="2147477079"/>
            <ac:spMk id="4" creationId="{87E2EE71-7D59-E83F-38A6-1DA1F3DB90E2}"/>
          </ac:spMkLst>
        </pc:spChg>
        <pc:spChg chg="mod ord">
          <ac:chgData name="Markus Albuscheit" userId="4f7fce57-5076-4fe0-a4ff-e69de3a8985e" providerId="ADAL" clId="{0ACAEE19-1F3C-44E9-AA98-7871674C48E4}" dt="2023-12-14T09:56:03.395" v="2727" actId="700"/>
          <ac:spMkLst>
            <pc:docMk/>
            <pc:sldMk cId="3255267388" sldId="2147477079"/>
            <ac:spMk id="5" creationId="{4E544419-D65E-039F-C114-E329B6CA574D}"/>
          </ac:spMkLst>
        </pc:spChg>
        <pc:spChg chg="mod ord">
          <ac:chgData name="Markus Albuscheit" userId="4f7fce57-5076-4fe0-a4ff-e69de3a8985e" providerId="ADAL" clId="{0ACAEE19-1F3C-44E9-AA98-7871674C48E4}" dt="2023-12-14T10:31:14.070" v="3308" actId="113"/>
          <ac:spMkLst>
            <pc:docMk/>
            <pc:sldMk cId="3255267388" sldId="2147477079"/>
            <ac:spMk id="6" creationId="{7CB53F27-7AB3-C594-83F2-7F716F6860D3}"/>
          </ac:spMkLst>
        </pc:spChg>
        <pc:spChg chg="mod">
          <ac:chgData name="Markus Albuscheit" userId="4f7fce57-5076-4fe0-a4ff-e69de3a8985e" providerId="ADAL" clId="{0ACAEE19-1F3C-44E9-AA98-7871674C48E4}" dt="2023-12-14T11:08:59.733" v="4733" actId="1076"/>
          <ac:spMkLst>
            <pc:docMk/>
            <pc:sldMk cId="3255267388" sldId="2147477079"/>
            <ac:spMk id="8" creationId="{48166EEC-C780-5DC7-B673-DAB4FD659498}"/>
          </ac:spMkLst>
        </pc:spChg>
        <pc:spChg chg="del mod">
          <ac:chgData name="Markus Albuscheit" userId="4f7fce57-5076-4fe0-a4ff-e69de3a8985e" providerId="ADAL" clId="{0ACAEE19-1F3C-44E9-AA98-7871674C48E4}" dt="2023-12-14T17:06:49.225" v="7368" actId="478"/>
          <ac:spMkLst>
            <pc:docMk/>
            <pc:sldMk cId="3255267388" sldId="2147477079"/>
            <ac:spMk id="10" creationId="{D6151016-28E2-EFD8-3A27-FE0B45716FEC}"/>
          </ac:spMkLst>
        </pc:spChg>
        <pc:spChg chg="add mod">
          <ac:chgData name="Markus Albuscheit" userId="4f7fce57-5076-4fe0-a4ff-e69de3a8985e" providerId="ADAL" clId="{0ACAEE19-1F3C-44E9-AA98-7871674C48E4}" dt="2023-12-14T15:03:06.590" v="7046" actId="14100"/>
          <ac:spMkLst>
            <pc:docMk/>
            <pc:sldMk cId="3255267388" sldId="2147477079"/>
            <ac:spMk id="12" creationId="{90E40DD8-B030-C651-9715-BE7E3ABBFF3D}"/>
          </ac:spMkLst>
        </pc:spChg>
        <pc:spChg chg="mod">
          <ac:chgData name="Markus Albuscheit" userId="4f7fce57-5076-4fe0-a4ff-e69de3a8985e" providerId="ADAL" clId="{0ACAEE19-1F3C-44E9-AA98-7871674C48E4}" dt="2023-12-14T10:33:00.033" v="3343" actId="1076"/>
          <ac:spMkLst>
            <pc:docMk/>
            <pc:sldMk cId="3255267388" sldId="2147477079"/>
            <ac:spMk id="13" creationId="{1E22024B-4290-697E-7ECE-1C46696C667B}"/>
          </ac:spMkLst>
        </pc:spChg>
        <pc:spChg chg="mod">
          <ac:chgData name="Markus Albuscheit" userId="4f7fce57-5076-4fe0-a4ff-e69de3a8985e" providerId="ADAL" clId="{0ACAEE19-1F3C-44E9-AA98-7871674C48E4}" dt="2023-12-14T10:41:41.885" v="3538" actId="1076"/>
          <ac:spMkLst>
            <pc:docMk/>
            <pc:sldMk cId="3255267388" sldId="2147477079"/>
            <ac:spMk id="14" creationId="{243114D7-9AA6-0403-F042-FF03D979227E}"/>
          </ac:spMkLst>
        </pc:spChg>
        <pc:spChg chg="mod">
          <ac:chgData name="Markus Albuscheit" userId="4f7fce57-5076-4fe0-a4ff-e69de3a8985e" providerId="ADAL" clId="{0ACAEE19-1F3C-44E9-AA98-7871674C48E4}" dt="2023-12-14T10:10:56.095" v="3200" actId="164"/>
          <ac:spMkLst>
            <pc:docMk/>
            <pc:sldMk cId="3255267388" sldId="2147477079"/>
            <ac:spMk id="17" creationId="{34074313-61E8-F2E8-273C-8B7723FB0BF5}"/>
          </ac:spMkLst>
        </pc:spChg>
        <pc:spChg chg="add del mod">
          <ac:chgData name="Markus Albuscheit" userId="4f7fce57-5076-4fe0-a4ff-e69de3a8985e" providerId="ADAL" clId="{0ACAEE19-1F3C-44E9-AA98-7871674C48E4}" dt="2023-12-14T10:47:07.497" v="3711" actId="478"/>
          <ac:spMkLst>
            <pc:docMk/>
            <pc:sldMk cId="3255267388" sldId="2147477079"/>
            <ac:spMk id="18" creationId="{6D8D026A-5212-54A5-0CD9-48FD35045454}"/>
          </ac:spMkLst>
        </pc:spChg>
        <pc:grpChg chg="add mod">
          <ac:chgData name="Markus Albuscheit" userId="4f7fce57-5076-4fe0-a4ff-e69de3a8985e" providerId="ADAL" clId="{0ACAEE19-1F3C-44E9-AA98-7871674C48E4}" dt="2023-12-14T10:41:41.885" v="3538" actId="1076"/>
          <ac:grpSpMkLst>
            <pc:docMk/>
            <pc:sldMk cId="3255267388" sldId="2147477079"/>
            <ac:grpSpMk id="7" creationId="{485CC16A-4E94-32AF-7522-35B52EA4499A}"/>
          </ac:grpSpMkLst>
        </pc:grpChg>
        <pc:graphicFrameChg chg="add del modGraphic">
          <ac:chgData name="Markus Albuscheit" userId="4f7fce57-5076-4fe0-a4ff-e69de3a8985e" providerId="ADAL" clId="{0ACAEE19-1F3C-44E9-AA98-7871674C48E4}" dt="2023-12-14T10:33:46" v="3351" actId="478"/>
          <ac:graphicFrameMkLst>
            <pc:docMk/>
            <pc:sldMk cId="3255267388" sldId="2147477079"/>
            <ac:graphicFrameMk id="10" creationId="{46810667-6A48-E8E0-D7AD-2B35DB3D9B29}"/>
          </ac:graphicFrameMkLst>
        </pc:graphicFrameChg>
        <pc:picChg chg="mod">
          <ac:chgData name="Markus Albuscheit" userId="4f7fce57-5076-4fe0-a4ff-e69de3a8985e" providerId="ADAL" clId="{0ACAEE19-1F3C-44E9-AA98-7871674C48E4}" dt="2023-12-14T10:10:56.095" v="3200" actId="164"/>
          <ac:picMkLst>
            <pc:docMk/>
            <pc:sldMk cId="3255267388" sldId="2147477079"/>
            <ac:picMk id="15" creationId="{6869852B-3A0D-DD91-9878-B540225A4373}"/>
          </ac:picMkLst>
        </pc:picChg>
        <pc:picChg chg="mod">
          <ac:chgData name="Markus Albuscheit" userId="4f7fce57-5076-4fe0-a4ff-e69de3a8985e" providerId="ADAL" clId="{0ACAEE19-1F3C-44E9-AA98-7871674C48E4}" dt="2023-12-14T11:08:53.999" v="4732" actId="1076"/>
          <ac:picMkLst>
            <pc:docMk/>
            <pc:sldMk cId="3255267388" sldId="2147477079"/>
            <ac:picMk id="1026" creationId="{62D20323-E4D5-F1A7-8E08-A615A387E4C8}"/>
          </ac:picMkLst>
        </pc:picChg>
      </pc:sldChg>
      <pc:sldChg chg="addSp delSp modSp new del mod ord modClrScheme modAnim modShow chgLayout modNotesTx">
        <pc:chgData name="Markus Albuscheit" userId="4f7fce57-5076-4fe0-a4ff-e69de3a8985e" providerId="ADAL" clId="{0ACAEE19-1F3C-44E9-AA98-7871674C48E4}" dt="2023-12-15T07:59:56.703" v="8036" actId="47"/>
        <pc:sldMkLst>
          <pc:docMk/>
          <pc:sldMk cId="1575874195" sldId="2147477080"/>
        </pc:sldMkLst>
        <pc:spChg chg="del">
          <ac:chgData name="Markus Albuscheit" userId="4f7fce57-5076-4fe0-a4ff-e69de3a8985e" providerId="ADAL" clId="{0ACAEE19-1F3C-44E9-AA98-7871674C48E4}" dt="2023-12-14T10:09:13.200" v="3064" actId="700"/>
          <ac:spMkLst>
            <pc:docMk/>
            <pc:sldMk cId="1575874195" sldId="2147477080"/>
            <ac:spMk id="2" creationId="{5E36DF90-C219-FBDD-0DF3-7FFF12CF72A8}"/>
          </ac:spMkLst>
        </pc:spChg>
        <pc:spChg chg="mod ord">
          <ac:chgData name="Markus Albuscheit" userId="4f7fce57-5076-4fe0-a4ff-e69de3a8985e" providerId="ADAL" clId="{0ACAEE19-1F3C-44E9-AA98-7871674C48E4}" dt="2023-12-14T10:09:13.200" v="3064" actId="700"/>
          <ac:spMkLst>
            <pc:docMk/>
            <pc:sldMk cId="1575874195" sldId="2147477080"/>
            <ac:spMk id="3" creationId="{D9E3D27A-BED6-384D-A287-148DCEA7EF53}"/>
          </ac:spMkLst>
        </pc:spChg>
        <pc:spChg chg="mod ord">
          <ac:chgData name="Markus Albuscheit" userId="4f7fce57-5076-4fe0-a4ff-e69de3a8985e" providerId="ADAL" clId="{0ACAEE19-1F3C-44E9-AA98-7871674C48E4}" dt="2023-12-14T10:09:13.200" v="3064" actId="700"/>
          <ac:spMkLst>
            <pc:docMk/>
            <pc:sldMk cId="1575874195" sldId="2147477080"/>
            <ac:spMk id="4" creationId="{AABDD44A-BFF1-A393-07DC-56E93FE30551}"/>
          </ac:spMkLst>
        </pc:spChg>
        <pc:spChg chg="del mod ord">
          <ac:chgData name="Markus Albuscheit" userId="4f7fce57-5076-4fe0-a4ff-e69de3a8985e" providerId="ADAL" clId="{0ACAEE19-1F3C-44E9-AA98-7871674C48E4}" dt="2023-12-14T10:09:13.200" v="3064" actId="700"/>
          <ac:spMkLst>
            <pc:docMk/>
            <pc:sldMk cId="1575874195" sldId="2147477080"/>
            <ac:spMk id="5" creationId="{1309EC46-A658-FAF8-54CD-382E181F22DB}"/>
          </ac:spMkLst>
        </pc:spChg>
        <pc:spChg chg="del mod ord">
          <ac:chgData name="Markus Albuscheit" userId="4f7fce57-5076-4fe0-a4ff-e69de3a8985e" providerId="ADAL" clId="{0ACAEE19-1F3C-44E9-AA98-7871674C48E4}" dt="2023-12-14T10:09:13.200" v="3064" actId="700"/>
          <ac:spMkLst>
            <pc:docMk/>
            <pc:sldMk cId="1575874195" sldId="2147477080"/>
            <ac:spMk id="6" creationId="{45DBBCBD-BDDE-7DBF-7A8F-632AF4F1A143}"/>
          </ac:spMkLst>
        </pc:spChg>
        <pc:spChg chg="add mod ord">
          <ac:chgData name="Markus Albuscheit" userId="4f7fce57-5076-4fe0-a4ff-e69de3a8985e" providerId="ADAL" clId="{0ACAEE19-1F3C-44E9-AA98-7871674C48E4}" dt="2023-12-14T13:19:35.355" v="6517" actId="14100"/>
          <ac:spMkLst>
            <pc:docMk/>
            <pc:sldMk cId="1575874195" sldId="2147477080"/>
            <ac:spMk id="7" creationId="{07CB920C-F85E-91BC-7B28-9A1C8C735EAF}"/>
          </ac:spMkLst>
        </pc:spChg>
        <pc:spChg chg="add mod ord">
          <ac:chgData name="Markus Albuscheit" userId="4f7fce57-5076-4fe0-a4ff-e69de3a8985e" providerId="ADAL" clId="{0ACAEE19-1F3C-44E9-AA98-7871674C48E4}" dt="2023-12-14T13:19:38.771" v="6518" actId="14100"/>
          <ac:spMkLst>
            <pc:docMk/>
            <pc:sldMk cId="1575874195" sldId="2147477080"/>
            <ac:spMk id="8" creationId="{3D4CF598-99EF-D706-68EB-E0231BC82BFE}"/>
          </ac:spMkLst>
        </pc:spChg>
        <pc:spChg chg="add mod ord">
          <ac:chgData name="Markus Albuscheit" userId="4f7fce57-5076-4fe0-a4ff-e69de3a8985e" providerId="ADAL" clId="{0ACAEE19-1F3C-44E9-AA98-7871674C48E4}" dt="2023-12-14T13:15:03.316" v="6305" actId="20577"/>
          <ac:spMkLst>
            <pc:docMk/>
            <pc:sldMk cId="1575874195" sldId="2147477080"/>
            <ac:spMk id="9" creationId="{B591BF5C-04A1-61A6-21DB-7C9DA7D9FB59}"/>
          </ac:spMkLst>
        </pc:spChg>
        <pc:spChg chg="add del mod">
          <ac:chgData name="Markus Albuscheit" userId="4f7fce57-5076-4fe0-a4ff-e69de3a8985e" providerId="ADAL" clId="{0ACAEE19-1F3C-44E9-AA98-7871674C48E4}" dt="2023-12-14T11:08:16.295" v="4725"/>
          <ac:spMkLst>
            <pc:docMk/>
            <pc:sldMk cId="1575874195" sldId="2147477080"/>
            <ac:spMk id="13" creationId="{ACC162CF-94AB-93A7-05CC-96D2284E2232}"/>
          </ac:spMkLst>
        </pc:spChg>
        <pc:spChg chg="add del mod">
          <ac:chgData name="Markus Albuscheit" userId="4f7fce57-5076-4fe0-a4ff-e69de3a8985e" providerId="ADAL" clId="{0ACAEE19-1F3C-44E9-AA98-7871674C48E4}" dt="2023-12-14T13:10:29.620" v="6236"/>
          <ac:spMkLst>
            <pc:docMk/>
            <pc:sldMk cId="1575874195" sldId="2147477080"/>
            <ac:spMk id="15" creationId="{4356326B-BAA9-DF27-09C2-0173A2D12CE3}"/>
          </ac:spMkLst>
        </pc:spChg>
        <pc:spChg chg="add mod ord">
          <ac:chgData name="Markus Albuscheit" userId="4f7fce57-5076-4fe0-a4ff-e69de3a8985e" providerId="ADAL" clId="{0ACAEE19-1F3C-44E9-AA98-7871674C48E4}" dt="2023-12-14T13:25:25.262" v="6534" actId="166"/>
          <ac:spMkLst>
            <pc:docMk/>
            <pc:sldMk cId="1575874195" sldId="2147477080"/>
            <ac:spMk id="16" creationId="{9EE74C3C-F193-FC92-8018-1A33B7A6AFB1}"/>
          </ac:spMkLst>
        </pc:spChg>
        <pc:spChg chg="add mod">
          <ac:chgData name="Markus Albuscheit" userId="4f7fce57-5076-4fe0-a4ff-e69de3a8985e" providerId="ADAL" clId="{0ACAEE19-1F3C-44E9-AA98-7871674C48E4}" dt="2023-12-14T13:19:28.470" v="6516" actId="1036"/>
          <ac:spMkLst>
            <pc:docMk/>
            <pc:sldMk cId="1575874195" sldId="2147477080"/>
            <ac:spMk id="18" creationId="{94B0D251-0747-6F19-BA0F-5B278AB999CB}"/>
          </ac:spMkLst>
        </pc:spChg>
        <pc:spChg chg="add del mod">
          <ac:chgData name="Markus Albuscheit" userId="4f7fce57-5076-4fe0-a4ff-e69de3a8985e" providerId="ADAL" clId="{0ACAEE19-1F3C-44E9-AA98-7871674C48E4}" dt="2023-12-14T13:17:01.049" v="6315" actId="478"/>
          <ac:spMkLst>
            <pc:docMk/>
            <pc:sldMk cId="1575874195" sldId="2147477080"/>
            <ac:spMk id="20" creationId="{1C969478-2DAE-ACC3-75CB-628352E389A2}"/>
          </ac:spMkLst>
        </pc:spChg>
        <pc:spChg chg="add mod">
          <ac:chgData name="Markus Albuscheit" userId="4f7fce57-5076-4fe0-a4ff-e69de3a8985e" providerId="ADAL" clId="{0ACAEE19-1F3C-44E9-AA98-7871674C48E4}" dt="2023-12-14T13:25:20.925" v="6533" actId="20577"/>
          <ac:spMkLst>
            <pc:docMk/>
            <pc:sldMk cId="1575874195" sldId="2147477080"/>
            <ac:spMk id="21" creationId="{79727230-FE84-7970-CD54-2D1C8F4C4C6D}"/>
          </ac:spMkLst>
        </pc:spChg>
        <pc:picChg chg="add mod">
          <ac:chgData name="Markus Albuscheit" userId="4f7fce57-5076-4fe0-a4ff-e69de3a8985e" providerId="ADAL" clId="{0ACAEE19-1F3C-44E9-AA98-7871674C48E4}" dt="2023-12-14T13:19:28.470" v="6516" actId="1036"/>
          <ac:picMkLst>
            <pc:docMk/>
            <pc:sldMk cId="1575874195" sldId="2147477080"/>
            <ac:picMk id="10" creationId="{B9371548-3EE2-282B-DD7E-A71050B9D175}"/>
          </ac:picMkLst>
        </pc:picChg>
        <pc:picChg chg="add mod">
          <ac:chgData name="Markus Albuscheit" userId="4f7fce57-5076-4fe0-a4ff-e69de3a8985e" providerId="ADAL" clId="{0ACAEE19-1F3C-44E9-AA98-7871674C48E4}" dt="2023-12-14T13:19:28.470" v="6516" actId="1036"/>
          <ac:picMkLst>
            <pc:docMk/>
            <pc:sldMk cId="1575874195" sldId="2147477080"/>
            <ac:picMk id="11" creationId="{7FBE7147-289B-BFC3-555C-C9EF13480796}"/>
          </ac:picMkLst>
        </pc:picChg>
        <pc:picChg chg="add mod">
          <ac:chgData name="Markus Albuscheit" userId="4f7fce57-5076-4fe0-a4ff-e69de3a8985e" providerId="ADAL" clId="{0ACAEE19-1F3C-44E9-AA98-7871674C48E4}" dt="2023-12-14T13:09:47.159" v="6221" actId="1076"/>
          <ac:picMkLst>
            <pc:docMk/>
            <pc:sldMk cId="1575874195" sldId="2147477080"/>
            <ac:picMk id="1026" creationId="{E8E8B592-FDC3-8A16-ECBF-0A11DC7181EF}"/>
          </ac:picMkLst>
        </pc:picChg>
        <pc:picChg chg="add del mod">
          <ac:chgData name="Markus Albuscheit" userId="4f7fce57-5076-4fe0-a4ff-e69de3a8985e" providerId="ADAL" clId="{0ACAEE19-1F3C-44E9-AA98-7871674C48E4}" dt="2023-12-14T13:24:49.373" v="6527" actId="478"/>
          <ac:picMkLst>
            <pc:docMk/>
            <pc:sldMk cId="1575874195" sldId="2147477080"/>
            <ac:picMk id="1028" creationId="{9F43E6D7-7A40-0B5D-E85D-AA1CBD436FCB}"/>
          </ac:picMkLst>
        </pc:picChg>
        <pc:picChg chg="add mod">
          <ac:chgData name="Markus Albuscheit" userId="4f7fce57-5076-4fe0-a4ff-e69de3a8985e" providerId="ADAL" clId="{0ACAEE19-1F3C-44E9-AA98-7871674C48E4}" dt="2023-12-14T13:24:56.878" v="6529" actId="1076"/>
          <ac:picMkLst>
            <pc:docMk/>
            <pc:sldMk cId="1575874195" sldId="2147477080"/>
            <ac:picMk id="1030" creationId="{AD79E585-EF9D-9FB0-6B71-3E98FBB4ADA6}"/>
          </ac:picMkLst>
        </pc:picChg>
      </pc:sldChg>
      <pc:sldChg chg="addSp delSp modSp add mod modClrScheme chgLayout">
        <pc:chgData name="Markus Albuscheit" userId="4f7fce57-5076-4fe0-a4ff-e69de3a8985e" providerId="ADAL" clId="{0ACAEE19-1F3C-44E9-AA98-7871674C48E4}" dt="2023-12-15T07:38:55.159" v="7979" actId="58"/>
        <pc:sldMkLst>
          <pc:docMk/>
          <pc:sldMk cId="1493155626" sldId="2147477081"/>
        </pc:sldMkLst>
        <pc:spChg chg="mod ord">
          <ac:chgData name="Markus Albuscheit" userId="4f7fce57-5076-4fe0-a4ff-e69de3a8985e" providerId="ADAL" clId="{0ACAEE19-1F3C-44E9-AA98-7871674C48E4}" dt="2023-12-14T10:40:27.414" v="3454" actId="700"/>
          <ac:spMkLst>
            <pc:docMk/>
            <pc:sldMk cId="1493155626" sldId="2147477081"/>
            <ac:spMk id="2" creationId="{569110AE-BCA4-67F8-48DD-9233B5C72535}"/>
          </ac:spMkLst>
        </pc:spChg>
        <pc:spChg chg="mod ord">
          <ac:chgData name="Markus Albuscheit" userId="4f7fce57-5076-4fe0-a4ff-e69de3a8985e" providerId="ADAL" clId="{0ACAEE19-1F3C-44E9-AA98-7871674C48E4}" dt="2023-12-14T10:40:27.414" v="3454" actId="700"/>
          <ac:spMkLst>
            <pc:docMk/>
            <pc:sldMk cId="1493155626" sldId="2147477081"/>
            <ac:spMk id="3" creationId="{D69A653E-B05B-91A1-4387-217B46E6DAA5}"/>
          </ac:spMkLst>
        </pc:spChg>
        <pc:spChg chg="add del mod ord">
          <ac:chgData name="Markus Albuscheit" userId="4f7fce57-5076-4fe0-a4ff-e69de3a8985e" providerId="ADAL" clId="{0ACAEE19-1F3C-44E9-AA98-7871674C48E4}" dt="2023-12-14T10:41:24.395" v="3537" actId="478"/>
          <ac:spMkLst>
            <pc:docMk/>
            <pc:sldMk cId="1493155626" sldId="2147477081"/>
            <ac:spMk id="4" creationId="{B0CFD63E-6597-8F85-39A4-283E6D55027A}"/>
          </ac:spMkLst>
        </pc:spChg>
        <pc:spChg chg="del mod">
          <ac:chgData name="Markus Albuscheit" userId="4f7fce57-5076-4fe0-a4ff-e69de3a8985e" providerId="ADAL" clId="{0ACAEE19-1F3C-44E9-AA98-7871674C48E4}" dt="2023-12-14T17:09:18.285" v="7394" actId="478"/>
          <ac:spMkLst>
            <pc:docMk/>
            <pc:sldMk cId="1493155626" sldId="2147477081"/>
            <ac:spMk id="4" creationId="{F46E30C4-E15A-4488-43A8-E2F3948DE0AD}"/>
          </ac:spMkLst>
        </pc:spChg>
        <pc:spChg chg="mod ord">
          <ac:chgData name="Markus Albuscheit" userId="4f7fce57-5076-4fe0-a4ff-e69de3a8985e" providerId="ADAL" clId="{0ACAEE19-1F3C-44E9-AA98-7871674C48E4}" dt="2023-12-14T10:40:27.414" v="3454" actId="700"/>
          <ac:spMkLst>
            <pc:docMk/>
            <pc:sldMk cId="1493155626" sldId="2147477081"/>
            <ac:spMk id="5" creationId="{4E544419-D65E-039F-C114-E329B6CA574D}"/>
          </ac:spMkLst>
        </pc:spChg>
        <pc:spChg chg="mod ord">
          <ac:chgData name="Markus Albuscheit" userId="4f7fce57-5076-4fe0-a4ff-e69de3a8985e" providerId="ADAL" clId="{0ACAEE19-1F3C-44E9-AA98-7871674C48E4}" dt="2023-12-14T10:49:18.053" v="3744" actId="1076"/>
          <ac:spMkLst>
            <pc:docMk/>
            <pc:sldMk cId="1493155626" sldId="2147477081"/>
            <ac:spMk id="6" creationId="{7CB53F27-7AB3-C594-83F2-7F716F6860D3}"/>
          </ac:spMkLst>
        </pc:spChg>
        <pc:spChg chg="add mod">
          <ac:chgData name="Markus Albuscheit" userId="4f7fce57-5076-4fe0-a4ff-e69de3a8985e" providerId="ADAL" clId="{0ACAEE19-1F3C-44E9-AA98-7871674C48E4}" dt="2023-12-15T07:38:55.159" v="7979" actId="58"/>
          <ac:spMkLst>
            <pc:docMk/>
            <pc:sldMk cId="1493155626" sldId="2147477081"/>
            <ac:spMk id="7" creationId="{8AF9803C-9415-C1A9-1584-36C2328B7D56}"/>
          </ac:spMkLst>
        </pc:spChg>
        <pc:spChg chg="mod">
          <ac:chgData name="Markus Albuscheit" userId="4f7fce57-5076-4fe0-a4ff-e69de3a8985e" providerId="ADAL" clId="{0ACAEE19-1F3C-44E9-AA98-7871674C48E4}" dt="2023-12-14T10:44:48.280" v="3654" actId="1037"/>
          <ac:spMkLst>
            <pc:docMk/>
            <pc:sldMk cId="1493155626" sldId="2147477081"/>
            <ac:spMk id="8" creationId="{9B8DD9DA-23B3-E740-31F3-F8B70C4E120A}"/>
          </ac:spMkLst>
        </pc:spChg>
        <pc:spChg chg="mod">
          <ac:chgData name="Markus Albuscheit" userId="4f7fce57-5076-4fe0-a4ff-e69de3a8985e" providerId="ADAL" clId="{0ACAEE19-1F3C-44E9-AA98-7871674C48E4}" dt="2023-12-14T10:44:48.280" v="3654" actId="1037"/>
          <ac:spMkLst>
            <pc:docMk/>
            <pc:sldMk cId="1493155626" sldId="2147477081"/>
            <ac:spMk id="9" creationId="{2B23CB48-F680-35DD-C744-CD9A3A2CFDAC}"/>
          </ac:spMkLst>
        </pc:spChg>
        <pc:spChg chg="mod">
          <ac:chgData name="Markus Albuscheit" userId="4f7fce57-5076-4fe0-a4ff-e69de3a8985e" providerId="ADAL" clId="{0ACAEE19-1F3C-44E9-AA98-7871674C48E4}" dt="2023-12-14T10:44:48.280" v="3654" actId="1037"/>
          <ac:spMkLst>
            <pc:docMk/>
            <pc:sldMk cId="1493155626" sldId="2147477081"/>
            <ac:spMk id="10" creationId="{878DFF2F-CF4B-7214-CAB0-9C465AD2DA28}"/>
          </ac:spMkLst>
        </pc:spChg>
        <pc:spChg chg="mod">
          <ac:chgData name="Markus Albuscheit" userId="4f7fce57-5076-4fe0-a4ff-e69de3a8985e" providerId="ADAL" clId="{0ACAEE19-1F3C-44E9-AA98-7871674C48E4}" dt="2023-12-14T10:44:48.280" v="3654" actId="1037"/>
          <ac:spMkLst>
            <pc:docMk/>
            <pc:sldMk cId="1493155626" sldId="2147477081"/>
            <ac:spMk id="11" creationId="{873737AF-F305-940D-E24C-22D679F76CE8}"/>
          </ac:spMkLst>
        </pc:spChg>
        <pc:spChg chg="mod">
          <ac:chgData name="Markus Albuscheit" userId="4f7fce57-5076-4fe0-a4ff-e69de3a8985e" providerId="ADAL" clId="{0ACAEE19-1F3C-44E9-AA98-7871674C48E4}" dt="2023-12-14T10:44:48.280" v="3654" actId="1037"/>
          <ac:spMkLst>
            <pc:docMk/>
            <pc:sldMk cId="1493155626" sldId="2147477081"/>
            <ac:spMk id="12" creationId="{30B1C6DC-8534-D735-42A6-CCC0C2D05942}"/>
          </ac:spMkLst>
        </pc:spChg>
        <pc:spChg chg="del mod">
          <ac:chgData name="Markus Albuscheit" userId="4f7fce57-5076-4fe0-a4ff-e69de3a8985e" providerId="ADAL" clId="{0ACAEE19-1F3C-44E9-AA98-7871674C48E4}" dt="2023-12-14T10:44:32.024" v="3600" actId="478"/>
          <ac:spMkLst>
            <pc:docMk/>
            <pc:sldMk cId="1493155626" sldId="2147477081"/>
            <ac:spMk id="14" creationId="{243114D7-9AA6-0403-F042-FF03D979227E}"/>
          </ac:spMkLst>
        </pc:spChg>
        <pc:spChg chg="mod">
          <ac:chgData name="Markus Albuscheit" userId="4f7fce57-5076-4fe0-a4ff-e69de3a8985e" providerId="ADAL" clId="{0ACAEE19-1F3C-44E9-AA98-7871674C48E4}" dt="2023-12-14T10:44:48.280" v="3654" actId="1037"/>
          <ac:spMkLst>
            <pc:docMk/>
            <pc:sldMk cId="1493155626" sldId="2147477081"/>
            <ac:spMk id="16" creationId="{31460AE9-E521-1498-5DED-5C27446DEE17}"/>
          </ac:spMkLst>
        </pc:spChg>
        <pc:spChg chg="mod">
          <ac:chgData name="Markus Albuscheit" userId="4f7fce57-5076-4fe0-a4ff-e69de3a8985e" providerId="ADAL" clId="{0ACAEE19-1F3C-44E9-AA98-7871674C48E4}" dt="2023-12-14T10:44:48.280" v="3654" actId="1037"/>
          <ac:spMkLst>
            <pc:docMk/>
            <pc:sldMk cId="1493155626" sldId="2147477081"/>
            <ac:spMk id="18" creationId="{047B2104-F249-A5D7-E5F2-00F2194C51BA}"/>
          </ac:spMkLst>
        </pc:spChg>
        <pc:spChg chg="mod">
          <ac:chgData name="Markus Albuscheit" userId="4f7fce57-5076-4fe0-a4ff-e69de3a8985e" providerId="ADAL" clId="{0ACAEE19-1F3C-44E9-AA98-7871674C48E4}" dt="2023-12-14T10:44:48.280" v="3654" actId="1037"/>
          <ac:spMkLst>
            <pc:docMk/>
            <pc:sldMk cId="1493155626" sldId="2147477081"/>
            <ac:spMk id="19" creationId="{DFCE61D5-CE06-BB19-9F00-1EF8454FC3F0}"/>
          </ac:spMkLst>
        </pc:spChg>
        <pc:spChg chg="mod">
          <ac:chgData name="Markus Albuscheit" userId="4f7fce57-5076-4fe0-a4ff-e69de3a8985e" providerId="ADAL" clId="{0ACAEE19-1F3C-44E9-AA98-7871674C48E4}" dt="2023-12-14T10:44:48.280" v="3654" actId="1037"/>
          <ac:spMkLst>
            <pc:docMk/>
            <pc:sldMk cId="1493155626" sldId="2147477081"/>
            <ac:spMk id="20" creationId="{E052A6C5-BFF0-7D94-AA8D-D6524DCAC4C8}"/>
          </ac:spMkLst>
        </pc:spChg>
        <pc:spChg chg="mod">
          <ac:chgData name="Markus Albuscheit" userId="4f7fce57-5076-4fe0-a4ff-e69de3a8985e" providerId="ADAL" clId="{0ACAEE19-1F3C-44E9-AA98-7871674C48E4}" dt="2023-12-14T10:44:48.280" v="3654" actId="1037"/>
          <ac:spMkLst>
            <pc:docMk/>
            <pc:sldMk cId="1493155626" sldId="2147477081"/>
            <ac:spMk id="21" creationId="{254157A5-C42F-B927-6944-F9540F7846AC}"/>
          </ac:spMkLst>
        </pc:spChg>
        <pc:spChg chg="mod">
          <ac:chgData name="Markus Albuscheit" userId="4f7fce57-5076-4fe0-a4ff-e69de3a8985e" providerId="ADAL" clId="{0ACAEE19-1F3C-44E9-AA98-7871674C48E4}" dt="2023-12-14T10:44:48.280" v="3654" actId="1037"/>
          <ac:spMkLst>
            <pc:docMk/>
            <pc:sldMk cId="1493155626" sldId="2147477081"/>
            <ac:spMk id="22" creationId="{AA304E91-17A2-B997-3BFA-F149906E9245}"/>
          </ac:spMkLst>
        </pc:spChg>
        <pc:spChg chg="mod">
          <ac:chgData name="Markus Albuscheit" userId="4f7fce57-5076-4fe0-a4ff-e69de3a8985e" providerId="ADAL" clId="{0ACAEE19-1F3C-44E9-AA98-7871674C48E4}" dt="2023-12-14T10:44:48.280" v="3654" actId="1037"/>
          <ac:spMkLst>
            <pc:docMk/>
            <pc:sldMk cId="1493155626" sldId="2147477081"/>
            <ac:spMk id="23" creationId="{7BB7157B-2C3D-1E7E-6E50-067D1848CF5D}"/>
          </ac:spMkLst>
        </pc:spChg>
        <pc:spChg chg="mod">
          <ac:chgData name="Markus Albuscheit" userId="4f7fce57-5076-4fe0-a4ff-e69de3a8985e" providerId="ADAL" clId="{0ACAEE19-1F3C-44E9-AA98-7871674C48E4}" dt="2023-12-14T10:44:48.280" v="3654" actId="1037"/>
          <ac:spMkLst>
            <pc:docMk/>
            <pc:sldMk cId="1493155626" sldId="2147477081"/>
            <ac:spMk id="24" creationId="{ACC67023-5AAE-8B72-DAB8-DE2CA8F18800}"/>
          </ac:spMkLst>
        </pc:spChg>
        <pc:spChg chg="mod">
          <ac:chgData name="Markus Albuscheit" userId="4f7fce57-5076-4fe0-a4ff-e69de3a8985e" providerId="ADAL" clId="{0ACAEE19-1F3C-44E9-AA98-7871674C48E4}" dt="2023-12-14T10:44:48.280" v="3654" actId="1037"/>
          <ac:spMkLst>
            <pc:docMk/>
            <pc:sldMk cId="1493155626" sldId="2147477081"/>
            <ac:spMk id="25" creationId="{3C9B8FDE-5DAA-3A3D-1A9E-A716982DDC9C}"/>
          </ac:spMkLst>
        </pc:spChg>
        <pc:spChg chg="mod">
          <ac:chgData name="Markus Albuscheit" userId="4f7fce57-5076-4fe0-a4ff-e69de3a8985e" providerId="ADAL" clId="{0ACAEE19-1F3C-44E9-AA98-7871674C48E4}" dt="2023-12-14T15:26:53.005" v="7076" actId="20577"/>
          <ac:spMkLst>
            <pc:docMk/>
            <pc:sldMk cId="1493155626" sldId="2147477081"/>
            <ac:spMk id="26" creationId="{13656FC1-7AB3-3F2D-4C13-8679C4BE4BF4}"/>
          </ac:spMkLst>
        </pc:spChg>
        <pc:spChg chg="mod">
          <ac:chgData name="Markus Albuscheit" userId="4f7fce57-5076-4fe0-a4ff-e69de3a8985e" providerId="ADAL" clId="{0ACAEE19-1F3C-44E9-AA98-7871674C48E4}" dt="2023-12-14T10:44:48.280" v="3654" actId="1037"/>
          <ac:spMkLst>
            <pc:docMk/>
            <pc:sldMk cId="1493155626" sldId="2147477081"/>
            <ac:spMk id="27" creationId="{29A12C74-7127-E357-09C3-6A19E43DE730}"/>
          </ac:spMkLst>
        </pc:spChg>
        <pc:spChg chg="mod">
          <ac:chgData name="Markus Albuscheit" userId="4f7fce57-5076-4fe0-a4ff-e69de3a8985e" providerId="ADAL" clId="{0ACAEE19-1F3C-44E9-AA98-7871674C48E4}" dt="2023-12-14T17:11:55.143" v="7419" actId="14100"/>
          <ac:spMkLst>
            <pc:docMk/>
            <pc:sldMk cId="1493155626" sldId="2147477081"/>
            <ac:spMk id="28" creationId="{E61A988C-7061-C31E-B2AF-AD395CFD4D24}"/>
          </ac:spMkLst>
        </pc:spChg>
        <pc:spChg chg="mod">
          <ac:chgData name="Markus Albuscheit" userId="4f7fce57-5076-4fe0-a4ff-e69de3a8985e" providerId="ADAL" clId="{0ACAEE19-1F3C-44E9-AA98-7871674C48E4}" dt="2023-12-14T10:44:48.280" v="3654" actId="1037"/>
          <ac:spMkLst>
            <pc:docMk/>
            <pc:sldMk cId="1493155626" sldId="2147477081"/>
            <ac:spMk id="29" creationId="{984E5373-FFC1-9280-1BB0-12D28E0F4B0D}"/>
          </ac:spMkLst>
        </pc:spChg>
        <pc:spChg chg="mod">
          <ac:chgData name="Markus Albuscheit" userId="4f7fce57-5076-4fe0-a4ff-e69de3a8985e" providerId="ADAL" clId="{0ACAEE19-1F3C-44E9-AA98-7871674C48E4}" dt="2023-12-14T10:50:08.771" v="3805" actId="1035"/>
          <ac:spMkLst>
            <pc:docMk/>
            <pc:sldMk cId="1493155626" sldId="2147477081"/>
            <ac:spMk id="30" creationId="{D1EDFE42-48BD-8AC7-4F47-FB989EBAD491}"/>
          </ac:spMkLst>
        </pc:spChg>
        <pc:spChg chg="mod">
          <ac:chgData name="Markus Albuscheit" userId="4f7fce57-5076-4fe0-a4ff-e69de3a8985e" providerId="ADAL" clId="{0ACAEE19-1F3C-44E9-AA98-7871674C48E4}" dt="2023-12-14T10:44:48.280" v="3654" actId="1037"/>
          <ac:spMkLst>
            <pc:docMk/>
            <pc:sldMk cId="1493155626" sldId="2147477081"/>
            <ac:spMk id="31" creationId="{C63E1642-26F1-7E3E-384A-7D2E4219AA0F}"/>
          </ac:spMkLst>
        </pc:spChg>
        <pc:spChg chg="mod">
          <ac:chgData name="Markus Albuscheit" userId="4f7fce57-5076-4fe0-a4ff-e69de3a8985e" providerId="ADAL" clId="{0ACAEE19-1F3C-44E9-AA98-7871674C48E4}" dt="2023-12-14T10:50:06.193" v="3802" actId="1035"/>
          <ac:spMkLst>
            <pc:docMk/>
            <pc:sldMk cId="1493155626" sldId="2147477081"/>
            <ac:spMk id="32" creationId="{4E34BE69-73F7-E6C4-E8FE-5D68D8EF8EAE}"/>
          </ac:spMkLst>
        </pc:spChg>
        <pc:spChg chg="mod">
          <ac:chgData name="Markus Albuscheit" userId="4f7fce57-5076-4fe0-a4ff-e69de3a8985e" providerId="ADAL" clId="{0ACAEE19-1F3C-44E9-AA98-7871674C48E4}" dt="2023-12-14T10:44:48.280" v="3654" actId="1037"/>
          <ac:spMkLst>
            <pc:docMk/>
            <pc:sldMk cId="1493155626" sldId="2147477081"/>
            <ac:spMk id="36" creationId="{9D5542C8-57BD-9463-8ECE-E1E0B12BFB0C}"/>
          </ac:spMkLst>
        </pc:spChg>
        <pc:spChg chg="mod">
          <ac:chgData name="Markus Albuscheit" userId="4f7fce57-5076-4fe0-a4ff-e69de3a8985e" providerId="ADAL" clId="{0ACAEE19-1F3C-44E9-AA98-7871674C48E4}" dt="2023-12-14T10:44:48.280" v="3654" actId="1037"/>
          <ac:spMkLst>
            <pc:docMk/>
            <pc:sldMk cId="1493155626" sldId="2147477081"/>
            <ac:spMk id="37" creationId="{FF8297EB-F22A-D567-6191-E485BD7C87F0}"/>
          </ac:spMkLst>
        </pc:spChg>
        <pc:spChg chg="mod">
          <ac:chgData name="Markus Albuscheit" userId="4f7fce57-5076-4fe0-a4ff-e69de3a8985e" providerId="ADAL" clId="{0ACAEE19-1F3C-44E9-AA98-7871674C48E4}" dt="2023-12-14T10:44:23.240" v="3597"/>
          <ac:spMkLst>
            <pc:docMk/>
            <pc:sldMk cId="1493155626" sldId="2147477081"/>
            <ac:spMk id="38" creationId="{B0FEE393-C586-9080-F921-C24D53F443F8}"/>
          </ac:spMkLst>
        </pc:spChg>
        <pc:spChg chg="del mod">
          <ac:chgData name="Markus Albuscheit" userId="4f7fce57-5076-4fe0-a4ff-e69de3a8985e" providerId="ADAL" clId="{0ACAEE19-1F3C-44E9-AA98-7871674C48E4}" dt="2023-12-14T17:11:20.692" v="7397" actId="478"/>
          <ac:spMkLst>
            <pc:docMk/>
            <pc:sldMk cId="1493155626" sldId="2147477081"/>
            <ac:spMk id="40" creationId="{E23A85B9-0C68-A48F-0704-B3F8BC162354}"/>
          </ac:spMkLst>
        </pc:spChg>
        <pc:spChg chg="del mod">
          <ac:chgData name="Markus Albuscheit" userId="4f7fce57-5076-4fe0-a4ff-e69de3a8985e" providerId="ADAL" clId="{0ACAEE19-1F3C-44E9-AA98-7871674C48E4}" dt="2023-12-14T17:09:16.824" v="7393" actId="478"/>
          <ac:spMkLst>
            <pc:docMk/>
            <pc:sldMk cId="1493155626" sldId="2147477081"/>
            <ac:spMk id="41" creationId="{227DEF2D-C11C-0F78-1BB0-330AB6F5FDE3}"/>
          </ac:spMkLst>
        </pc:spChg>
        <pc:spChg chg="add del mod">
          <ac:chgData name="Markus Albuscheit" userId="4f7fce57-5076-4fe0-a4ff-e69de3a8985e" providerId="ADAL" clId="{0ACAEE19-1F3C-44E9-AA98-7871674C48E4}" dt="2023-12-14T10:46:41.914" v="3707" actId="478"/>
          <ac:spMkLst>
            <pc:docMk/>
            <pc:sldMk cId="1493155626" sldId="2147477081"/>
            <ac:spMk id="41" creationId="{34541EF9-7DF6-06F4-2EC2-6C92B125D6AB}"/>
          </ac:spMkLst>
        </pc:spChg>
        <pc:spChg chg="add mod">
          <ac:chgData name="Markus Albuscheit" userId="4f7fce57-5076-4fe0-a4ff-e69de3a8985e" providerId="ADAL" clId="{0ACAEE19-1F3C-44E9-AA98-7871674C48E4}" dt="2023-12-14T10:47:30.883" v="3725" actId="20577"/>
          <ac:spMkLst>
            <pc:docMk/>
            <pc:sldMk cId="1493155626" sldId="2147477081"/>
            <ac:spMk id="42" creationId="{BEB28C7F-B086-E2F2-D563-03492C3F2938}"/>
          </ac:spMkLst>
        </pc:spChg>
        <pc:spChg chg="mod">
          <ac:chgData name="Markus Albuscheit" userId="4f7fce57-5076-4fe0-a4ff-e69de3a8985e" providerId="ADAL" clId="{0ACAEE19-1F3C-44E9-AA98-7871674C48E4}" dt="2023-12-14T10:44:48.280" v="3654" actId="1037"/>
          <ac:spMkLst>
            <pc:docMk/>
            <pc:sldMk cId="1493155626" sldId="2147477081"/>
            <ac:spMk id="77" creationId="{92983816-C33F-C988-9C0F-F074C172D2E9}"/>
          </ac:spMkLst>
        </pc:spChg>
        <pc:spChg chg="mod">
          <ac:chgData name="Markus Albuscheit" userId="4f7fce57-5076-4fe0-a4ff-e69de3a8985e" providerId="ADAL" clId="{0ACAEE19-1F3C-44E9-AA98-7871674C48E4}" dt="2023-12-14T10:44:48.280" v="3654" actId="1037"/>
          <ac:spMkLst>
            <pc:docMk/>
            <pc:sldMk cId="1493155626" sldId="2147477081"/>
            <ac:spMk id="78" creationId="{10965EDF-C51B-E459-A0AD-B3A04F1EA5BC}"/>
          </ac:spMkLst>
        </pc:spChg>
        <pc:spChg chg="mod">
          <ac:chgData name="Markus Albuscheit" userId="4f7fce57-5076-4fe0-a4ff-e69de3a8985e" providerId="ADAL" clId="{0ACAEE19-1F3C-44E9-AA98-7871674C48E4}" dt="2023-12-14T10:54:13.071" v="3887" actId="1037"/>
          <ac:spMkLst>
            <pc:docMk/>
            <pc:sldMk cId="1493155626" sldId="2147477081"/>
            <ac:spMk id="79" creationId="{7D6A48C0-7982-85F0-5152-BAE09CEC35BA}"/>
          </ac:spMkLst>
        </pc:spChg>
        <pc:spChg chg="mod">
          <ac:chgData name="Markus Albuscheit" userId="4f7fce57-5076-4fe0-a4ff-e69de3a8985e" providerId="ADAL" clId="{0ACAEE19-1F3C-44E9-AA98-7871674C48E4}" dt="2023-12-14T10:44:48.280" v="3654" actId="1037"/>
          <ac:spMkLst>
            <pc:docMk/>
            <pc:sldMk cId="1493155626" sldId="2147477081"/>
            <ac:spMk id="96" creationId="{E06C39C7-B85A-3E2D-D55E-C629E96252E1}"/>
          </ac:spMkLst>
        </pc:spChg>
        <pc:spChg chg="mod">
          <ac:chgData name="Markus Albuscheit" userId="4f7fce57-5076-4fe0-a4ff-e69de3a8985e" providerId="ADAL" clId="{0ACAEE19-1F3C-44E9-AA98-7871674C48E4}" dt="2023-12-14T10:54:13.071" v="3887" actId="1037"/>
          <ac:spMkLst>
            <pc:docMk/>
            <pc:sldMk cId="1493155626" sldId="2147477081"/>
            <ac:spMk id="101" creationId="{0EBF3EC2-D4B9-873C-0EE8-DDF03B9DB4B7}"/>
          </ac:spMkLst>
        </pc:spChg>
        <pc:grpChg chg="add mod">
          <ac:chgData name="Markus Albuscheit" userId="4f7fce57-5076-4fe0-a4ff-e69de3a8985e" providerId="ADAL" clId="{0ACAEE19-1F3C-44E9-AA98-7871674C48E4}" dt="2023-12-14T10:44:23.240" v="3597"/>
          <ac:grpSpMkLst>
            <pc:docMk/>
            <pc:sldMk cId="1493155626" sldId="2147477081"/>
            <ac:grpSpMk id="13" creationId="{FAAE0CF1-6A8E-6F19-F2B7-C95960E0F510}"/>
          </ac:grpSpMkLst>
        </pc:grpChg>
        <pc:grpChg chg="del">
          <ac:chgData name="Markus Albuscheit" userId="4f7fce57-5076-4fe0-a4ff-e69de3a8985e" providerId="ADAL" clId="{0ACAEE19-1F3C-44E9-AA98-7871674C48E4}" dt="2023-12-14T10:44:33.177" v="3601" actId="478"/>
          <ac:grpSpMkLst>
            <pc:docMk/>
            <pc:sldMk cId="1493155626" sldId="2147477081"/>
            <ac:grpSpMk id="102" creationId="{A47EFBDC-CF7C-1A71-1731-9CD56A075FC0}"/>
          </ac:grpSpMkLst>
        </pc:grpChg>
        <pc:picChg chg="mod">
          <ac:chgData name="Markus Albuscheit" userId="4f7fce57-5076-4fe0-a4ff-e69de3a8985e" providerId="ADAL" clId="{0ACAEE19-1F3C-44E9-AA98-7871674C48E4}" dt="2023-12-14T10:44:48.280" v="3654" actId="1037"/>
          <ac:picMkLst>
            <pc:docMk/>
            <pc:sldMk cId="1493155626" sldId="2147477081"/>
            <ac:picMk id="33" creationId="{4276AEF0-CF1F-C0AA-FDB4-2E6337D3BB6C}"/>
          </ac:picMkLst>
        </pc:picChg>
        <pc:picChg chg="mod">
          <ac:chgData name="Markus Albuscheit" userId="4f7fce57-5076-4fe0-a4ff-e69de3a8985e" providerId="ADAL" clId="{0ACAEE19-1F3C-44E9-AA98-7871674C48E4}" dt="2023-12-14T10:44:48.280" v="3654" actId="1037"/>
          <ac:picMkLst>
            <pc:docMk/>
            <pc:sldMk cId="1493155626" sldId="2147477081"/>
            <ac:picMk id="34" creationId="{DB327F6F-9F49-BEF4-C0A7-B35B201EC00B}"/>
          </ac:picMkLst>
        </pc:picChg>
        <pc:picChg chg="mod">
          <ac:chgData name="Markus Albuscheit" userId="4f7fce57-5076-4fe0-a4ff-e69de3a8985e" providerId="ADAL" clId="{0ACAEE19-1F3C-44E9-AA98-7871674C48E4}" dt="2023-12-14T10:44:48.280" v="3654" actId="1037"/>
          <ac:picMkLst>
            <pc:docMk/>
            <pc:sldMk cId="1493155626" sldId="2147477081"/>
            <ac:picMk id="35" creationId="{385EAB40-5E45-47BB-7374-B23E9500B433}"/>
          </ac:picMkLst>
        </pc:picChg>
        <pc:picChg chg="mod">
          <ac:chgData name="Markus Albuscheit" userId="4f7fce57-5076-4fe0-a4ff-e69de3a8985e" providerId="ADAL" clId="{0ACAEE19-1F3C-44E9-AA98-7871674C48E4}" dt="2023-12-14T10:44:23.240" v="3597"/>
          <ac:picMkLst>
            <pc:docMk/>
            <pc:sldMk cId="1493155626" sldId="2147477081"/>
            <ac:picMk id="39" creationId="{6F7AC8B9-02A9-C80A-D93D-43F2ECCDFBA2}"/>
          </ac:picMkLst>
        </pc:picChg>
        <pc:picChg chg="mod">
          <ac:chgData name="Markus Albuscheit" userId="4f7fce57-5076-4fe0-a4ff-e69de3a8985e" providerId="ADAL" clId="{0ACAEE19-1F3C-44E9-AA98-7871674C48E4}" dt="2023-12-14T10:54:13.071" v="3887" actId="1037"/>
          <ac:picMkLst>
            <pc:docMk/>
            <pc:sldMk cId="1493155626" sldId="2147477081"/>
            <ac:picMk id="76" creationId="{2694E6EB-BEB9-BEB0-EBE7-C10D6C7F1771}"/>
          </ac:picMkLst>
        </pc:picChg>
        <pc:picChg chg="mod">
          <ac:chgData name="Markus Albuscheit" userId="4f7fce57-5076-4fe0-a4ff-e69de3a8985e" providerId="ADAL" clId="{0ACAEE19-1F3C-44E9-AA98-7871674C48E4}" dt="2023-12-14T10:44:48.280" v="3654" actId="1037"/>
          <ac:picMkLst>
            <pc:docMk/>
            <pc:sldMk cId="1493155626" sldId="2147477081"/>
            <ac:picMk id="83" creationId="{BF0D8373-7959-8C4A-4801-3350907F007E}"/>
          </ac:picMkLst>
        </pc:picChg>
        <pc:picChg chg="mod">
          <ac:chgData name="Markus Albuscheit" userId="4f7fce57-5076-4fe0-a4ff-e69de3a8985e" providerId="ADAL" clId="{0ACAEE19-1F3C-44E9-AA98-7871674C48E4}" dt="2023-12-14T10:44:48.280" v="3654" actId="1037"/>
          <ac:picMkLst>
            <pc:docMk/>
            <pc:sldMk cId="1493155626" sldId="2147477081"/>
            <ac:picMk id="84" creationId="{E7182C41-2141-350A-D753-94E24A2CAD89}"/>
          </ac:picMkLst>
        </pc:picChg>
        <pc:picChg chg="mod">
          <ac:chgData name="Markus Albuscheit" userId="4f7fce57-5076-4fe0-a4ff-e69de3a8985e" providerId="ADAL" clId="{0ACAEE19-1F3C-44E9-AA98-7871674C48E4}" dt="2023-12-14T10:44:48.280" v="3654" actId="1037"/>
          <ac:picMkLst>
            <pc:docMk/>
            <pc:sldMk cId="1493155626" sldId="2147477081"/>
            <ac:picMk id="85" creationId="{9F8D1774-BBED-A23B-78D6-E6595141990A}"/>
          </ac:picMkLst>
        </pc:picChg>
        <pc:picChg chg="mod">
          <ac:chgData name="Markus Albuscheit" userId="4f7fce57-5076-4fe0-a4ff-e69de3a8985e" providerId="ADAL" clId="{0ACAEE19-1F3C-44E9-AA98-7871674C48E4}" dt="2023-12-14T10:44:48.280" v="3654" actId="1037"/>
          <ac:picMkLst>
            <pc:docMk/>
            <pc:sldMk cId="1493155626" sldId="2147477081"/>
            <ac:picMk id="86" creationId="{ABB3FA28-F8CC-C832-84D5-AE657E9E184E}"/>
          </ac:picMkLst>
        </pc:picChg>
        <pc:picChg chg="mod">
          <ac:chgData name="Markus Albuscheit" userId="4f7fce57-5076-4fe0-a4ff-e69de3a8985e" providerId="ADAL" clId="{0ACAEE19-1F3C-44E9-AA98-7871674C48E4}" dt="2023-12-14T10:44:48.280" v="3654" actId="1037"/>
          <ac:picMkLst>
            <pc:docMk/>
            <pc:sldMk cId="1493155626" sldId="2147477081"/>
            <ac:picMk id="90" creationId="{395E852C-1860-8FC6-8526-FA6FE15F02B0}"/>
          </ac:picMkLst>
        </pc:picChg>
        <pc:picChg chg="mod">
          <ac:chgData name="Markus Albuscheit" userId="4f7fce57-5076-4fe0-a4ff-e69de3a8985e" providerId="ADAL" clId="{0ACAEE19-1F3C-44E9-AA98-7871674C48E4}" dt="2023-12-14T10:44:48.280" v="3654" actId="1037"/>
          <ac:picMkLst>
            <pc:docMk/>
            <pc:sldMk cId="1493155626" sldId="2147477081"/>
            <ac:picMk id="91" creationId="{DF2B0A07-A647-E0AA-092C-369299BF2769}"/>
          </ac:picMkLst>
        </pc:picChg>
        <pc:picChg chg="mod">
          <ac:chgData name="Markus Albuscheit" userId="4f7fce57-5076-4fe0-a4ff-e69de3a8985e" providerId="ADAL" clId="{0ACAEE19-1F3C-44E9-AA98-7871674C48E4}" dt="2023-12-14T10:44:48.280" v="3654" actId="1037"/>
          <ac:picMkLst>
            <pc:docMk/>
            <pc:sldMk cId="1493155626" sldId="2147477081"/>
            <ac:picMk id="92" creationId="{4339ADF3-4709-1C3A-1B23-E0BA398D9933}"/>
          </ac:picMkLst>
        </pc:picChg>
        <pc:picChg chg="mod">
          <ac:chgData name="Markus Albuscheit" userId="4f7fce57-5076-4fe0-a4ff-e69de3a8985e" providerId="ADAL" clId="{0ACAEE19-1F3C-44E9-AA98-7871674C48E4}" dt="2023-12-14T10:44:48.280" v="3654" actId="1037"/>
          <ac:picMkLst>
            <pc:docMk/>
            <pc:sldMk cId="1493155626" sldId="2147477081"/>
            <ac:picMk id="93" creationId="{5907B7C4-9E57-1275-942B-7D096CBEEFDE}"/>
          </ac:picMkLst>
        </pc:picChg>
        <pc:picChg chg="mod">
          <ac:chgData name="Markus Albuscheit" userId="4f7fce57-5076-4fe0-a4ff-e69de3a8985e" providerId="ADAL" clId="{0ACAEE19-1F3C-44E9-AA98-7871674C48E4}" dt="2023-12-14T10:44:48.280" v="3654" actId="1037"/>
          <ac:picMkLst>
            <pc:docMk/>
            <pc:sldMk cId="1493155626" sldId="2147477081"/>
            <ac:picMk id="94" creationId="{0AF2EC88-93D7-4918-FF97-36A223529E50}"/>
          </ac:picMkLst>
        </pc:picChg>
        <pc:picChg chg="mod">
          <ac:chgData name="Markus Albuscheit" userId="4f7fce57-5076-4fe0-a4ff-e69de3a8985e" providerId="ADAL" clId="{0ACAEE19-1F3C-44E9-AA98-7871674C48E4}" dt="2023-12-14T10:54:13.071" v="3887" actId="1037"/>
          <ac:picMkLst>
            <pc:docMk/>
            <pc:sldMk cId="1493155626" sldId="2147477081"/>
            <ac:picMk id="97" creationId="{0353CEC9-B6E6-8941-0AAA-58825C5ED3E1}"/>
          </ac:picMkLst>
        </pc:picChg>
      </pc:sldChg>
      <pc:sldChg chg="addSp delSp modSp add mod">
        <pc:chgData name="Markus Albuscheit" userId="4f7fce57-5076-4fe0-a4ff-e69de3a8985e" providerId="ADAL" clId="{0ACAEE19-1F3C-44E9-AA98-7871674C48E4}" dt="2023-12-14T11:00:52.649" v="4324" actId="20577"/>
        <pc:sldMkLst>
          <pc:docMk/>
          <pc:sldMk cId="264838600" sldId="2147477082"/>
        </pc:sldMkLst>
        <pc:spChg chg="mod">
          <ac:chgData name="Markus Albuscheit" userId="4f7fce57-5076-4fe0-a4ff-e69de3a8985e" providerId="ADAL" clId="{0ACAEE19-1F3C-44E9-AA98-7871674C48E4}" dt="2023-12-14T10:51:59.274" v="3861" actId="14100"/>
          <ac:spMkLst>
            <pc:docMk/>
            <pc:sldMk cId="264838600" sldId="2147477082"/>
            <ac:spMk id="6" creationId="{7CB53F27-7AB3-C594-83F2-7F716F6860D3}"/>
          </ac:spMkLst>
        </pc:spChg>
        <pc:spChg chg="mod">
          <ac:chgData name="Markus Albuscheit" userId="4f7fce57-5076-4fe0-a4ff-e69de3a8985e" providerId="ADAL" clId="{0ACAEE19-1F3C-44E9-AA98-7871674C48E4}" dt="2023-12-14T11:00:52.649" v="4324" actId="20577"/>
          <ac:spMkLst>
            <pc:docMk/>
            <pc:sldMk cId="264838600" sldId="2147477082"/>
            <ac:spMk id="7" creationId="{8AF9803C-9415-C1A9-1584-36C2328B7D56}"/>
          </ac:spMkLst>
        </pc:spChg>
        <pc:spChg chg="del">
          <ac:chgData name="Markus Albuscheit" userId="4f7fce57-5076-4fe0-a4ff-e69de3a8985e" providerId="ADAL" clId="{0ACAEE19-1F3C-44E9-AA98-7871674C48E4}" dt="2023-12-14T10:52:06.632" v="3862" actId="478"/>
          <ac:spMkLst>
            <pc:docMk/>
            <pc:sldMk cId="264838600" sldId="2147477082"/>
            <ac:spMk id="8" creationId="{9B8DD9DA-23B3-E740-31F3-F8B70C4E120A}"/>
          </ac:spMkLst>
        </pc:spChg>
        <pc:spChg chg="del">
          <ac:chgData name="Markus Albuscheit" userId="4f7fce57-5076-4fe0-a4ff-e69de3a8985e" providerId="ADAL" clId="{0ACAEE19-1F3C-44E9-AA98-7871674C48E4}" dt="2023-12-14T10:52:06.632" v="3862" actId="478"/>
          <ac:spMkLst>
            <pc:docMk/>
            <pc:sldMk cId="264838600" sldId="2147477082"/>
            <ac:spMk id="9" creationId="{2B23CB48-F680-35DD-C744-CD9A3A2CFDAC}"/>
          </ac:spMkLst>
        </pc:spChg>
        <pc:spChg chg="del">
          <ac:chgData name="Markus Albuscheit" userId="4f7fce57-5076-4fe0-a4ff-e69de3a8985e" providerId="ADAL" clId="{0ACAEE19-1F3C-44E9-AA98-7871674C48E4}" dt="2023-12-14T10:52:06.632" v="3862" actId="478"/>
          <ac:spMkLst>
            <pc:docMk/>
            <pc:sldMk cId="264838600" sldId="2147477082"/>
            <ac:spMk id="10" creationId="{878DFF2F-CF4B-7214-CAB0-9C465AD2DA28}"/>
          </ac:spMkLst>
        </pc:spChg>
        <pc:spChg chg="del">
          <ac:chgData name="Markus Albuscheit" userId="4f7fce57-5076-4fe0-a4ff-e69de3a8985e" providerId="ADAL" clId="{0ACAEE19-1F3C-44E9-AA98-7871674C48E4}" dt="2023-12-14T10:52:06.632" v="3862" actId="478"/>
          <ac:spMkLst>
            <pc:docMk/>
            <pc:sldMk cId="264838600" sldId="2147477082"/>
            <ac:spMk id="11" creationId="{873737AF-F305-940D-E24C-22D679F76CE8}"/>
          </ac:spMkLst>
        </pc:spChg>
        <pc:spChg chg="del">
          <ac:chgData name="Markus Albuscheit" userId="4f7fce57-5076-4fe0-a4ff-e69de3a8985e" providerId="ADAL" clId="{0ACAEE19-1F3C-44E9-AA98-7871674C48E4}" dt="2023-12-14T10:52:06.632" v="3862" actId="478"/>
          <ac:spMkLst>
            <pc:docMk/>
            <pc:sldMk cId="264838600" sldId="2147477082"/>
            <ac:spMk id="12" creationId="{30B1C6DC-8534-D735-42A6-CCC0C2D05942}"/>
          </ac:spMkLst>
        </pc:spChg>
        <pc:spChg chg="del">
          <ac:chgData name="Markus Albuscheit" userId="4f7fce57-5076-4fe0-a4ff-e69de3a8985e" providerId="ADAL" clId="{0ACAEE19-1F3C-44E9-AA98-7871674C48E4}" dt="2023-12-14T10:52:06.632" v="3862" actId="478"/>
          <ac:spMkLst>
            <pc:docMk/>
            <pc:sldMk cId="264838600" sldId="2147477082"/>
            <ac:spMk id="16" creationId="{31460AE9-E521-1498-5DED-5C27446DEE17}"/>
          </ac:spMkLst>
        </pc:spChg>
        <pc:spChg chg="del">
          <ac:chgData name="Markus Albuscheit" userId="4f7fce57-5076-4fe0-a4ff-e69de3a8985e" providerId="ADAL" clId="{0ACAEE19-1F3C-44E9-AA98-7871674C48E4}" dt="2023-12-14T10:52:06.632" v="3862" actId="478"/>
          <ac:spMkLst>
            <pc:docMk/>
            <pc:sldMk cId="264838600" sldId="2147477082"/>
            <ac:spMk id="18" creationId="{047B2104-F249-A5D7-E5F2-00F2194C51BA}"/>
          </ac:spMkLst>
        </pc:spChg>
        <pc:spChg chg="del">
          <ac:chgData name="Markus Albuscheit" userId="4f7fce57-5076-4fe0-a4ff-e69de3a8985e" providerId="ADAL" clId="{0ACAEE19-1F3C-44E9-AA98-7871674C48E4}" dt="2023-12-14T10:52:06.632" v="3862" actId="478"/>
          <ac:spMkLst>
            <pc:docMk/>
            <pc:sldMk cId="264838600" sldId="2147477082"/>
            <ac:spMk id="19" creationId="{DFCE61D5-CE06-BB19-9F00-1EF8454FC3F0}"/>
          </ac:spMkLst>
        </pc:spChg>
        <pc:spChg chg="del">
          <ac:chgData name="Markus Albuscheit" userId="4f7fce57-5076-4fe0-a4ff-e69de3a8985e" providerId="ADAL" clId="{0ACAEE19-1F3C-44E9-AA98-7871674C48E4}" dt="2023-12-14T10:52:06.632" v="3862" actId="478"/>
          <ac:spMkLst>
            <pc:docMk/>
            <pc:sldMk cId="264838600" sldId="2147477082"/>
            <ac:spMk id="20" creationId="{E052A6C5-BFF0-7D94-AA8D-D6524DCAC4C8}"/>
          </ac:spMkLst>
        </pc:spChg>
        <pc:spChg chg="del">
          <ac:chgData name="Markus Albuscheit" userId="4f7fce57-5076-4fe0-a4ff-e69de3a8985e" providerId="ADAL" clId="{0ACAEE19-1F3C-44E9-AA98-7871674C48E4}" dt="2023-12-14T10:52:06.632" v="3862" actId="478"/>
          <ac:spMkLst>
            <pc:docMk/>
            <pc:sldMk cId="264838600" sldId="2147477082"/>
            <ac:spMk id="21" creationId="{254157A5-C42F-B927-6944-F9540F7846AC}"/>
          </ac:spMkLst>
        </pc:spChg>
        <pc:spChg chg="del">
          <ac:chgData name="Markus Albuscheit" userId="4f7fce57-5076-4fe0-a4ff-e69de3a8985e" providerId="ADAL" clId="{0ACAEE19-1F3C-44E9-AA98-7871674C48E4}" dt="2023-12-14T10:52:06.632" v="3862" actId="478"/>
          <ac:spMkLst>
            <pc:docMk/>
            <pc:sldMk cId="264838600" sldId="2147477082"/>
            <ac:spMk id="22" creationId="{AA304E91-17A2-B997-3BFA-F149906E9245}"/>
          </ac:spMkLst>
        </pc:spChg>
        <pc:spChg chg="del">
          <ac:chgData name="Markus Albuscheit" userId="4f7fce57-5076-4fe0-a4ff-e69de3a8985e" providerId="ADAL" clId="{0ACAEE19-1F3C-44E9-AA98-7871674C48E4}" dt="2023-12-14T10:52:06.632" v="3862" actId="478"/>
          <ac:spMkLst>
            <pc:docMk/>
            <pc:sldMk cId="264838600" sldId="2147477082"/>
            <ac:spMk id="23" creationId="{7BB7157B-2C3D-1E7E-6E50-067D1848CF5D}"/>
          </ac:spMkLst>
        </pc:spChg>
        <pc:spChg chg="del">
          <ac:chgData name="Markus Albuscheit" userId="4f7fce57-5076-4fe0-a4ff-e69de3a8985e" providerId="ADAL" clId="{0ACAEE19-1F3C-44E9-AA98-7871674C48E4}" dt="2023-12-14T10:52:06.632" v="3862" actId="478"/>
          <ac:spMkLst>
            <pc:docMk/>
            <pc:sldMk cId="264838600" sldId="2147477082"/>
            <ac:spMk id="24" creationId="{ACC67023-5AAE-8B72-DAB8-DE2CA8F18800}"/>
          </ac:spMkLst>
        </pc:spChg>
        <pc:spChg chg="del">
          <ac:chgData name="Markus Albuscheit" userId="4f7fce57-5076-4fe0-a4ff-e69de3a8985e" providerId="ADAL" clId="{0ACAEE19-1F3C-44E9-AA98-7871674C48E4}" dt="2023-12-14T10:52:06.632" v="3862" actId="478"/>
          <ac:spMkLst>
            <pc:docMk/>
            <pc:sldMk cId="264838600" sldId="2147477082"/>
            <ac:spMk id="25" creationId="{3C9B8FDE-5DAA-3A3D-1A9E-A716982DDC9C}"/>
          </ac:spMkLst>
        </pc:spChg>
        <pc:spChg chg="del">
          <ac:chgData name="Markus Albuscheit" userId="4f7fce57-5076-4fe0-a4ff-e69de3a8985e" providerId="ADAL" clId="{0ACAEE19-1F3C-44E9-AA98-7871674C48E4}" dt="2023-12-14T10:52:06.632" v="3862" actId="478"/>
          <ac:spMkLst>
            <pc:docMk/>
            <pc:sldMk cId="264838600" sldId="2147477082"/>
            <ac:spMk id="26" creationId="{13656FC1-7AB3-3F2D-4C13-8679C4BE4BF4}"/>
          </ac:spMkLst>
        </pc:spChg>
        <pc:spChg chg="del">
          <ac:chgData name="Markus Albuscheit" userId="4f7fce57-5076-4fe0-a4ff-e69de3a8985e" providerId="ADAL" clId="{0ACAEE19-1F3C-44E9-AA98-7871674C48E4}" dt="2023-12-14T10:52:06.632" v="3862" actId="478"/>
          <ac:spMkLst>
            <pc:docMk/>
            <pc:sldMk cId="264838600" sldId="2147477082"/>
            <ac:spMk id="27" creationId="{29A12C74-7127-E357-09C3-6A19E43DE730}"/>
          </ac:spMkLst>
        </pc:spChg>
        <pc:spChg chg="del">
          <ac:chgData name="Markus Albuscheit" userId="4f7fce57-5076-4fe0-a4ff-e69de3a8985e" providerId="ADAL" clId="{0ACAEE19-1F3C-44E9-AA98-7871674C48E4}" dt="2023-12-14T10:52:06.632" v="3862" actId="478"/>
          <ac:spMkLst>
            <pc:docMk/>
            <pc:sldMk cId="264838600" sldId="2147477082"/>
            <ac:spMk id="28" creationId="{E61A988C-7061-C31E-B2AF-AD395CFD4D24}"/>
          </ac:spMkLst>
        </pc:spChg>
        <pc:spChg chg="del">
          <ac:chgData name="Markus Albuscheit" userId="4f7fce57-5076-4fe0-a4ff-e69de3a8985e" providerId="ADAL" clId="{0ACAEE19-1F3C-44E9-AA98-7871674C48E4}" dt="2023-12-14T10:52:06.632" v="3862" actId="478"/>
          <ac:spMkLst>
            <pc:docMk/>
            <pc:sldMk cId="264838600" sldId="2147477082"/>
            <ac:spMk id="29" creationId="{984E5373-FFC1-9280-1BB0-12D28E0F4B0D}"/>
          </ac:spMkLst>
        </pc:spChg>
        <pc:spChg chg="del">
          <ac:chgData name="Markus Albuscheit" userId="4f7fce57-5076-4fe0-a4ff-e69de3a8985e" providerId="ADAL" clId="{0ACAEE19-1F3C-44E9-AA98-7871674C48E4}" dt="2023-12-14T10:52:06.632" v="3862" actId="478"/>
          <ac:spMkLst>
            <pc:docMk/>
            <pc:sldMk cId="264838600" sldId="2147477082"/>
            <ac:spMk id="30" creationId="{D1EDFE42-48BD-8AC7-4F47-FB989EBAD491}"/>
          </ac:spMkLst>
        </pc:spChg>
        <pc:spChg chg="del">
          <ac:chgData name="Markus Albuscheit" userId="4f7fce57-5076-4fe0-a4ff-e69de3a8985e" providerId="ADAL" clId="{0ACAEE19-1F3C-44E9-AA98-7871674C48E4}" dt="2023-12-14T10:52:06.632" v="3862" actId="478"/>
          <ac:spMkLst>
            <pc:docMk/>
            <pc:sldMk cId="264838600" sldId="2147477082"/>
            <ac:spMk id="31" creationId="{C63E1642-26F1-7E3E-384A-7D2E4219AA0F}"/>
          </ac:spMkLst>
        </pc:spChg>
        <pc:spChg chg="del">
          <ac:chgData name="Markus Albuscheit" userId="4f7fce57-5076-4fe0-a4ff-e69de3a8985e" providerId="ADAL" clId="{0ACAEE19-1F3C-44E9-AA98-7871674C48E4}" dt="2023-12-14T10:52:06.632" v="3862" actId="478"/>
          <ac:spMkLst>
            <pc:docMk/>
            <pc:sldMk cId="264838600" sldId="2147477082"/>
            <ac:spMk id="32" creationId="{4E34BE69-73F7-E6C4-E8FE-5D68D8EF8EAE}"/>
          </ac:spMkLst>
        </pc:spChg>
        <pc:spChg chg="del">
          <ac:chgData name="Markus Albuscheit" userId="4f7fce57-5076-4fe0-a4ff-e69de3a8985e" providerId="ADAL" clId="{0ACAEE19-1F3C-44E9-AA98-7871674C48E4}" dt="2023-12-14T10:52:06.632" v="3862" actId="478"/>
          <ac:spMkLst>
            <pc:docMk/>
            <pc:sldMk cId="264838600" sldId="2147477082"/>
            <ac:spMk id="36" creationId="{9D5542C8-57BD-9463-8ECE-E1E0B12BFB0C}"/>
          </ac:spMkLst>
        </pc:spChg>
        <pc:spChg chg="del">
          <ac:chgData name="Markus Albuscheit" userId="4f7fce57-5076-4fe0-a4ff-e69de3a8985e" providerId="ADAL" clId="{0ACAEE19-1F3C-44E9-AA98-7871674C48E4}" dt="2023-12-14T10:52:06.632" v="3862" actId="478"/>
          <ac:spMkLst>
            <pc:docMk/>
            <pc:sldMk cId="264838600" sldId="2147477082"/>
            <ac:spMk id="37" creationId="{FF8297EB-F22A-D567-6191-E485BD7C87F0}"/>
          </ac:spMkLst>
        </pc:spChg>
        <pc:spChg chg="del">
          <ac:chgData name="Markus Albuscheit" userId="4f7fce57-5076-4fe0-a4ff-e69de3a8985e" providerId="ADAL" clId="{0ACAEE19-1F3C-44E9-AA98-7871674C48E4}" dt="2023-12-14T10:52:06.632" v="3862" actId="478"/>
          <ac:spMkLst>
            <pc:docMk/>
            <pc:sldMk cId="264838600" sldId="2147477082"/>
            <ac:spMk id="77" creationId="{92983816-C33F-C988-9C0F-F074C172D2E9}"/>
          </ac:spMkLst>
        </pc:spChg>
        <pc:spChg chg="del">
          <ac:chgData name="Markus Albuscheit" userId="4f7fce57-5076-4fe0-a4ff-e69de3a8985e" providerId="ADAL" clId="{0ACAEE19-1F3C-44E9-AA98-7871674C48E4}" dt="2023-12-14T10:52:06.632" v="3862" actId="478"/>
          <ac:spMkLst>
            <pc:docMk/>
            <pc:sldMk cId="264838600" sldId="2147477082"/>
            <ac:spMk id="78" creationId="{10965EDF-C51B-E459-A0AD-B3A04F1EA5BC}"/>
          </ac:spMkLst>
        </pc:spChg>
        <pc:spChg chg="del">
          <ac:chgData name="Markus Albuscheit" userId="4f7fce57-5076-4fe0-a4ff-e69de3a8985e" providerId="ADAL" clId="{0ACAEE19-1F3C-44E9-AA98-7871674C48E4}" dt="2023-12-14T10:52:06.632" v="3862" actId="478"/>
          <ac:spMkLst>
            <pc:docMk/>
            <pc:sldMk cId="264838600" sldId="2147477082"/>
            <ac:spMk id="79" creationId="{7D6A48C0-7982-85F0-5152-BAE09CEC35BA}"/>
          </ac:spMkLst>
        </pc:spChg>
        <pc:spChg chg="del">
          <ac:chgData name="Markus Albuscheit" userId="4f7fce57-5076-4fe0-a4ff-e69de3a8985e" providerId="ADAL" clId="{0ACAEE19-1F3C-44E9-AA98-7871674C48E4}" dt="2023-12-14T10:52:06.632" v="3862" actId="478"/>
          <ac:spMkLst>
            <pc:docMk/>
            <pc:sldMk cId="264838600" sldId="2147477082"/>
            <ac:spMk id="96" creationId="{E06C39C7-B85A-3E2D-D55E-C629E96252E1}"/>
          </ac:spMkLst>
        </pc:spChg>
        <pc:spChg chg="del">
          <ac:chgData name="Markus Albuscheit" userId="4f7fce57-5076-4fe0-a4ff-e69de3a8985e" providerId="ADAL" clId="{0ACAEE19-1F3C-44E9-AA98-7871674C48E4}" dt="2023-12-14T10:52:06.632" v="3862" actId="478"/>
          <ac:spMkLst>
            <pc:docMk/>
            <pc:sldMk cId="264838600" sldId="2147477082"/>
            <ac:spMk id="101" creationId="{0EBF3EC2-D4B9-873C-0EE8-DDF03B9DB4B7}"/>
          </ac:spMkLst>
        </pc:spChg>
        <pc:picChg chg="add mod">
          <ac:chgData name="Markus Albuscheit" userId="4f7fce57-5076-4fe0-a4ff-e69de3a8985e" providerId="ADAL" clId="{0ACAEE19-1F3C-44E9-AA98-7871674C48E4}" dt="2023-12-14T10:54:25.692" v="3888" actId="1076"/>
          <ac:picMkLst>
            <pc:docMk/>
            <pc:sldMk cId="264838600" sldId="2147477082"/>
            <ac:picMk id="4" creationId="{57DF15F0-33F7-25B0-AB6C-45E3BE44DADD}"/>
          </ac:picMkLst>
        </pc:picChg>
        <pc:picChg chg="del">
          <ac:chgData name="Markus Albuscheit" userId="4f7fce57-5076-4fe0-a4ff-e69de3a8985e" providerId="ADAL" clId="{0ACAEE19-1F3C-44E9-AA98-7871674C48E4}" dt="2023-12-14T10:52:06.632" v="3862" actId="478"/>
          <ac:picMkLst>
            <pc:docMk/>
            <pc:sldMk cId="264838600" sldId="2147477082"/>
            <ac:picMk id="33" creationId="{4276AEF0-CF1F-C0AA-FDB4-2E6337D3BB6C}"/>
          </ac:picMkLst>
        </pc:picChg>
        <pc:picChg chg="del">
          <ac:chgData name="Markus Albuscheit" userId="4f7fce57-5076-4fe0-a4ff-e69de3a8985e" providerId="ADAL" clId="{0ACAEE19-1F3C-44E9-AA98-7871674C48E4}" dt="2023-12-14T10:52:06.632" v="3862" actId="478"/>
          <ac:picMkLst>
            <pc:docMk/>
            <pc:sldMk cId="264838600" sldId="2147477082"/>
            <ac:picMk id="34" creationId="{DB327F6F-9F49-BEF4-C0A7-B35B201EC00B}"/>
          </ac:picMkLst>
        </pc:picChg>
        <pc:picChg chg="del">
          <ac:chgData name="Markus Albuscheit" userId="4f7fce57-5076-4fe0-a4ff-e69de3a8985e" providerId="ADAL" clId="{0ACAEE19-1F3C-44E9-AA98-7871674C48E4}" dt="2023-12-14T10:52:06.632" v="3862" actId="478"/>
          <ac:picMkLst>
            <pc:docMk/>
            <pc:sldMk cId="264838600" sldId="2147477082"/>
            <ac:picMk id="35" creationId="{385EAB40-5E45-47BB-7374-B23E9500B433}"/>
          </ac:picMkLst>
        </pc:picChg>
        <pc:picChg chg="del">
          <ac:chgData name="Markus Albuscheit" userId="4f7fce57-5076-4fe0-a4ff-e69de3a8985e" providerId="ADAL" clId="{0ACAEE19-1F3C-44E9-AA98-7871674C48E4}" dt="2023-12-14T10:52:06.632" v="3862" actId="478"/>
          <ac:picMkLst>
            <pc:docMk/>
            <pc:sldMk cId="264838600" sldId="2147477082"/>
            <ac:picMk id="76" creationId="{2694E6EB-BEB9-BEB0-EBE7-C10D6C7F1771}"/>
          </ac:picMkLst>
        </pc:picChg>
        <pc:picChg chg="del">
          <ac:chgData name="Markus Albuscheit" userId="4f7fce57-5076-4fe0-a4ff-e69de3a8985e" providerId="ADAL" clId="{0ACAEE19-1F3C-44E9-AA98-7871674C48E4}" dt="2023-12-14T10:52:06.632" v="3862" actId="478"/>
          <ac:picMkLst>
            <pc:docMk/>
            <pc:sldMk cId="264838600" sldId="2147477082"/>
            <ac:picMk id="83" creationId="{BF0D8373-7959-8C4A-4801-3350907F007E}"/>
          </ac:picMkLst>
        </pc:picChg>
        <pc:picChg chg="del">
          <ac:chgData name="Markus Albuscheit" userId="4f7fce57-5076-4fe0-a4ff-e69de3a8985e" providerId="ADAL" clId="{0ACAEE19-1F3C-44E9-AA98-7871674C48E4}" dt="2023-12-14T10:52:06.632" v="3862" actId="478"/>
          <ac:picMkLst>
            <pc:docMk/>
            <pc:sldMk cId="264838600" sldId="2147477082"/>
            <ac:picMk id="84" creationId="{E7182C41-2141-350A-D753-94E24A2CAD89}"/>
          </ac:picMkLst>
        </pc:picChg>
        <pc:picChg chg="del">
          <ac:chgData name="Markus Albuscheit" userId="4f7fce57-5076-4fe0-a4ff-e69de3a8985e" providerId="ADAL" clId="{0ACAEE19-1F3C-44E9-AA98-7871674C48E4}" dt="2023-12-14T10:52:06.632" v="3862" actId="478"/>
          <ac:picMkLst>
            <pc:docMk/>
            <pc:sldMk cId="264838600" sldId="2147477082"/>
            <ac:picMk id="85" creationId="{9F8D1774-BBED-A23B-78D6-E6595141990A}"/>
          </ac:picMkLst>
        </pc:picChg>
        <pc:picChg chg="del">
          <ac:chgData name="Markus Albuscheit" userId="4f7fce57-5076-4fe0-a4ff-e69de3a8985e" providerId="ADAL" clId="{0ACAEE19-1F3C-44E9-AA98-7871674C48E4}" dt="2023-12-14T10:52:06.632" v="3862" actId="478"/>
          <ac:picMkLst>
            <pc:docMk/>
            <pc:sldMk cId="264838600" sldId="2147477082"/>
            <ac:picMk id="86" creationId="{ABB3FA28-F8CC-C832-84D5-AE657E9E184E}"/>
          </ac:picMkLst>
        </pc:picChg>
        <pc:picChg chg="del">
          <ac:chgData name="Markus Albuscheit" userId="4f7fce57-5076-4fe0-a4ff-e69de3a8985e" providerId="ADAL" clId="{0ACAEE19-1F3C-44E9-AA98-7871674C48E4}" dt="2023-12-14T10:52:06.632" v="3862" actId="478"/>
          <ac:picMkLst>
            <pc:docMk/>
            <pc:sldMk cId="264838600" sldId="2147477082"/>
            <ac:picMk id="90" creationId="{395E852C-1860-8FC6-8526-FA6FE15F02B0}"/>
          </ac:picMkLst>
        </pc:picChg>
        <pc:picChg chg="del">
          <ac:chgData name="Markus Albuscheit" userId="4f7fce57-5076-4fe0-a4ff-e69de3a8985e" providerId="ADAL" clId="{0ACAEE19-1F3C-44E9-AA98-7871674C48E4}" dt="2023-12-14T10:52:06.632" v="3862" actId="478"/>
          <ac:picMkLst>
            <pc:docMk/>
            <pc:sldMk cId="264838600" sldId="2147477082"/>
            <ac:picMk id="91" creationId="{DF2B0A07-A647-E0AA-092C-369299BF2769}"/>
          </ac:picMkLst>
        </pc:picChg>
        <pc:picChg chg="del">
          <ac:chgData name="Markus Albuscheit" userId="4f7fce57-5076-4fe0-a4ff-e69de3a8985e" providerId="ADAL" clId="{0ACAEE19-1F3C-44E9-AA98-7871674C48E4}" dt="2023-12-14T10:52:06.632" v="3862" actId="478"/>
          <ac:picMkLst>
            <pc:docMk/>
            <pc:sldMk cId="264838600" sldId="2147477082"/>
            <ac:picMk id="92" creationId="{4339ADF3-4709-1C3A-1B23-E0BA398D9933}"/>
          </ac:picMkLst>
        </pc:picChg>
        <pc:picChg chg="del">
          <ac:chgData name="Markus Albuscheit" userId="4f7fce57-5076-4fe0-a4ff-e69de3a8985e" providerId="ADAL" clId="{0ACAEE19-1F3C-44E9-AA98-7871674C48E4}" dt="2023-12-14T10:52:06.632" v="3862" actId="478"/>
          <ac:picMkLst>
            <pc:docMk/>
            <pc:sldMk cId="264838600" sldId="2147477082"/>
            <ac:picMk id="93" creationId="{5907B7C4-9E57-1275-942B-7D096CBEEFDE}"/>
          </ac:picMkLst>
        </pc:picChg>
        <pc:picChg chg="del">
          <ac:chgData name="Markus Albuscheit" userId="4f7fce57-5076-4fe0-a4ff-e69de3a8985e" providerId="ADAL" clId="{0ACAEE19-1F3C-44E9-AA98-7871674C48E4}" dt="2023-12-14T10:52:06.632" v="3862" actId="478"/>
          <ac:picMkLst>
            <pc:docMk/>
            <pc:sldMk cId="264838600" sldId="2147477082"/>
            <ac:picMk id="94" creationId="{0AF2EC88-93D7-4918-FF97-36A223529E50}"/>
          </ac:picMkLst>
        </pc:picChg>
        <pc:picChg chg="del">
          <ac:chgData name="Markus Albuscheit" userId="4f7fce57-5076-4fe0-a4ff-e69de3a8985e" providerId="ADAL" clId="{0ACAEE19-1F3C-44E9-AA98-7871674C48E4}" dt="2023-12-14T10:52:06.632" v="3862" actId="478"/>
          <ac:picMkLst>
            <pc:docMk/>
            <pc:sldMk cId="264838600" sldId="2147477082"/>
            <ac:picMk id="97" creationId="{0353CEC9-B6E6-8941-0AAA-58825C5ED3E1}"/>
          </ac:picMkLst>
        </pc:picChg>
      </pc:sldChg>
      <pc:sldChg chg="addSp delSp modSp add mod ord modClrScheme delAnim modAnim chgLayout modNotesTx">
        <pc:chgData name="Markus Albuscheit" userId="4f7fce57-5076-4fe0-a4ff-e69de3a8985e" providerId="ADAL" clId="{0ACAEE19-1F3C-44E9-AA98-7871674C48E4}" dt="2023-12-15T08:03:09.278" v="8051" actId="20577"/>
        <pc:sldMkLst>
          <pc:docMk/>
          <pc:sldMk cId="3821923725" sldId="2147477083"/>
        </pc:sldMkLst>
        <pc:spChg chg="del">
          <ac:chgData name="Markus Albuscheit" userId="4f7fce57-5076-4fe0-a4ff-e69de3a8985e" providerId="ADAL" clId="{0ACAEE19-1F3C-44E9-AA98-7871674C48E4}" dt="2023-12-14T22:40:04.157" v="7763" actId="478"/>
          <ac:spMkLst>
            <pc:docMk/>
            <pc:sldMk cId="3821923725" sldId="2147477083"/>
            <ac:spMk id="2" creationId="{04065B89-C667-AC88-15E4-9EFD1B00507E}"/>
          </ac:spMkLst>
        </pc:spChg>
        <pc:spChg chg="mod ord">
          <ac:chgData name="Markus Albuscheit" userId="4f7fce57-5076-4fe0-a4ff-e69de3a8985e" providerId="ADAL" clId="{0ACAEE19-1F3C-44E9-AA98-7871674C48E4}" dt="2023-12-14T10:57:34.523" v="4223" actId="700"/>
          <ac:spMkLst>
            <pc:docMk/>
            <pc:sldMk cId="3821923725" sldId="2147477083"/>
            <ac:spMk id="2" creationId="{569110AE-BCA4-67F8-48DD-9233B5C72535}"/>
          </ac:spMkLst>
        </pc:spChg>
        <pc:spChg chg="add 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3" creationId="{75D13D19-B3FE-ED38-CAB0-479518B212C4}"/>
          </ac:spMkLst>
        </pc:spChg>
        <pc:spChg chg="mod ord">
          <ac:chgData name="Markus Albuscheit" userId="4f7fce57-5076-4fe0-a4ff-e69de3a8985e" providerId="ADAL" clId="{0ACAEE19-1F3C-44E9-AA98-7871674C48E4}" dt="2023-12-14T10:58:58.772" v="4300" actId="1076"/>
          <ac:spMkLst>
            <pc:docMk/>
            <pc:sldMk cId="3821923725" sldId="2147477083"/>
            <ac:spMk id="3" creationId="{D69A653E-B05B-91A1-4387-217B46E6DAA5}"/>
          </ac:spMkLst>
        </pc:spChg>
        <pc:spChg chg="add mod ord">
          <ac:chgData name="Markus Albuscheit" userId="4f7fce57-5076-4fe0-a4ff-e69de3a8985e" providerId="ADAL" clId="{0ACAEE19-1F3C-44E9-AA98-7871674C48E4}" dt="2023-12-14T10:58:56.718" v="4298" actId="14100"/>
          <ac:spMkLst>
            <pc:docMk/>
            <pc:sldMk cId="3821923725" sldId="2147477083"/>
            <ac:spMk id="4" creationId="{0ADE48C3-5B78-E086-EE44-BCF40AAA20C8}"/>
          </ac:spMkLst>
        </pc:spChg>
        <pc:spChg chg="mod ord">
          <ac:chgData name="Markus Albuscheit" userId="4f7fce57-5076-4fe0-a4ff-e69de3a8985e" providerId="ADAL" clId="{0ACAEE19-1F3C-44E9-AA98-7871674C48E4}" dt="2023-12-14T14:46:02.268" v="6658" actId="20577"/>
          <ac:spMkLst>
            <pc:docMk/>
            <pc:sldMk cId="3821923725" sldId="2147477083"/>
            <ac:spMk id="5" creationId="{4E544419-D65E-039F-C114-E329B6CA574D}"/>
          </ac:spMkLst>
        </pc:spChg>
        <pc:spChg chg="mod ord">
          <ac:chgData name="Markus Albuscheit" userId="4f7fce57-5076-4fe0-a4ff-e69de3a8985e" providerId="ADAL" clId="{0ACAEE19-1F3C-44E9-AA98-7871674C48E4}" dt="2023-12-14T11:02:34.360" v="4343" actId="1076"/>
          <ac:spMkLst>
            <pc:docMk/>
            <pc:sldMk cId="3821923725" sldId="2147477083"/>
            <ac:spMk id="6" creationId="{7CB53F27-7AB3-C594-83F2-7F716F6860D3}"/>
          </ac:spMkLst>
        </pc:spChg>
        <pc:spChg chg="mod">
          <ac:chgData name="Markus Albuscheit" userId="4f7fce57-5076-4fe0-a4ff-e69de3a8985e" providerId="ADAL" clId="{0ACAEE19-1F3C-44E9-AA98-7871674C48E4}" dt="2023-12-14T10:58:09.088" v="4286" actId="21"/>
          <ac:spMkLst>
            <pc:docMk/>
            <pc:sldMk cId="3821923725" sldId="2147477083"/>
            <ac:spMk id="8" creationId="{7793E73D-46A6-347C-D563-165C1D898DD1}"/>
          </ac:spMkLst>
        </pc:spChg>
        <pc:spChg chg="mod">
          <ac:chgData name="Markus Albuscheit" userId="4f7fce57-5076-4fe0-a4ff-e69de3a8985e" providerId="ADAL" clId="{0ACAEE19-1F3C-44E9-AA98-7871674C48E4}" dt="2023-12-14T22:49:57.606" v="7966" actId="1037"/>
          <ac:spMkLst>
            <pc:docMk/>
            <pc:sldMk cId="3821923725" sldId="2147477083"/>
            <ac:spMk id="9" creationId="{19E967C2-715B-632C-1E4E-0E7A74B4A632}"/>
          </ac:spMkLst>
        </pc:spChg>
        <pc:spChg chg="mod">
          <ac:chgData name="Markus Albuscheit" userId="4f7fce57-5076-4fe0-a4ff-e69de3a8985e" providerId="ADAL" clId="{0ACAEE19-1F3C-44E9-AA98-7871674C48E4}" dt="2023-12-14T22:50:13.261" v="7967" actId="1076"/>
          <ac:spMkLst>
            <pc:docMk/>
            <pc:sldMk cId="3821923725" sldId="2147477083"/>
            <ac:spMk id="14" creationId="{243114D7-9AA6-0403-F042-FF03D979227E}"/>
          </ac:spMkLst>
        </pc:spChg>
        <pc:spChg chg="mod">
          <ac:chgData name="Markus Albuscheit" userId="4f7fce57-5076-4fe0-a4ff-e69de3a8985e" providerId="ADAL" clId="{0ACAEE19-1F3C-44E9-AA98-7871674C48E4}" dt="2023-12-14T22:45:56.480" v="7925" actId="1076"/>
          <ac:spMkLst>
            <pc:docMk/>
            <pc:sldMk cId="3821923725" sldId="2147477083"/>
            <ac:spMk id="17" creationId="{34074313-61E8-F2E8-273C-8B7723FB0BF5}"/>
          </ac:spMkLst>
        </pc:spChg>
        <pc:spChg chg="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18" creationId="{AC8A4FE7-FD4C-B509-ADE7-9A10EF0D4F99}"/>
          </ac:spMkLst>
        </pc:spChg>
        <pc:spChg chg="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22" creationId="{19B4C74B-2CBF-A76A-5759-985BFA22E69C}"/>
          </ac:spMkLst>
        </pc:spChg>
        <pc:spChg chg="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23" creationId="{271976F1-654B-4634-BDA6-15D0F2DFE4B8}"/>
          </ac:spMkLst>
        </pc:spChg>
        <pc:spChg chg="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24" creationId="{D97EAC7E-5739-AD74-C370-FE819D712CF1}"/>
          </ac:spMkLst>
        </pc:spChg>
        <pc:spChg chg="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25" creationId="{FB204F54-A0D3-9B51-7258-F2CD3C11931C}"/>
          </ac:spMkLst>
        </pc:spChg>
        <pc:spChg chg="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26" creationId="{778D14AA-E1F6-DE46-2DEB-6735717FBBC2}"/>
          </ac:spMkLst>
        </pc:spChg>
        <pc:spChg chg="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27" creationId="{44487910-740C-A904-863E-CFB6761ACF44}"/>
          </ac:spMkLst>
        </pc:spChg>
        <pc:spChg chg="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28" creationId="{B8662B44-C427-9A8F-3E47-10055AA034AB}"/>
          </ac:spMkLst>
        </pc:spChg>
        <pc:spChg chg="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29" creationId="{CCB5EFB7-C976-FFD3-4D84-77E3E78477AB}"/>
          </ac:spMkLst>
        </pc:spChg>
        <pc:spChg chg="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30" creationId="{82D81056-F399-59D6-EF63-2175CE0F2882}"/>
          </ac:spMkLst>
        </pc:spChg>
        <pc:spChg chg="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31" creationId="{759B0E3C-E3E0-A97D-DBA1-BD97FD4AF86D}"/>
          </ac:spMkLst>
        </pc:spChg>
        <pc:spChg chg="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35" creationId="{AE13CD89-3069-FD3C-D651-B09041905B80}"/>
          </ac:spMkLst>
        </pc:spChg>
        <pc:spChg chg="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36" creationId="{BC60F28C-1F28-FE6C-130B-F26A104FAE54}"/>
          </ac:spMkLst>
        </pc:spChg>
        <pc:spChg chg="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37" creationId="{F5B92749-7FE1-3118-B53E-A5C0A7EAA190}"/>
          </ac:spMkLst>
        </pc:spChg>
        <pc:spChg chg="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38" creationId="{EF927286-534E-5183-0D25-4242106D034D}"/>
          </ac:spMkLst>
        </pc:spChg>
        <pc:spChg chg="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39" creationId="{C1F0EC60-1972-FF4B-ED11-74E967096364}"/>
          </ac:spMkLst>
        </pc:spChg>
        <pc:spChg chg="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40" creationId="{D27BF92F-3273-1628-4374-25A42A206582}"/>
          </ac:spMkLst>
        </pc:spChg>
        <pc:spChg chg="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41" creationId="{BA326B56-5BF6-EDA3-D9C9-AABF35D999C0}"/>
          </ac:spMkLst>
        </pc:spChg>
        <pc:spChg chg="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42" creationId="{CF2E5B46-FF93-E78F-F51A-DFFBB3A8FE55}"/>
          </ac:spMkLst>
        </pc:spChg>
        <pc:spChg chg="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43" creationId="{A7B80102-1ACB-350D-BC62-FAA75AFFE234}"/>
          </ac:spMkLst>
        </pc:spChg>
        <pc:spChg chg="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44" creationId="{2BC9829A-AFE1-C200-1861-0856DCE43CA3}"/>
          </ac:spMkLst>
        </pc:spChg>
        <pc:spChg chg="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48" creationId="{85010F71-3C0A-2058-406E-1055F1362F55}"/>
          </ac:spMkLst>
        </pc:spChg>
        <pc:spChg chg="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49" creationId="{C21A09F7-7B9C-E538-BA00-E9E3FC6FB7C4}"/>
          </ac:spMkLst>
        </pc:spChg>
        <pc:spChg chg="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50" creationId="{F23ADBBB-291F-4B9A-1555-03EB72C0F500}"/>
          </ac:spMkLst>
        </pc:spChg>
        <pc:spChg chg="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51" creationId="{A43C27EF-8EA0-B3C8-2D0E-0021EE0FB2D4}"/>
          </ac:spMkLst>
        </pc:spChg>
        <pc:spChg chg="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52" creationId="{4B0A5EA2-FFA9-DBCE-3703-1D6889251C58}"/>
          </ac:spMkLst>
        </pc:spChg>
        <pc:spChg chg="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53" creationId="{6A6DBCA3-4952-E44D-EDA9-0DA98A2EE0B2}"/>
          </ac:spMkLst>
        </pc:spChg>
        <pc:spChg chg="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54" creationId="{0E75276B-D875-A465-62B4-3CAD6A8088DF}"/>
          </ac:spMkLst>
        </pc:spChg>
        <pc:spChg chg="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55" creationId="{C6EFD6F2-83EC-115D-1709-C3C25455049A}"/>
          </ac:spMkLst>
        </pc:spChg>
        <pc:spChg chg="mod">
          <ac:chgData name="Markus Albuscheit" userId="4f7fce57-5076-4fe0-a4ff-e69de3a8985e" providerId="ADAL" clId="{0ACAEE19-1F3C-44E9-AA98-7871674C48E4}" dt="2023-12-14T22:46:45.917" v="7929" actId="1076"/>
          <ac:spMkLst>
            <pc:docMk/>
            <pc:sldMk cId="3821923725" sldId="2147477083"/>
            <ac:spMk id="56" creationId="{FB45EB36-9226-7DFF-F6C6-BCC976A829CE}"/>
          </ac:spMkLst>
        </pc:spChg>
        <pc:spChg chg="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57" creationId="{7E08F500-02E7-8814-6157-ADED6E091211}"/>
          </ac:spMkLst>
        </pc:spChg>
        <pc:spChg chg="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58" creationId="{872446C1-2121-ED91-0B90-7B317788FBA1}"/>
          </ac:spMkLst>
        </pc:spChg>
        <pc:spChg chg="del mod">
          <ac:chgData name="Markus Albuscheit" userId="4f7fce57-5076-4fe0-a4ff-e69de3a8985e" providerId="ADAL" clId="{0ACAEE19-1F3C-44E9-AA98-7871674C48E4}" dt="2023-12-14T22:43:18.174" v="7896" actId="478"/>
          <ac:spMkLst>
            <pc:docMk/>
            <pc:sldMk cId="3821923725" sldId="2147477083"/>
            <ac:spMk id="59" creationId="{8C7167B1-965A-6DF8-DE1A-2F65CC64E497}"/>
          </ac:spMkLst>
        </pc:spChg>
        <pc:spChg chg="mod or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60" creationId="{D5EC88EA-1C9C-6C4C-EF68-2FEC668BC645}"/>
          </ac:spMkLst>
        </pc:spChg>
        <pc:spChg chg="del mod">
          <ac:chgData name="Markus Albuscheit" userId="4f7fce57-5076-4fe0-a4ff-e69de3a8985e" providerId="ADAL" clId="{0ACAEE19-1F3C-44E9-AA98-7871674C48E4}" dt="2023-12-14T22:45:06.662" v="7916" actId="478"/>
          <ac:spMkLst>
            <pc:docMk/>
            <pc:sldMk cId="3821923725" sldId="2147477083"/>
            <ac:spMk id="61" creationId="{388CFFE2-3469-9215-5671-E5F1AAFD1EEA}"/>
          </ac:spMkLst>
        </pc:spChg>
        <pc:spChg chg="mod or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62" creationId="{380D3E15-596B-792B-827C-88629A4DF8DF}"/>
          </ac:spMkLst>
        </pc:spChg>
        <pc:spChg chg="add mod">
          <ac:chgData name="Markus Albuscheit" userId="4f7fce57-5076-4fe0-a4ff-e69de3a8985e" providerId="ADAL" clId="{0ACAEE19-1F3C-44E9-AA98-7871674C48E4}" dt="2023-12-14T22:46:45.917" v="7929" actId="1076"/>
          <ac:spMkLst>
            <pc:docMk/>
            <pc:sldMk cId="3821923725" sldId="2147477083"/>
            <ac:spMk id="65" creationId="{DC8BA465-F450-81D9-EEFB-179AADF0BD19}"/>
          </ac:spMkLst>
        </pc:spChg>
        <pc:spChg chg="add mod">
          <ac:chgData name="Markus Albuscheit" userId="4f7fce57-5076-4fe0-a4ff-e69de3a8985e" providerId="ADAL" clId="{0ACAEE19-1F3C-44E9-AA98-7871674C48E4}" dt="2023-12-14T22:46:45.917" v="7929" actId="1076"/>
          <ac:spMkLst>
            <pc:docMk/>
            <pc:sldMk cId="3821923725" sldId="2147477083"/>
            <ac:spMk id="66" creationId="{DAF26798-5C1B-137A-8ACA-61CB656817BB}"/>
          </ac:spMkLst>
        </pc:spChg>
        <pc:spChg chg="add mod">
          <ac:chgData name="Markus Albuscheit" userId="4f7fce57-5076-4fe0-a4ff-e69de3a8985e" providerId="ADAL" clId="{0ACAEE19-1F3C-44E9-AA98-7871674C48E4}" dt="2023-12-14T22:46:45.917" v="7929" actId="1076"/>
          <ac:spMkLst>
            <pc:docMk/>
            <pc:sldMk cId="3821923725" sldId="2147477083"/>
            <ac:spMk id="67" creationId="{EB845F73-F632-0A7A-2287-7CBEFF67C9AA}"/>
          </ac:spMkLst>
        </pc:spChg>
        <pc:spChg chg="mod">
          <ac:chgData name="Markus Albuscheit" userId="4f7fce57-5076-4fe0-a4ff-e69de3a8985e" providerId="ADAL" clId="{0ACAEE19-1F3C-44E9-AA98-7871674C48E4}" dt="2023-12-14T11:02:28.763" v="4341"/>
          <ac:spMkLst>
            <pc:docMk/>
            <pc:sldMk cId="3821923725" sldId="2147477083"/>
            <ac:spMk id="69" creationId="{0B154E7D-6A5E-6DEC-C1EA-410275329492}"/>
          </ac:spMkLst>
        </pc:spChg>
        <pc:spChg chg="mod">
          <ac:chgData name="Markus Albuscheit" userId="4f7fce57-5076-4fe0-a4ff-e69de3a8985e" providerId="ADAL" clId="{0ACAEE19-1F3C-44E9-AA98-7871674C48E4}" dt="2023-12-14T11:02:28.763" v="4341"/>
          <ac:spMkLst>
            <pc:docMk/>
            <pc:sldMk cId="3821923725" sldId="2147477083"/>
            <ac:spMk id="70" creationId="{093C86D0-F236-B3F5-6D75-BC5ED0E22409}"/>
          </ac:spMkLst>
        </pc:spChg>
        <pc:spChg chg="mod">
          <ac:chgData name="Markus Albuscheit" userId="4f7fce57-5076-4fe0-a4ff-e69de3a8985e" providerId="ADAL" clId="{0ACAEE19-1F3C-44E9-AA98-7871674C48E4}" dt="2023-12-14T11:02:28.763" v="4341"/>
          <ac:spMkLst>
            <pc:docMk/>
            <pc:sldMk cId="3821923725" sldId="2147477083"/>
            <ac:spMk id="71" creationId="{A7E8808B-2990-5523-8363-DBC65704F740}"/>
          </ac:spMkLst>
        </pc:spChg>
        <pc:spChg chg="mod">
          <ac:chgData name="Markus Albuscheit" userId="4f7fce57-5076-4fe0-a4ff-e69de3a8985e" providerId="ADAL" clId="{0ACAEE19-1F3C-44E9-AA98-7871674C48E4}" dt="2023-12-14T11:02:28.763" v="4341"/>
          <ac:spMkLst>
            <pc:docMk/>
            <pc:sldMk cId="3821923725" sldId="2147477083"/>
            <ac:spMk id="73" creationId="{0E83D3AF-00E8-65AB-4601-AEC9603A76CF}"/>
          </ac:spMkLst>
        </pc:spChg>
        <pc:spChg chg="mod">
          <ac:chgData name="Markus Albuscheit" userId="4f7fce57-5076-4fe0-a4ff-e69de3a8985e" providerId="ADAL" clId="{0ACAEE19-1F3C-44E9-AA98-7871674C48E4}" dt="2023-12-14T11:02:28.763" v="4341"/>
          <ac:spMkLst>
            <pc:docMk/>
            <pc:sldMk cId="3821923725" sldId="2147477083"/>
            <ac:spMk id="74" creationId="{693AF103-6DD3-C70E-FD82-353D4619AE10}"/>
          </ac:spMkLst>
        </pc:spChg>
        <pc:spChg chg="mod">
          <ac:chgData name="Markus Albuscheit" userId="4f7fce57-5076-4fe0-a4ff-e69de3a8985e" providerId="ADAL" clId="{0ACAEE19-1F3C-44E9-AA98-7871674C48E4}" dt="2023-12-14T11:02:28.763" v="4341"/>
          <ac:spMkLst>
            <pc:docMk/>
            <pc:sldMk cId="3821923725" sldId="2147477083"/>
            <ac:spMk id="75" creationId="{6EB04DFC-059A-6BC9-059B-23B4DBA11FFF}"/>
          </ac:spMkLst>
        </pc:spChg>
        <pc:spChg chg="mod">
          <ac:chgData name="Markus Albuscheit" userId="4f7fce57-5076-4fe0-a4ff-e69de3a8985e" providerId="ADAL" clId="{0ACAEE19-1F3C-44E9-AA98-7871674C48E4}" dt="2023-12-14T11:02:28.763" v="4341"/>
          <ac:spMkLst>
            <pc:docMk/>
            <pc:sldMk cId="3821923725" sldId="2147477083"/>
            <ac:spMk id="77" creationId="{3107C8A5-F39C-E891-6678-3A43E26EBF95}"/>
          </ac:spMkLst>
        </pc:spChg>
        <pc:spChg chg="mod">
          <ac:chgData name="Markus Albuscheit" userId="4f7fce57-5076-4fe0-a4ff-e69de3a8985e" providerId="ADAL" clId="{0ACAEE19-1F3C-44E9-AA98-7871674C48E4}" dt="2023-12-14T11:02:28.763" v="4341"/>
          <ac:spMkLst>
            <pc:docMk/>
            <pc:sldMk cId="3821923725" sldId="2147477083"/>
            <ac:spMk id="78" creationId="{F4819B8C-2EAD-AD0D-0837-17D693A61E03}"/>
          </ac:spMkLst>
        </pc:spChg>
        <pc:spChg chg="mod">
          <ac:chgData name="Markus Albuscheit" userId="4f7fce57-5076-4fe0-a4ff-e69de3a8985e" providerId="ADAL" clId="{0ACAEE19-1F3C-44E9-AA98-7871674C48E4}" dt="2023-12-14T11:02:28.763" v="4341"/>
          <ac:spMkLst>
            <pc:docMk/>
            <pc:sldMk cId="3821923725" sldId="2147477083"/>
            <ac:spMk id="79" creationId="{A73BEF31-2E68-9DEC-F24D-B98851A41131}"/>
          </ac:spMkLst>
        </pc:spChg>
        <pc:spChg chg="add mod">
          <ac:chgData name="Markus Albuscheit" userId="4f7fce57-5076-4fe0-a4ff-e69de3a8985e" providerId="ADAL" clId="{0ACAEE19-1F3C-44E9-AA98-7871674C48E4}" dt="2023-12-14T22:46:56.128" v="7930" actId="1076"/>
          <ac:spMkLst>
            <pc:docMk/>
            <pc:sldMk cId="3821923725" sldId="2147477083"/>
            <ac:spMk id="80" creationId="{540E20B1-4035-1290-3941-48F39A8032A5}"/>
          </ac:spMkLst>
        </pc:spChg>
        <pc:spChg chg="add mod">
          <ac:chgData name="Markus Albuscheit" userId="4f7fce57-5076-4fe0-a4ff-e69de3a8985e" providerId="ADAL" clId="{0ACAEE19-1F3C-44E9-AA98-7871674C48E4}" dt="2023-12-14T22:46:56.128" v="7930" actId="1076"/>
          <ac:spMkLst>
            <pc:docMk/>
            <pc:sldMk cId="3821923725" sldId="2147477083"/>
            <ac:spMk id="81" creationId="{B30CC3AF-2FA8-B7E6-56C6-3EAC5EC853E2}"/>
          </ac:spMkLst>
        </pc:spChg>
        <pc:spChg chg="add mod">
          <ac:chgData name="Markus Albuscheit" userId="4f7fce57-5076-4fe0-a4ff-e69de3a8985e" providerId="ADAL" clId="{0ACAEE19-1F3C-44E9-AA98-7871674C48E4}" dt="2023-12-14T22:46:56.128" v="7930" actId="1076"/>
          <ac:spMkLst>
            <pc:docMk/>
            <pc:sldMk cId="3821923725" sldId="2147477083"/>
            <ac:spMk id="82" creationId="{9F46E846-A807-EB3F-C100-6F20A693451F}"/>
          </ac:spMkLst>
        </pc:spChg>
        <pc:spChg chg="del mod">
          <ac:chgData name="Markus Albuscheit" userId="4f7fce57-5076-4fe0-a4ff-e69de3a8985e" providerId="ADAL" clId="{0ACAEE19-1F3C-44E9-AA98-7871674C48E4}" dt="2023-12-14T14:46:07.466" v="6659" actId="478"/>
          <ac:spMkLst>
            <pc:docMk/>
            <pc:sldMk cId="3821923725" sldId="2147477083"/>
            <ac:spMk id="83" creationId="{5987AD36-8DD6-B7F0-1492-98936955204F}"/>
          </ac:spMkLst>
        </pc:spChg>
        <pc:spChg chg="add mod">
          <ac:chgData name="Markus Albuscheit" userId="4f7fce57-5076-4fe0-a4ff-e69de3a8985e" providerId="ADAL" clId="{0ACAEE19-1F3C-44E9-AA98-7871674C48E4}" dt="2023-12-14T22:45:34.868" v="7921" actId="1076"/>
          <ac:spMkLst>
            <pc:docMk/>
            <pc:sldMk cId="3821923725" sldId="2147477083"/>
            <ac:spMk id="83" creationId="{791B249A-C254-FCD0-8DC6-B6D8D509E7DD}"/>
          </ac:spMkLst>
        </pc:spChg>
        <pc:grpChg chg="mod">
          <ac:chgData name="Markus Albuscheit" userId="4f7fce57-5076-4fe0-a4ff-e69de3a8985e" providerId="ADAL" clId="{0ACAEE19-1F3C-44E9-AA98-7871674C48E4}" dt="2023-12-14T10:59:04.694" v="4301" actId="1076"/>
          <ac:grpSpMkLst>
            <pc:docMk/>
            <pc:sldMk cId="3821923725" sldId="2147477083"/>
            <ac:grpSpMk id="10" creationId="{EF20D02E-C1D6-DDE0-1EA6-795BB4751D3E}"/>
          </ac:grpSpMkLst>
        </pc:grpChg>
        <pc:grpChg chg="add mod">
          <ac:chgData name="Markus Albuscheit" userId="4f7fce57-5076-4fe0-a4ff-e69de3a8985e" providerId="ADAL" clId="{0ACAEE19-1F3C-44E9-AA98-7871674C48E4}" dt="2023-12-14T22:46:56.128" v="7930" actId="1076"/>
          <ac:grpSpMkLst>
            <pc:docMk/>
            <pc:sldMk cId="3821923725" sldId="2147477083"/>
            <ac:grpSpMk id="68" creationId="{AE9C85C4-5982-FAD1-ADBD-AAF80AEF84BA}"/>
          </ac:grpSpMkLst>
        </pc:grpChg>
        <pc:grpChg chg="add mod">
          <ac:chgData name="Markus Albuscheit" userId="4f7fce57-5076-4fe0-a4ff-e69de3a8985e" providerId="ADAL" clId="{0ACAEE19-1F3C-44E9-AA98-7871674C48E4}" dt="2023-12-14T22:46:56.128" v="7930" actId="1076"/>
          <ac:grpSpMkLst>
            <pc:docMk/>
            <pc:sldMk cId="3821923725" sldId="2147477083"/>
            <ac:grpSpMk id="72" creationId="{E6239F20-A609-C709-58C7-6AB0EEAF1EAA}"/>
          </ac:grpSpMkLst>
        </pc:grpChg>
        <pc:grpChg chg="add mod">
          <ac:chgData name="Markus Albuscheit" userId="4f7fce57-5076-4fe0-a4ff-e69de3a8985e" providerId="ADAL" clId="{0ACAEE19-1F3C-44E9-AA98-7871674C48E4}" dt="2023-12-14T22:46:56.128" v="7930" actId="1076"/>
          <ac:grpSpMkLst>
            <pc:docMk/>
            <pc:sldMk cId="3821923725" sldId="2147477083"/>
            <ac:grpSpMk id="76" creationId="{427A1F92-B819-F14F-1ED9-ECA25E3E472A}"/>
          </ac:grpSpMkLst>
        </pc:grpChg>
        <pc:picChg chg="add mod">
          <ac:chgData name="Markus Albuscheit" userId="4f7fce57-5076-4fe0-a4ff-e69de3a8985e" providerId="ADAL" clId="{0ACAEE19-1F3C-44E9-AA98-7871674C48E4}" dt="2023-12-14T22:46:45.917" v="7929" actId="1076"/>
          <ac:picMkLst>
            <pc:docMk/>
            <pc:sldMk cId="3821923725" sldId="2147477083"/>
            <ac:picMk id="7" creationId="{224A3D6D-193F-742E-2B7C-93D949C8E1B2}"/>
          </ac:picMkLst>
        </pc:picChg>
        <pc:picChg chg="mod">
          <ac:chgData name="Markus Albuscheit" userId="4f7fce57-5076-4fe0-a4ff-e69de3a8985e" providerId="ADAL" clId="{0ACAEE19-1F3C-44E9-AA98-7871674C48E4}" dt="2023-12-14T22:40:10.476" v="7794" actId="1037"/>
          <ac:picMkLst>
            <pc:docMk/>
            <pc:sldMk cId="3821923725" sldId="2147477083"/>
            <ac:picMk id="13" creationId="{5905BC56-F8DE-36F8-3EE7-66819B9E5DDE}"/>
          </ac:picMkLst>
        </pc:picChg>
        <pc:picChg chg="mod">
          <ac:chgData name="Markus Albuscheit" userId="4f7fce57-5076-4fe0-a4ff-e69de3a8985e" providerId="ADAL" clId="{0ACAEE19-1F3C-44E9-AA98-7871674C48E4}" dt="2023-12-14T22:45:56.480" v="7925" actId="1076"/>
          <ac:picMkLst>
            <pc:docMk/>
            <pc:sldMk cId="3821923725" sldId="2147477083"/>
            <ac:picMk id="15" creationId="{6869852B-3A0D-DD91-9878-B540225A4373}"/>
          </ac:picMkLst>
        </pc:picChg>
        <pc:picChg chg="mod">
          <ac:chgData name="Markus Albuscheit" userId="4f7fce57-5076-4fe0-a4ff-e69de3a8985e" providerId="ADAL" clId="{0ACAEE19-1F3C-44E9-AA98-7871674C48E4}" dt="2023-12-14T22:40:10.476" v="7794" actId="1037"/>
          <ac:picMkLst>
            <pc:docMk/>
            <pc:sldMk cId="3821923725" sldId="2147477083"/>
            <ac:picMk id="16" creationId="{170EFF63-ECC7-6053-66A4-1ABF3D6F4C4E}"/>
          </ac:picMkLst>
        </pc:picChg>
        <pc:picChg chg="mod">
          <ac:chgData name="Markus Albuscheit" userId="4f7fce57-5076-4fe0-a4ff-e69de3a8985e" providerId="ADAL" clId="{0ACAEE19-1F3C-44E9-AA98-7871674C48E4}" dt="2023-12-14T22:45:34.868" v="7921" actId="1076"/>
          <ac:picMkLst>
            <pc:docMk/>
            <pc:sldMk cId="3821923725" sldId="2147477083"/>
            <ac:picMk id="19" creationId="{9C915977-B792-0558-A718-558C5F073D5A}"/>
          </ac:picMkLst>
        </pc:picChg>
        <pc:picChg chg="mod">
          <ac:chgData name="Markus Albuscheit" userId="4f7fce57-5076-4fe0-a4ff-e69de3a8985e" providerId="ADAL" clId="{0ACAEE19-1F3C-44E9-AA98-7871674C48E4}" dt="2023-12-14T22:45:34.868" v="7921" actId="1076"/>
          <ac:picMkLst>
            <pc:docMk/>
            <pc:sldMk cId="3821923725" sldId="2147477083"/>
            <ac:picMk id="20" creationId="{050BD204-35CA-4857-3BF9-9E262ED8B0B2}"/>
          </ac:picMkLst>
        </pc:picChg>
        <pc:picChg chg="mod">
          <ac:chgData name="Markus Albuscheit" userId="4f7fce57-5076-4fe0-a4ff-e69de3a8985e" providerId="ADAL" clId="{0ACAEE19-1F3C-44E9-AA98-7871674C48E4}" dt="2023-12-14T22:45:34.868" v="7921" actId="1076"/>
          <ac:picMkLst>
            <pc:docMk/>
            <pc:sldMk cId="3821923725" sldId="2147477083"/>
            <ac:picMk id="21" creationId="{4ED27BB9-6CD4-3BD9-DC6A-BEC8769FA714}"/>
          </ac:picMkLst>
        </pc:picChg>
        <pc:picChg chg="mod">
          <ac:chgData name="Markus Albuscheit" userId="4f7fce57-5076-4fe0-a4ff-e69de3a8985e" providerId="ADAL" clId="{0ACAEE19-1F3C-44E9-AA98-7871674C48E4}" dt="2023-12-14T22:45:34.868" v="7921" actId="1076"/>
          <ac:picMkLst>
            <pc:docMk/>
            <pc:sldMk cId="3821923725" sldId="2147477083"/>
            <ac:picMk id="32" creationId="{C60AE1C8-E676-C8D0-7D1D-CEF6EE8F151B}"/>
          </ac:picMkLst>
        </pc:picChg>
        <pc:picChg chg="mod">
          <ac:chgData name="Markus Albuscheit" userId="4f7fce57-5076-4fe0-a4ff-e69de3a8985e" providerId="ADAL" clId="{0ACAEE19-1F3C-44E9-AA98-7871674C48E4}" dt="2023-12-14T22:45:34.868" v="7921" actId="1076"/>
          <ac:picMkLst>
            <pc:docMk/>
            <pc:sldMk cId="3821923725" sldId="2147477083"/>
            <ac:picMk id="33" creationId="{5B646D70-2DBC-1D5A-3810-602BA27218E4}"/>
          </ac:picMkLst>
        </pc:picChg>
        <pc:picChg chg="mod">
          <ac:chgData name="Markus Albuscheit" userId="4f7fce57-5076-4fe0-a4ff-e69de3a8985e" providerId="ADAL" clId="{0ACAEE19-1F3C-44E9-AA98-7871674C48E4}" dt="2023-12-14T22:45:34.868" v="7921" actId="1076"/>
          <ac:picMkLst>
            <pc:docMk/>
            <pc:sldMk cId="3821923725" sldId="2147477083"/>
            <ac:picMk id="34" creationId="{BAF8A7E2-1224-D36A-63C1-5801EA6E3DD3}"/>
          </ac:picMkLst>
        </pc:picChg>
        <pc:picChg chg="mod">
          <ac:chgData name="Markus Albuscheit" userId="4f7fce57-5076-4fe0-a4ff-e69de3a8985e" providerId="ADAL" clId="{0ACAEE19-1F3C-44E9-AA98-7871674C48E4}" dt="2023-12-14T22:45:34.868" v="7921" actId="1076"/>
          <ac:picMkLst>
            <pc:docMk/>
            <pc:sldMk cId="3821923725" sldId="2147477083"/>
            <ac:picMk id="45" creationId="{71EBD219-FC04-1549-F426-528E86CF895E}"/>
          </ac:picMkLst>
        </pc:picChg>
        <pc:picChg chg="mod">
          <ac:chgData name="Markus Albuscheit" userId="4f7fce57-5076-4fe0-a4ff-e69de3a8985e" providerId="ADAL" clId="{0ACAEE19-1F3C-44E9-AA98-7871674C48E4}" dt="2023-12-14T22:45:34.868" v="7921" actId="1076"/>
          <ac:picMkLst>
            <pc:docMk/>
            <pc:sldMk cId="3821923725" sldId="2147477083"/>
            <ac:picMk id="46" creationId="{8D47294C-E2C2-6D66-3BB2-0139DB983090}"/>
          </ac:picMkLst>
        </pc:picChg>
        <pc:picChg chg="mod">
          <ac:chgData name="Markus Albuscheit" userId="4f7fce57-5076-4fe0-a4ff-e69de3a8985e" providerId="ADAL" clId="{0ACAEE19-1F3C-44E9-AA98-7871674C48E4}" dt="2023-12-14T22:45:34.868" v="7921" actId="1076"/>
          <ac:picMkLst>
            <pc:docMk/>
            <pc:sldMk cId="3821923725" sldId="2147477083"/>
            <ac:picMk id="47" creationId="{99FC52A3-FD14-E422-6DC4-A34EFDE27EEF}"/>
          </ac:picMkLst>
        </pc:picChg>
        <pc:picChg chg="add mod">
          <ac:chgData name="Markus Albuscheit" userId="4f7fce57-5076-4fe0-a4ff-e69de3a8985e" providerId="ADAL" clId="{0ACAEE19-1F3C-44E9-AA98-7871674C48E4}" dt="2023-12-14T22:46:45.917" v="7929" actId="1076"/>
          <ac:picMkLst>
            <pc:docMk/>
            <pc:sldMk cId="3821923725" sldId="2147477083"/>
            <ac:picMk id="63" creationId="{30A7F4A7-E70E-03D8-4CD0-F4C7C8C8C4A4}"/>
          </ac:picMkLst>
        </pc:picChg>
        <pc:picChg chg="add mod">
          <ac:chgData name="Markus Albuscheit" userId="4f7fce57-5076-4fe0-a4ff-e69de3a8985e" providerId="ADAL" clId="{0ACAEE19-1F3C-44E9-AA98-7871674C48E4}" dt="2023-12-14T22:46:45.917" v="7929" actId="1076"/>
          <ac:picMkLst>
            <pc:docMk/>
            <pc:sldMk cId="3821923725" sldId="2147477083"/>
            <ac:picMk id="64" creationId="{43EF9199-4544-E4F8-0995-F9785DEEA53E}"/>
          </ac:picMkLst>
        </pc:picChg>
        <pc:picChg chg="add del">
          <ac:chgData name="Markus Albuscheit" userId="4f7fce57-5076-4fe0-a4ff-e69de3a8985e" providerId="ADAL" clId="{0ACAEE19-1F3C-44E9-AA98-7871674C48E4}" dt="2023-12-14T22:38:53.724" v="7755" actId="478"/>
          <ac:picMkLst>
            <pc:docMk/>
            <pc:sldMk cId="3821923725" sldId="2147477083"/>
            <ac:picMk id="1026" creationId="{AE4AC9A8-F65F-01DC-3532-81AE34CE03FA}"/>
          </ac:picMkLst>
        </pc:picChg>
        <pc:picChg chg="add del">
          <ac:chgData name="Markus Albuscheit" userId="4f7fce57-5076-4fe0-a4ff-e69de3a8985e" providerId="ADAL" clId="{0ACAEE19-1F3C-44E9-AA98-7871674C48E4}" dt="2023-12-14T22:39:48.933" v="7757" actId="478"/>
          <ac:picMkLst>
            <pc:docMk/>
            <pc:sldMk cId="3821923725" sldId="2147477083"/>
            <ac:picMk id="1028" creationId="{66441730-C0B8-7C86-A86F-FAC3A4DB36B2}"/>
          </ac:picMkLst>
        </pc:picChg>
        <pc:picChg chg="add mod">
          <ac:chgData name="Markus Albuscheit" userId="4f7fce57-5076-4fe0-a4ff-e69de3a8985e" providerId="ADAL" clId="{0ACAEE19-1F3C-44E9-AA98-7871674C48E4}" dt="2023-12-14T22:50:27.441" v="7968" actId="1076"/>
          <ac:picMkLst>
            <pc:docMk/>
            <pc:sldMk cId="3821923725" sldId="2147477083"/>
            <ac:picMk id="1030" creationId="{792A9562-4FC8-EBE3-8412-A4378A0F68EE}"/>
          </ac:picMkLst>
        </pc:picChg>
      </pc:sldChg>
      <pc:sldChg chg="addSp delSp modSp new mod modClrScheme chgLayout">
        <pc:chgData name="Markus Albuscheit" userId="4f7fce57-5076-4fe0-a4ff-e69de3a8985e" providerId="ADAL" clId="{0ACAEE19-1F3C-44E9-AA98-7871674C48E4}" dt="2023-12-14T11:19:58.087" v="5484" actId="20577"/>
        <pc:sldMkLst>
          <pc:docMk/>
          <pc:sldMk cId="3186676543" sldId="2147477084"/>
        </pc:sldMkLst>
        <pc:spChg chg="del mod ord">
          <ac:chgData name="Markus Albuscheit" userId="4f7fce57-5076-4fe0-a4ff-e69de3a8985e" providerId="ADAL" clId="{0ACAEE19-1F3C-44E9-AA98-7871674C48E4}" dt="2023-12-14T11:19:30.667" v="5463" actId="700"/>
          <ac:spMkLst>
            <pc:docMk/>
            <pc:sldMk cId="3186676543" sldId="2147477084"/>
            <ac:spMk id="2" creationId="{F76F76D9-9376-2273-8281-6D4F092527C7}"/>
          </ac:spMkLst>
        </pc:spChg>
        <pc:spChg chg="del mod ord">
          <ac:chgData name="Markus Albuscheit" userId="4f7fce57-5076-4fe0-a4ff-e69de3a8985e" providerId="ADAL" clId="{0ACAEE19-1F3C-44E9-AA98-7871674C48E4}" dt="2023-12-14T11:19:30.667" v="5463" actId="700"/>
          <ac:spMkLst>
            <pc:docMk/>
            <pc:sldMk cId="3186676543" sldId="2147477084"/>
            <ac:spMk id="3" creationId="{2306F67E-0DB8-A39D-E40C-5685AFFDBFFB}"/>
          </ac:spMkLst>
        </pc:spChg>
        <pc:spChg chg="mod ord">
          <ac:chgData name="Markus Albuscheit" userId="4f7fce57-5076-4fe0-a4ff-e69de3a8985e" providerId="ADAL" clId="{0ACAEE19-1F3C-44E9-AA98-7871674C48E4}" dt="2023-12-14T11:19:30.667" v="5463" actId="700"/>
          <ac:spMkLst>
            <pc:docMk/>
            <pc:sldMk cId="3186676543" sldId="2147477084"/>
            <ac:spMk id="4" creationId="{B871D69C-7D86-1012-A674-37D12B7CC0F8}"/>
          </ac:spMkLst>
        </pc:spChg>
        <pc:spChg chg="mod ord">
          <ac:chgData name="Markus Albuscheit" userId="4f7fce57-5076-4fe0-a4ff-e69de3a8985e" providerId="ADAL" clId="{0ACAEE19-1F3C-44E9-AA98-7871674C48E4}" dt="2023-12-14T11:19:50.005" v="5479" actId="1076"/>
          <ac:spMkLst>
            <pc:docMk/>
            <pc:sldMk cId="3186676543" sldId="2147477084"/>
            <ac:spMk id="5" creationId="{38E01138-44D5-A71C-1AD6-AC07483426E6}"/>
          </ac:spMkLst>
        </pc:spChg>
        <pc:spChg chg="del mod ord">
          <ac:chgData name="Markus Albuscheit" userId="4f7fce57-5076-4fe0-a4ff-e69de3a8985e" providerId="ADAL" clId="{0ACAEE19-1F3C-44E9-AA98-7871674C48E4}" dt="2023-12-14T11:19:30.667" v="5463" actId="700"/>
          <ac:spMkLst>
            <pc:docMk/>
            <pc:sldMk cId="3186676543" sldId="2147477084"/>
            <ac:spMk id="6" creationId="{F0016C4B-7B7F-6FC2-B4AE-9AAD6F39B83F}"/>
          </ac:spMkLst>
        </pc:spChg>
        <pc:spChg chg="add mod ord">
          <ac:chgData name="Markus Albuscheit" userId="4f7fce57-5076-4fe0-a4ff-e69de3a8985e" providerId="ADAL" clId="{0ACAEE19-1F3C-44E9-AA98-7871674C48E4}" dt="2023-12-14T11:19:58.087" v="5484" actId="20577"/>
          <ac:spMkLst>
            <pc:docMk/>
            <pc:sldMk cId="3186676543" sldId="2147477084"/>
            <ac:spMk id="7" creationId="{A0B3B4E7-02EB-A204-1B01-3FB8A2286B15}"/>
          </ac:spMkLst>
        </pc:spChg>
        <pc:spChg chg="add del mod ord">
          <ac:chgData name="Markus Albuscheit" userId="4f7fce57-5076-4fe0-a4ff-e69de3a8985e" providerId="ADAL" clId="{0ACAEE19-1F3C-44E9-AA98-7871674C48E4}" dt="2023-12-14T11:19:53.337" v="5481" actId="478"/>
          <ac:spMkLst>
            <pc:docMk/>
            <pc:sldMk cId="3186676543" sldId="2147477084"/>
            <ac:spMk id="8" creationId="{A8692620-6227-A269-E09D-E49242392956}"/>
          </ac:spMkLst>
        </pc:spChg>
        <pc:spChg chg="add del mod ord">
          <ac:chgData name="Markus Albuscheit" userId="4f7fce57-5076-4fe0-a4ff-e69de3a8985e" providerId="ADAL" clId="{0ACAEE19-1F3C-44E9-AA98-7871674C48E4}" dt="2023-12-14T11:19:51.903" v="5480" actId="478"/>
          <ac:spMkLst>
            <pc:docMk/>
            <pc:sldMk cId="3186676543" sldId="2147477084"/>
            <ac:spMk id="9" creationId="{3844CFFF-EF1A-B8F6-4DC0-8EA1DF5C91AC}"/>
          </ac:spMkLst>
        </pc:spChg>
      </pc:sldChg>
      <pc:sldChg chg="modSp add mod ord">
        <pc:chgData name="Markus Albuscheit" userId="4f7fce57-5076-4fe0-a4ff-e69de3a8985e" providerId="ADAL" clId="{0ACAEE19-1F3C-44E9-AA98-7871674C48E4}" dt="2023-12-15T07:38:18.524" v="7972" actId="20577"/>
        <pc:sldMkLst>
          <pc:docMk/>
          <pc:sldMk cId="49291876" sldId="2147477085"/>
        </pc:sldMkLst>
        <pc:spChg chg="mod">
          <ac:chgData name="Markus Albuscheit" userId="4f7fce57-5076-4fe0-a4ff-e69de3a8985e" providerId="ADAL" clId="{0ACAEE19-1F3C-44E9-AA98-7871674C48E4}" dt="2023-12-15T07:38:18.524" v="7972" actId="20577"/>
          <ac:spMkLst>
            <pc:docMk/>
            <pc:sldMk cId="49291876" sldId="2147477085"/>
            <ac:spMk id="7" creationId="{A0B3B4E7-02EB-A204-1B01-3FB8A2286B15}"/>
          </ac:spMkLst>
        </pc:spChg>
      </pc:sldChg>
      <pc:sldChg chg="delSp modSp add mod ord">
        <pc:chgData name="Markus Albuscheit" userId="4f7fce57-5076-4fe0-a4ff-e69de3a8985e" providerId="ADAL" clId="{0ACAEE19-1F3C-44E9-AA98-7871674C48E4}" dt="2023-12-14T14:45:51.819" v="6648" actId="478"/>
        <pc:sldMkLst>
          <pc:docMk/>
          <pc:sldMk cId="3433202753" sldId="2147477086"/>
        </pc:sldMkLst>
        <pc:spChg chg="del">
          <ac:chgData name="Markus Albuscheit" userId="4f7fce57-5076-4fe0-a4ff-e69de3a8985e" providerId="ADAL" clId="{0ACAEE19-1F3C-44E9-AA98-7871674C48E4}" dt="2023-12-14T14:45:48.370" v="6647" actId="478"/>
          <ac:spMkLst>
            <pc:docMk/>
            <pc:sldMk cId="3433202753" sldId="2147477086"/>
            <ac:spMk id="2" creationId="{8542F44E-DC10-F1D7-DF5E-F5A957A82F1D}"/>
          </ac:spMkLst>
        </pc:spChg>
        <pc:spChg chg="del">
          <ac:chgData name="Markus Albuscheit" userId="4f7fce57-5076-4fe0-a4ff-e69de3a8985e" providerId="ADAL" clId="{0ACAEE19-1F3C-44E9-AA98-7871674C48E4}" dt="2023-12-14T14:45:51.819" v="6648" actId="478"/>
          <ac:spMkLst>
            <pc:docMk/>
            <pc:sldMk cId="3433202753" sldId="2147477086"/>
            <ac:spMk id="3" creationId="{73AB1F81-0C9C-415C-197E-E690E5397F68}"/>
          </ac:spMkLst>
        </pc:spChg>
        <pc:spChg chg="mod">
          <ac:chgData name="Markus Albuscheit" userId="4f7fce57-5076-4fe0-a4ff-e69de3a8985e" providerId="ADAL" clId="{0ACAEE19-1F3C-44E9-AA98-7871674C48E4}" dt="2023-12-14T14:45:46.727" v="6646" actId="20577"/>
          <ac:spMkLst>
            <pc:docMk/>
            <pc:sldMk cId="3433202753" sldId="2147477086"/>
            <ac:spMk id="7" creationId="{A0B3B4E7-02EB-A204-1B01-3FB8A2286B15}"/>
          </ac:spMkLst>
        </pc:spChg>
      </pc:sldChg>
      <pc:sldChg chg="addSp delSp modSp add mod ord delAnim modAnim modNotesTx">
        <pc:chgData name="Markus Albuscheit" userId="4f7fce57-5076-4fe0-a4ff-e69de3a8985e" providerId="ADAL" clId="{0ACAEE19-1F3C-44E9-AA98-7871674C48E4}" dt="2023-12-15T08:02:56.792" v="8049" actId="20577"/>
        <pc:sldMkLst>
          <pc:docMk/>
          <pc:sldMk cId="928319053" sldId="2147477087"/>
        </pc:sldMkLst>
        <pc:spChg chg="del">
          <ac:chgData name="Markus Albuscheit" userId="4f7fce57-5076-4fe0-a4ff-e69de3a8985e" providerId="ADAL" clId="{0ACAEE19-1F3C-44E9-AA98-7871674C48E4}" dt="2023-12-15T07:42:43.874" v="7994" actId="478"/>
          <ac:spMkLst>
            <pc:docMk/>
            <pc:sldMk cId="928319053" sldId="2147477087"/>
            <ac:spMk id="2" creationId="{AA3BF671-3283-AD04-E29E-F66DE392AB90}"/>
          </ac:spMkLst>
        </pc:spChg>
        <pc:spChg chg="mod">
          <ac:chgData name="Markus Albuscheit" userId="4f7fce57-5076-4fe0-a4ff-e69de3a8985e" providerId="ADAL" clId="{0ACAEE19-1F3C-44E9-AA98-7871674C48E4}" dt="2023-12-14T11:32:40.409" v="6086" actId="1076"/>
          <ac:spMkLst>
            <pc:docMk/>
            <pc:sldMk cId="928319053" sldId="2147477087"/>
            <ac:spMk id="4" creationId="{0ADE48C3-5B78-E086-EE44-BCF40AAA20C8}"/>
          </ac:spMkLst>
        </pc:spChg>
        <pc:spChg chg="mod">
          <ac:chgData name="Markus Albuscheit" userId="4f7fce57-5076-4fe0-a4ff-e69de3a8985e" providerId="ADAL" clId="{0ACAEE19-1F3C-44E9-AA98-7871674C48E4}" dt="2023-12-14T14:46:35.524" v="6672" actId="20577"/>
          <ac:spMkLst>
            <pc:docMk/>
            <pc:sldMk cId="928319053" sldId="2147477087"/>
            <ac:spMk id="5" creationId="{4E544419-D65E-039F-C114-E329B6CA574D}"/>
          </ac:spMkLst>
        </pc:spChg>
        <pc:spChg chg="mod">
          <ac:chgData name="Markus Albuscheit" userId="4f7fce57-5076-4fe0-a4ff-e69de3a8985e" providerId="ADAL" clId="{0ACAEE19-1F3C-44E9-AA98-7871674C48E4}" dt="2023-12-14T11:23:46.011" v="5578" actId="20577"/>
          <ac:spMkLst>
            <pc:docMk/>
            <pc:sldMk cId="928319053" sldId="2147477087"/>
            <ac:spMk id="6" creationId="{7CB53F27-7AB3-C594-83F2-7F716F6860D3}"/>
          </ac:spMkLst>
        </pc:spChg>
        <pc:spChg chg="del">
          <ac:chgData name="Markus Albuscheit" userId="4f7fce57-5076-4fe0-a4ff-e69de3a8985e" providerId="ADAL" clId="{0ACAEE19-1F3C-44E9-AA98-7871674C48E4}" dt="2023-12-14T11:23:49.952" v="5579" actId="478"/>
          <ac:spMkLst>
            <pc:docMk/>
            <pc:sldMk cId="928319053" sldId="2147477087"/>
            <ac:spMk id="8" creationId="{7793E73D-46A6-347C-D563-165C1D898DD1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9" creationId="{19E967C2-715B-632C-1E4E-0E7A74B4A632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14" creationId="{243114D7-9AA6-0403-F042-FF03D979227E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17" creationId="{34074313-61E8-F2E8-273C-8B7723FB0BF5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18" creationId="{AC8A4FE7-FD4C-B509-ADE7-9A10EF0D4F99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22" creationId="{19B4C74B-2CBF-A76A-5759-985BFA22E69C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23" creationId="{271976F1-654B-4634-BDA6-15D0F2DFE4B8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24" creationId="{D97EAC7E-5739-AD74-C370-FE819D712CF1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25" creationId="{FB204F54-A0D3-9B51-7258-F2CD3C11931C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26" creationId="{778D14AA-E1F6-DE46-2DEB-6735717FBBC2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27" creationId="{44487910-740C-A904-863E-CFB6761ACF44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28" creationId="{B8662B44-C427-9A8F-3E47-10055AA034AB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29" creationId="{CCB5EFB7-C976-FFD3-4D84-77E3E78477AB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30" creationId="{82D81056-F399-59D6-EF63-2175CE0F2882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31" creationId="{759B0E3C-E3E0-A97D-DBA1-BD97FD4AF86D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35" creationId="{AE13CD89-3069-FD3C-D651-B09041905B80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36" creationId="{BC60F28C-1F28-FE6C-130B-F26A104FAE54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37" creationId="{F5B92749-7FE1-3118-B53E-A5C0A7EAA190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38" creationId="{EF927286-534E-5183-0D25-4242106D034D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39" creationId="{C1F0EC60-1972-FF4B-ED11-74E967096364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40" creationId="{D27BF92F-3273-1628-4374-25A42A206582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41" creationId="{BA326B56-5BF6-EDA3-D9C9-AABF35D999C0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42" creationId="{CF2E5B46-FF93-E78F-F51A-DFFBB3A8FE55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43" creationId="{A7B80102-1ACB-350D-BC62-FAA75AFFE234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44" creationId="{2BC9829A-AFE1-C200-1861-0856DCE43CA3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48" creationId="{85010F71-3C0A-2058-406E-1055F1362F55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49" creationId="{C21A09F7-7B9C-E538-BA00-E9E3FC6FB7C4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50" creationId="{F23ADBBB-291F-4B9A-1555-03EB72C0F500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51" creationId="{A43C27EF-8EA0-B3C8-2D0E-0021EE0FB2D4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52" creationId="{4B0A5EA2-FFA9-DBCE-3703-1D6889251C58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53" creationId="{6A6DBCA3-4952-E44D-EDA9-0DA98A2EE0B2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54" creationId="{0E75276B-D875-A465-62B4-3CAD6A8088DF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55" creationId="{C6EFD6F2-83EC-115D-1709-C3C25455049A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56" creationId="{FB45EB36-9226-7DFF-F6C6-BCC976A829CE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57" creationId="{7E08F500-02E7-8814-6157-ADED6E091211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58" creationId="{872446C1-2121-ED91-0B90-7B317788FBA1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59" creationId="{8C7167B1-965A-6DF8-DE1A-2F65CC64E497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60" creationId="{D5EC88EA-1C9C-6C4C-EF68-2FEC668BC645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61" creationId="{388CFFE2-3469-9215-5671-E5F1AAFD1EEA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62" creationId="{380D3E15-596B-792B-827C-88629A4DF8DF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65" creationId="{DC8BA465-F450-81D9-EEFB-179AADF0BD19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66" creationId="{DAF26798-5C1B-137A-8ACA-61CB656817BB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67" creationId="{EB845F73-F632-0A7A-2287-7CBEFF67C9AA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80" creationId="{540E20B1-4035-1290-3941-48F39A8032A5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81" creationId="{B30CC3AF-2FA8-B7E6-56C6-3EAC5EC853E2}"/>
          </ac:spMkLst>
        </pc:spChg>
        <pc:spChg chg="del">
          <ac:chgData name="Markus Albuscheit" userId="4f7fce57-5076-4fe0-a4ff-e69de3a8985e" providerId="ADAL" clId="{0ACAEE19-1F3C-44E9-AA98-7871674C48E4}" dt="2023-12-14T11:23:06.609" v="5562" actId="478"/>
          <ac:spMkLst>
            <pc:docMk/>
            <pc:sldMk cId="928319053" sldId="2147477087"/>
            <ac:spMk id="82" creationId="{9F46E846-A807-EB3F-C100-6F20A693451F}"/>
          </ac:spMkLst>
        </pc:spChg>
        <pc:spChg chg="add mod">
          <ac:chgData name="Markus Albuscheit" userId="4f7fce57-5076-4fe0-a4ff-e69de3a8985e" providerId="ADAL" clId="{0ACAEE19-1F3C-44E9-AA98-7871674C48E4}" dt="2023-12-14T11:37:15.555" v="6215" actId="164"/>
          <ac:spMkLst>
            <pc:docMk/>
            <pc:sldMk cId="928319053" sldId="2147477087"/>
            <ac:spMk id="84" creationId="{28FA722F-A3BA-47D3-E0B3-51B37031135E}"/>
          </ac:spMkLst>
        </pc:spChg>
        <pc:spChg chg="add mod">
          <ac:chgData name="Markus Albuscheit" userId="4f7fce57-5076-4fe0-a4ff-e69de3a8985e" providerId="ADAL" clId="{0ACAEE19-1F3C-44E9-AA98-7871674C48E4}" dt="2023-12-14T14:41:03.707" v="6634" actId="20577"/>
          <ac:spMkLst>
            <pc:docMk/>
            <pc:sldMk cId="928319053" sldId="2147477087"/>
            <ac:spMk id="85" creationId="{2900D537-D1FD-A28D-7604-5E4584F3F57F}"/>
          </ac:spMkLst>
        </pc:spChg>
        <pc:spChg chg="add mod">
          <ac:chgData name="Markus Albuscheit" userId="4f7fce57-5076-4fe0-a4ff-e69de3a8985e" providerId="ADAL" clId="{0ACAEE19-1F3C-44E9-AA98-7871674C48E4}" dt="2023-12-14T11:37:15.555" v="6215" actId="164"/>
          <ac:spMkLst>
            <pc:docMk/>
            <pc:sldMk cId="928319053" sldId="2147477087"/>
            <ac:spMk id="86" creationId="{BB77234B-FC62-E787-C9DC-B36B6D1CF7AA}"/>
          </ac:spMkLst>
        </pc:spChg>
        <pc:spChg chg="add del mod">
          <ac:chgData name="Markus Albuscheit" userId="4f7fce57-5076-4fe0-a4ff-e69de3a8985e" providerId="ADAL" clId="{0ACAEE19-1F3C-44E9-AA98-7871674C48E4}" dt="2023-12-14T11:33:56.576" v="6087" actId="478"/>
          <ac:spMkLst>
            <pc:docMk/>
            <pc:sldMk cId="928319053" sldId="2147477087"/>
            <ac:spMk id="90" creationId="{C124B81A-C70F-71D9-C8C7-0BABA8931447}"/>
          </ac:spMkLst>
        </pc:spChg>
        <pc:spChg chg="add del mod">
          <ac:chgData name="Markus Albuscheit" userId="4f7fce57-5076-4fe0-a4ff-e69de3a8985e" providerId="ADAL" clId="{0ACAEE19-1F3C-44E9-AA98-7871674C48E4}" dt="2023-12-14T11:33:56.576" v="6087" actId="478"/>
          <ac:spMkLst>
            <pc:docMk/>
            <pc:sldMk cId="928319053" sldId="2147477087"/>
            <ac:spMk id="91" creationId="{E3222A85-EBA4-397C-C98D-531B368ADBC9}"/>
          </ac:spMkLst>
        </pc:spChg>
        <pc:spChg chg="add del mod">
          <ac:chgData name="Markus Albuscheit" userId="4f7fce57-5076-4fe0-a4ff-e69de3a8985e" providerId="ADAL" clId="{0ACAEE19-1F3C-44E9-AA98-7871674C48E4}" dt="2023-12-14T11:33:56.576" v="6087" actId="478"/>
          <ac:spMkLst>
            <pc:docMk/>
            <pc:sldMk cId="928319053" sldId="2147477087"/>
            <ac:spMk id="92" creationId="{0B060F9A-4D99-7665-80B1-C43706AADDFD}"/>
          </ac:spMkLst>
        </pc:spChg>
        <pc:spChg chg="add del mod">
          <ac:chgData name="Markus Albuscheit" userId="4f7fce57-5076-4fe0-a4ff-e69de3a8985e" providerId="ADAL" clId="{0ACAEE19-1F3C-44E9-AA98-7871674C48E4}" dt="2023-12-14T11:33:56.576" v="6087" actId="478"/>
          <ac:spMkLst>
            <pc:docMk/>
            <pc:sldMk cId="928319053" sldId="2147477087"/>
            <ac:spMk id="93" creationId="{56075B45-43E3-E318-C184-7C068824A001}"/>
          </ac:spMkLst>
        </pc:spChg>
        <pc:spChg chg="add del mod">
          <ac:chgData name="Markus Albuscheit" userId="4f7fce57-5076-4fe0-a4ff-e69de3a8985e" providerId="ADAL" clId="{0ACAEE19-1F3C-44E9-AA98-7871674C48E4}" dt="2023-12-14T11:33:56.576" v="6087" actId="478"/>
          <ac:spMkLst>
            <pc:docMk/>
            <pc:sldMk cId="928319053" sldId="2147477087"/>
            <ac:spMk id="94" creationId="{1F132B63-6A25-ABFE-7E9E-6FB15BDCA9D5}"/>
          </ac:spMkLst>
        </pc:spChg>
        <pc:spChg chg="add del mod">
          <ac:chgData name="Markus Albuscheit" userId="4f7fce57-5076-4fe0-a4ff-e69de3a8985e" providerId="ADAL" clId="{0ACAEE19-1F3C-44E9-AA98-7871674C48E4}" dt="2023-12-14T11:33:56.576" v="6087" actId="478"/>
          <ac:spMkLst>
            <pc:docMk/>
            <pc:sldMk cId="928319053" sldId="2147477087"/>
            <ac:spMk id="95" creationId="{C5189C53-E1F8-2120-3EB6-02F9D645250B}"/>
          </ac:spMkLst>
        </pc:spChg>
        <pc:spChg chg="add del mod">
          <ac:chgData name="Markus Albuscheit" userId="4f7fce57-5076-4fe0-a4ff-e69de3a8985e" providerId="ADAL" clId="{0ACAEE19-1F3C-44E9-AA98-7871674C48E4}" dt="2023-12-14T11:33:56.576" v="6087" actId="478"/>
          <ac:spMkLst>
            <pc:docMk/>
            <pc:sldMk cId="928319053" sldId="2147477087"/>
            <ac:spMk id="96" creationId="{D7B11951-AC1A-7745-DECE-E3B1E055342A}"/>
          </ac:spMkLst>
        </pc:spChg>
        <pc:spChg chg="add del mod">
          <ac:chgData name="Markus Albuscheit" userId="4f7fce57-5076-4fe0-a4ff-e69de3a8985e" providerId="ADAL" clId="{0ACAEE19-1F3C-44E9-AA98-7871674C48E4}" dt="2023-12-14T11:33:56.576" v="6087" actId="478"/>
          <ac:spMkLst>
            <pc:docMk/>
            <pc:sldMk cId="928319053" sldId="2147477087"/>
            <ac:spMk id="97" creationId="{8663C250-5D20-6CAB-037C-A66FB8789D10}"/>
          </ac:spMkLst>
        </pc:spChg>
        <pc:spChg chg="add del mod">
          <ac:chgData name="Markus Albuscheit" userId="4f7fce57-5076-4fe0-a4ff-e69de3a8985e" providerId="ADAL" clId="{0ACAEE19-1F3C-44E9-AA98-7871674C48E4}" dt="2023-12-14T11:33:56.576" v="6087" actId="478"/>
          <ac:spMkLst>
            <pc:docMk/>
            <pc:sldMk cId="928319053" sldId="2147477087"/>
            <ac:spMk id="98" creationId="{ADF27D75-E6D3-8212-184D-12043253850C}"/>
          </ac:spMkLst>
        </pc:spChg>
        <pc:spChg chg="add mod">
          <ac:chgData name="Markus Albuscheit" userId="4f7fce57-5076-4fe0-a4ff-e69de3a8985e" providerId="ADAL" clId="{0ACAEE19-1F3C-44E9-AA98-7871674C48E4}" dt="2023-12-14T11:37:15.555" v="6215" actId="164"/>
          <ac:spMkLst>
            <pc:docMk/>
            <pc:sldMk cId="928319053" sldId="2147477087"/>
            <ac:spMk id="99" creationId="{8D810BA0-27FC-302B-3149-3AC214746E91}"/>
          </ac:spMkLst>
        </pc:spChg>
        <pc:spChg chg="add del mod">
          <ac:chgData name="Markus Albuscheit" userId="4f7fce57-5076-4fe0-a4ff-e69de3a8985e" providerId="ADAL" clId="{0ACAEE19-1F3C-44E9-AA98-7871674C48E4}" dt="2023-12-14T11:33:56.576" v="6087" actId="478"/>
          <ac:spMkLst>
            <pc:docMk/>
            <pc:sldMk cId="928319053" sldId="2147477087"/>
            <ac:spMk id="103" creationId="{B6E42F21-F518-B24E-82C5-B7A63A2BC93A}"/>
          </ac:spMkLst>
        </pc:spChg>
        <pc:spChg chg="add del mod">
          <ac:chgData name="Markus Albuscheit" userId="4f7fce57-5076-4fe0-a4ff-e69de3a8985e" providerId="ADAL" clId="{0ACAEE19-1F3C-44E9-AA98-7871674C48E4}" dt="2023-12-14T11:33:56.576" v="6087" actId="478"/>
          <ac:spMkLst>
            <pc:docMk/>
            <pc:sldMk cId="928319053" sldId="2147477087"/>
            <ac:spMk id="104" creationId="{B5404D43-209A-7D76-135A-B2454B2E0413}"/>
          </ac:spMkLst>
        </pc:spChg>
        <pc:spChg chg="add del mod">
          <ac:chgData name="Markus Albuscheit" userId="4f7fce57-5076-4fe0-a4ff-e69de3a8985e" providerId="ADAL" clId="{0ACAEE19-1F3C-44E9-AA98-7871674C48E4}" dt="2023-12-14T11:33:56.576" v="6087" actId="478"/>
          <ac:spMkLst>
            <pc:docMk/>
            <pc:sldMk cId="928319053" sldId="2147477087"/>
            <ac:spMk id="105" creationId="{E7B26515-CAB8-F4FC-ACA9-0BCD3D0AB53D}"/>
          </ac:spMkLst>
        </pc:spChg>
        <pc:spChg chg="add del mod">
          <ac:chgData name="Markus Albuscheit" userId="4f7fce57-5076-4fe0-a4ff-e69de3a8985e" providerId="ADAL" clId="{0ACAEE19-1F3C-44E9-AA98-7871674C48E4}" dt="2023-12-14T11:33:56.576" v="6087" actId="478"/>
          <ac:spMkLst>
            <pc:docMk/>
            <pc:sldMk cId="928319053" sldId="2147477087"/>
            <ac:spMk id="106" creationId="{B6576963-0919-1DAA-FEE1-A8566802AC30}"/>
          </ac:spMkLst>
        </pc:spChg>
        <pc:spChg chg="add del mod">
          <ac:chgData name="Markus Albuscheit" userId="4f7fce57-5076-4fe0-a4ff-e69de3a8985e" providerId="ADAL" clId="{0ACAEE19-1F3C-44E9-AA98-7871674C48E4}" dt="2023-12-14T11:33:56.576" v="6087" actId="478"/>
          <ac:spMkLst>
            <pc:docMk/>
            <pc:sldMk cId="928319053" sldId="2147477087"/>
            <ac:spMk id="107" creationId="{76117333-8DD6-0DCF-15FD-E6C2EC5C3D23}"/>
          </ac:spMkLst>
        </pc:spChg>
        <pc:spChg chg="add del mod">
          <ac:chgData name="Markus Albuscheit" userId="4f7fce57-5076-4fe0-a4ff-e69de3a8985e" providerId="ADAL" clId="{0ACAEE19-1F3C-44E9-AA98-7871674C48E4}" dt="2023-12-14T11:33:56.576" v="6087" actId="478"/>
          <ac:spMkLst>
            <pc:docMk/>
            <pc:sldMk cId="928319053" sldId="2147477087"/>
            <ac:spMk id="108" creationId="{AE29FA3D-51DF-C1AB-BAF0-F2EB5D3BD238}"/>
          </ac:spMkLst>
        </pc:spChg>
        <pc:spChg chg="add del mod">
          <ac:chgData name="Markus Albuscheit" userId="4f7fce57-5076-4fe0-a4ff-e69de3a8985e" providerId="ADAL" clId="{0ACAEE19-1F3C-44E9-AA98-7871674C48E4}" dt="2023-12-14T11:33:56.576" v="6087" actId="478"/>
          <ac:spMkLst>
            <pc:docMk/>
            <pc:sldMk cId="928319053" sldId="2147477087"/>
            <ac:spMk id="109" creationId="{475C933E-F912-517A-3BC8-6430768400C8}"/>
          </ac:spMkLst>
        </pc:spChg>
        <pc:spChg chg="add del mod">
          <ac:chgData name="Markus Albuscheit" userId="4f7fce57-5076-4fe0-a4ff-e69de3a8985e" providerId="ADAL" clId="{0ACAEE19-1F3C-44E9-AA98-7871674C48E4}" dt="2023-12-14T11:33:56.576" v="6087" actId="478"/>
          <ac:spMkLst>
            <pc:docMk/>
            <pc:sldMk cId="928319053" sldId="2147477087"/>
            <ac:spMk id="110" creationId="{0A151153-85E8-20FA-CCE4-B313E5F1B7BF}"/>
          </ac:spMkLst>
        </pc:spChg>
        <pc:spChg chg="add del mod">
          <ac:chgData name="Markus Albuscheit" userId="4f7fce57-5076-4fe0-a4ff-e69de3a8985e" providerId="ADAL" clId="{0ACAEE19-1F3C-44E9-AA98-7871674C48E4}" dt="2023-12-14T11:33:56.576" v="6087" actId="478"/>
          <ac:spMkLst>
            <pc:docMk/>
            <pc:sldMk cId="928319053" sldId="2147477087"/>
            <ac:spMk id="111" creationId="{3F37CB12-5F0C-A619-0215-003AC787B10E}"/>
          </ac:spMkLst>
        </pc:spChg>
        <pc:spChg chg="add mod">
          <ac:chgData name="Markus Albuscheit" userId="4f7fce57-5076-4fe0-a4ff-e69de3a8985e" providerId="ADAL" clId="{0ACAEE19-1F3C-44E9-AA98-7871674C48E4}" dt="2023-12-14T11:37:15.555" v="6215" actId="164"/>
          <ac:spMkLst>
            <pc:docMk/>
            <pc:sldMk cId="928319053" sldId="2147477087"/>
            <ac:spMk id="112" creationId="{72B33496-85FE-4DBE-EB19-F08349D252B6}"/>
          </ac:spMkLst>
        </pc:spChg>
        <pc:spChg chg="add del mod">
          <ac:chgData name="Markus Albuscheit" userId="4f7fce57-5076-4fe0-a4ff-e69de3a8985e" providerId="ADAL" clId="{0ACAEE19-1F3C-44E9-AA98-7871674C48E4}" dt="2023-12-14T11:33:56.576" v="6087" actId="478"/>
          <ac:spMkLst>
            <pc:docMk/>
            <pc:sldMk cId="928319053" sldId="2147477087"/>
            <ac:spMk id="116" creationId="{7A1F4D34-0EEA-B80B-859C-01C994844FB6}"/>
          </ac:spMkLst>
        </pc:spChg>
        <pc:spChg chg="add del mod">
          <ac:chgData name="Markus Albuscheit" userId="4f7fce57-5076-4fe0-a4ff-e69de3a8985e" providerId="ADAL" clId="{0ACAEE19-1F3C-44E9-AA98-7871674C48E4}" dt="2023-12-14T11:33:56.576" v="6087" actId="478"/>
          <ac:spMkLst>
            <pc:docMk/>
            <pc:sldMk cId="928319053" sldId="2147477087"/>
            <ac:spMk id="117" creationId="{376AC8C9-3BC7-7421-1659-3E23FD4C2F36}"/>
          </ac:spMkLst>
        </pc:spChg>
        <pc:spChg chg="add del mod">
          <ac:chgData name="Markus Albuscheit" userId="4f7fce57-5076-4fe0-a4ff-e69de3a8985e" providerId="ADAL" clId="{0ACAEE19-1F3C-44E9-AA98-7871674C48E4}" dt="2023-12-14T11:33:56.576" v="6087" actId="478"/>
          <ac:spMkLst>
            <pc:docMk/>
            <pc:sldMk cId="928319053" sldId="2147477087"/>
            <ac:spMk id="118" creationId="{6E286595-6023-0631-C0B0-B6CF2717CC1A}"/>
          </ac:spMkLst>
        </pc:spChg>
        <pc:spChg chg="add del mod">
          <ac:chgData name="Markus Albuscheit" userId="4f7fce57-5076-4fe0-a4ff-e69de3a8985e" providerId="ADAL" clId="{0ACAEE19-1F3C-44E9-AA98-7871674C48E4}" dt="2023-12-14T11:33:56.576" v="6087" actId="478"/>
          <ac:spMkLst>
            <pc:docMk/>
            <pc:sldMk cId="928319053" sldId="2147477087"/>
            <ac:spMk id="119" creationId="{29BB9A57-38A1-BA61-6D99-934C5D378E6A}"/>
          </ac:spMkLst>
        </pc:spChg>
        <pc:spChg chg="add del mod">
          <ac:chgData name="Markus Albuscheit" userId="4f7fce57-5076-4fe0-a4ff-e69de3a8985e" providerId="ADAL" clId="{0ACAEE19-1F3C-44E9-AA98-7871674C48E4}" dt="2023-12-14T11:33:56.576" v="6087" actId="478"/>
          <ac:spMkLst>
            <pc:docMk/>
            <pc:sldMk cId="928319053" sldId="2147477087"/>
            <ac:spMk id="120" creationId="{8710E476-8009-3176-BC02-1E78FF717C6C}"/>
          </ac:spMkLst>
        </pc:spChg>
        <pc:spChg chg="add del mod">
          <ac:chgData name="Markus Albuscheit" userId="4f7fce57-5076-4fe0-a4ff-e69de3a8985e" providerId="ADAL" clId="{0ACAEE19-1F3C-44E9-AA98-7871674C48E4}" dt="2023-12-14T11:33:56.576" v="6087" actId="478"/>
          <ac:spMkLst>
            <pc:docMk/>
            <pc:sldMk cId="928319053" sldId="2147477087"/>
            <ac:spMk id="121" creationId="{22598DAA-ABE0-CAF7-D62F-6581467E46BF}"/>
          </ac:spMkLst>
        </pc:spChg>
        <pc:spChg chg="add del mod">
          <ac:chgData name="Markus Albuscheit" userId="4f7fce57-5076-4fe0-a4ff-e69de3a8985e" providerId="ADAL" clId="{0ACAEE19-1F3C-44E9-AA98-7871674C48E4}" dt="2023-12-14T11:33:56.576" v="6087" actId="478"/>
          <ac:spMkLst>
            <pc:docMk/>
            <pc:sldMk cId="928319053" sldId="2147477087"/>
            <ac:spMk id="122" creationId="{79F7DE69-70A2-C639-E465-15F777B0D0DC}"/>
          </ac:spMkLst>
        </pc:spChg>
        <pc:spChg chg="add del mod">
          <ac:chgData name="Markus Albuscheit" userId="4f7fce57-5076-4fe0-a4ff-e69de3a8985e" providerId="ADAL" clId="{0ACAEE19-1F3C-44E9-AA98-7871674C48E4}" dt="2023-12-14T11:33:56.576" v="6087" actId="478"/>
          <ac:spMkLst>
            <pc:docMk/>
            <pc:sldMk cId="928319053" sldId="2147477087"/>
            <ac:spMk id="123" creationId="{74D73708-0E73-4417-D40F-093489B50184}"/>
          </ac:spMkLst>
        </pc:spChg>
        <pc:spChg chg="add del mod">
          <ac:chgData name="Markus Albuscheit" userId="4f7fce57-5076-4fe0-a4ff-e69de3a8985e" providerId="ADAL" clId="{0ACAEE19-1F3C-44E9-AA98-7871674C48E4}" dt="2023-12-14T11:33:56.576" v="6087" actId="478"/>
          <ac:spMkLst>
            <pc:docMk/>
            <pc:sldMk cId="928319053" sldId="2147477087"/>
            <ac:spMk id="124" creationId="{BDC8AEA9-A6DC-E258-BBEA-88A4D35F2E55}"/>
          </ac:spMkLst>
        </pc:spChg>
        <pc:spChg chg="add mod">
          <ac:chgData name="Markus Albuscheit" userId="4f7fce57-5076-4fe0-a4ff-e69de3a8985e" providerId="ADAL" clId="{0ACAEE19-1F3C-44E9-AA98-7871674C48E4}" dt="2023-12-14T11:37:15.555" v="6215" actId="164"/>
          <ac:spMkLst>
            <pc:docMk/>
            <pc:sldMk cId="928319053" sldId="2147477087"/>
            <ac:spMk id="125" creationId="{264DDF48-CB42-7366-AF37-03D20619331A}"/>
          </ac:spMkLst>
        </pc:spChg>
        <pc:spChg chg="add mod">
          <ac:chgData name="Markus Albuscheit" userId="4f7fce57-5076-4fe0-a4ff-e69de3a8985e" providerId="ADAL" clId="{0ACAEE19-1F3C-44E9-AA98-7871674C48E4}" dt="2023-12-14T11:37:15.555" v="6215" actId="164"/>
          <ac:spMkLst>
            <pc:docMk/>
            <pc:sldMk cId="928319053" sldId="2147477087"/>
            <ac:spMk id="126" creationId="{1E2312E8-0D5F-662F-5ECC-B1DBFFCCE0A3}"/>
          </ac:spMkLst>
        </pc:spChg>
        <pc:spChg chg="add mod">
          <ac:chgData name="Markus Albuscheit" userId="4f7fce57-5076-4fe0-a4ff-e69de3a8985e" providerId="ADAL" clId="{0ACAEE19-1F3C-44E9-AA98-7871674C48E4}" dt="2023-12-14T11:37:15.555" v="6215" actId="164"/>
          <ac:spMkLst>
            <pc:docMk/>
            <pc:sldMk cId="928319053" sldId="2147477087"/>
            <ac:spMk id="127" creationId="{31125012-07E3-9B6C-FEA4-11200DE62EF3}"/>
          </ac:spMkLst>
        </pc:spChg>
        <pc:spChg chg="add mod">
          <ac:chgData name="Markus Albuscheit" userId="4f7fce57-5076-4fe0-a4ff-e69de3a8985e" providerId="ADAL" clId="{0ACAEE19-1F3C-44E9-AA98-7871674C48E4}" dt="2023-12-14T11:37:15.555" v="6215" actId="164"/>
          <ac:spMkLst>
            <pc:docMk/>
            <pc:sldMk cId="928319053" sldId="2147477087"/>
            <ac:spMk id="128" creationId="{CD73C66B-74A9-A899-2EC3-C86DFDA43D8C}"/>
          </ac:spMkLst>
        </pc:spChg>
        <pc:spChg chg="add mod">
          <ac:chgData name="Markus Albuscheit" userId="4f7fce57-5076-4fe0-a4ff-e69de3a8985e" providerId="ADAL" clId="{0ACAEE19-1F3C-44E9-AA98-7871674C48E4}" dt="2023-12-14T11:37:15.555" v="6215" actId="164"/>
          <ac:spMkLst>
            <pc:docMk/>
            <pc:sldMk cId="928319053" sldId="2147477087"/>
            <ac:spMk id="129" creationId="{546CFB6E-D4D6-284C-703D-F658DD5945F3}"/>
          </ac:spMkLst>
        </pc:spChg>
        <pc:spChg chg="add mod">
          <ac:chgData name="Markus Albuscheit" userId="4f7fce57-5076-4fe0-a4ff-e69de3a8985e" providerId="ADAL" clId="{0ACAEE19-1F3C-44E9-AA98-7871674C48E4}" dt="2023-12-14T11:37:15.555" v="6215" actId="164"/>
          <ac:spMkLst>
            <pc:docMk/>
            <pc:sldMk cId="928319053" sldId="2147477087"/>
            <ac:spMk id="130" creationId="{0320CAC8-0F90-C7DC-BECE-912EE99151ED}"/>
          </ac:spMkLst>
        </pc:spChg>
        <pc:spChg chg="add mod">
          <ac:chgData name="Markus Albuscheit" userId="4f7fce57-5076-4fe0-a4ff-e69de3a8985e" providerId="ADAL" clId="{0ACAEE19-1F3C-44E9-AA98-7871674C48E4}" dt="2023-12-14T11:37:15.555" v="6215" actId="164"/>
          <ac:spMkLst>
            <pc:docMk/>
            <pc:sldMk cId="928319053" sldId="2147477087"/>
            <ac:spMk id="131" creationId="{C5047027-4EA3-A779-3094-7A6744DE138A}"/>
          </ac:spMkLst>
        </pc:spChg>
        <pc:spChg chg="add del mod">
          <ac:chgData name="Markus Albuscheit" userId="4f7fce57-5076-4fe0-a4ff-e69de3a8985e" providerId="ADAL" clId="{0ACAEE19-1F3C-44E9-AA98-7871674C48E4}" dt="2023-12-14T11:36:33.303" v="6192" actId="478"/>
          <ac:spMkLst>
            <pc:docMk/>
            <pc:sldMk cId="928319053" sldId="2147477087"/>
            <ac:spMk id="136" creationId="{A588D1DF-B069-5B88-897F-E739937E10F4}"/>
          </ac:spMkLst>
        </pc:spChg>
        <pc:spChg chg="add del mod">
          <ac:chgData name="Markus Albuscheit" userId="4f7fce57-5076-4fe0-a4ff-e69de3a8985e" providerId="ADAL" clId="{0ACAEE19-1F3C-44E9-AA98-7871674C48E4}" dt="2023-12-14T11:36:33.303" v="6192" actId="478"/>
          <ac:spMkLst>
            <pc:docMk/>
            <pc:sldMk cId="928319053" sldId="2147477087"/>
            <ac:spMk id="137" creationId="{DC3EBA6E-5599-4F8B-A7E4-51349A8C65F2}"/>
          </ac:spMkLst>
        </pc:spChg>
        <pc:spChg chg="add del mod">
          <ac:chgData name="Markus Albuscheit" userId="4f7fce57-5076-4fe0-a4ff-e69de3a8985e" providerId="ADAL" clId="{0ACAEE19-1F3C-44E9-AA98-7871674C48E4}" dt="2023-12-14T11:36:33.303" v="6192" actId="478"/>
          <ac:spMkLst>
            <pc:docMk/>
            <pc:sldMk cId="928319053" sldId="2147477087"/>
            <ac:spMk id="138" creationId="{ABC8BED4-80E2-32CF-FE93-F74C31969570}"/>
          </ac:spMkLst>
        </pc:spChg>
        <pc:spChg chg="mod">
          <ac:chgData name="Markus Albuscheit" userId="4f7fce57-5076-4fe0-a4ff-e69de3a8985e" providerId="ADAL" clId="{0ACAEE19-1F3C-44E9-AA98-7871674C48E4}" dt="2023-12-14T11:32:21.351" v="6083"/>
          <ac:spMkLst>
            <pc:docMk/>
            <pc:sldMk cId="928319053" sldId="2147477087"/>
            <ac:spMk id="140" creationId="{891DDCEC-A655-7BF5-942E-6A12E81320E9}"/>
          </ac:spMkLst>
        </pc:spChg>
        <pc:spChg chg="mod">
          <ac:chgData name="Markus Albuscheit" userId="4f7fce57-5076-4fe0-a4ff-e69de3a8985e" providerId="ADAL" clId="{0ACAEE19-1F3C-44E9-AA98-7871674C48E4}" dt="2023-12-14T11:32:21.351" v="6083"/>
          <ac:spMkLst>
            <pc:docMk/>
            <pc:sldMk cId="928319053" sldId="2147477087"/>
            <ac:spMk id="141" creationId="{BAEAD390-ACC4-E88B-45C1-3082D7F5EAEF}"/>
          </ac:spMkLst>
        </pc:spChg>
        <pc:spChg chg="mod">
          <ac:chgData name="Markus Albuscheit" userId="4f7fce57-5076-4fe0-a4ff-e69de3a8985e" providerId="ADAL" clId="{0ACAEE19-1F3C-44E9-AA98-7871674C48E4}" dt="2023-12-14T11:32:21.351" v="6083"/>
          <ac:spMkLst>
            <pc:docMk/>
            <pc:sldMk cId="928319053" sldId="2147477087"/>
            <ac:spMk id="142" creationId="{79902B8E-D07D-FC7C-51F0-DFFC6E303C85}"/>
          </ac:spMkLst>
        </pc:spChg>
        <pc:spChg chg="mod">
          <ac:chgData name="Markus Albuscheit" userId="4f7fce57-5076-4fe0-a4ff-e69de3a8985e" providerId="ADAL" clId="{0ACAEE19-1F3C-44E9-AA98-7871674C48E4}" dt="2023-12-14T11:32:21.351" v="6083"/>
          <ac:spMkLst>
            <pc:docMk/>
            <pc:sldMk cId="928319053" sldId="2147477087"/>
            <ac:spMk id="144" creationId="{599AEFE1-A380-84AB-A938-AA732C6175D4}"/>
          </ac:spMkLst>
        </pc:spChg>
        <pc:spChg chg="mod">
          <ac:chgData name="Markus Albuscheit" userId="4f7fce57-5076-4fe0-a4ff-e69de3a8985e" providerId="ADAL" clId="{0ACAEE19-1F3C-44E9-AA98-7871674C48E4}" dt="2023-12-14T11:32:21.351" v="6083"/>
          <ac:spMkLst>
            <pc:docMk/>
            <pc:sldMk cId="928319053" sldId="2147477087"/>
            <ac:spMk id="145" creationId="{F222AFF3-2945-4C12-665C-134ED626A0B7}"/>
          </ac:spMkLst>
        </pc:spChg>
        <pc:spChg chg="mod">
          <ac:chgData name="Markus Albuscheit" userId="4f7fce57-5076-4fe0-a4ff-e69de3a8985e" providerId="ADAL" clId="{0ACAEE19-1F3C-44E9-AA98-7871674C48E4}" dt="2023-12-14T11:32:21.351" v="6083"/>
          <ac:spMkLst>
            <pc:docMk/>
            <pc:sldMk cId="928319053" sldId="2147477087"/>
            <ac:spMk id="146" creationId="{4BE563F0-1AB5-0586-55CD-C83D694EE723}"/>
          </ac:spMkLst>
        </pc:spChg>
        <pc:spChg chg="mod">
          <ac:chgData name="Markus Albuscheit" userId="4f7fce57-5076-4fe0-a4ff-e69de3a8985e" providerId="ADAL" clId="{0ACAEE19-1F3C-44E9-AA98-7871674C48E4}" dt="2023-12-14T11:32:21.351" v="6083"/>
          <ac:spMkLst>
            <pc:docMk/>
            <pc:sldMk cId="928319053" sldId="2147477087"/>
            <ac:spMk id="148" creationId="{168E2243-4F81-B583-C0E7-29161AED5709}"/>
          </ac:spMkLst>
        </pc:spChg>
        <pc:spChg chg="mod">
          <ac:chgData name="Markus Albuscheit" userId="4f7fce57-5076-4fe0-a4ff-e69de3a8985e" providerId="ADAL" clId="{0ACAEE19-1F3C-44E9-AA98-7871674C48E4}" dt="2023-12-14T11:32:21.351" v="6083"/>
          <ac:spMkLst>
            <pc:docMk/>
            <pc:sldMk cId="928319053" sldId="2147477087"/>
            <ac:spMk id="149" creationId="{3F46A389-5D08-C48B-1FE4-A5BC010C49D2}"/>
          </ac:spMkLst>
        </pc:spChg>
        <pc:spChg chg="mod">
          <ac:chgData name="Markus Albuscheit" userId="4f7fce57-5076-4fe0-a4ff-e69de3a8985e" providerId="ADAL" clId="{0ACAEE19-1F3C-44E9-AA98-7871674C48E4}" dt="2023-12-14T11:32:21.351" v="6083"/>
          <ac:spMkLst>
            <pc:docMk/>
            <pc:sldMk cId="928319053" sldId="2147477087"/>
            <ac:spMk id="150" creationId="{840578DC-BBF5-37DD-5ACB-B13B8DD58B1F}"/>
          </ac:spMkLst>
        </pc:spChg>
        <pc:spChg chg="add del mod">
          <ac:chgData name="Markus Albuscheit" userId="4f7fce57-5076-4fe0-a4ff-e69de3a8985e" providerId="ADAL" clId="{0ACAEE19-1F3C-44E9-AA98-7871674C48E4}" dt="2023-12-14T11:36:33.303" v="6192" actId="478"/>
          <ac:spMkLst>
            <pc:docMk/>
            <pc:sldMk cId="928319053" sldId="2147477087"/>
            <ac:spMk id="151" creationId="{9C6331F7-86DF-EE9B-7DCD-F8ABEF515BD7}"/>
          </ac:spMkLst>
        </pc:spChg>
        <pc:spChg chg="add del mod">
          <ac:chgData name="Markus Albuscheit" userId="4f7fce57-5076-4fe0-a4ff-e69de3a8985e" providerId="ADAL" clId="{0ACAEE19-1F3C-44E9-AA98-7871674C48E4}" dt="2023-12-14T11:36:33.303" v="6192" actId="478"/>
          <ac:spMkLst>
            <pc:docMk/>
            <pc:sldMk cId="928319053" sldId="2147477087"/>
            <ac:spMk id="152" creationId="{BAAFE206-708F-0180-C058-957D663B1CF4}"/>
          </ac:spMkLst>
        </pc:spChg>
        <pc:spChg chg="add del mod">
          <ac:chgData name="Markus Albuscheit" userId="4f7fce57-5076-4fe0-a4ff-e69de3a8985e" providerId="ADAL" clId="{0ACAEE19-1F3C-44E9-AA98-7871674C48E4}" dt="2023-12-14T11:36:33.303" v="6192" actId="478"/>
          <ac:spMkLst>
            <pc:docMk/>
            <pc:sldMk cId="928319053" sldId="2147477087"/>
            <ac:spMk id="153" creationId="{01386069-E860-E692-14FE-A28A99ED7B45}"/>
          </ac:spMkLst>
        </pc:spChg>
        <pc:spChg chg="mod">
          <ac:chgData name="Markus Albuscheit" userId="4f7fce57-5076-4fe0-a4ff-e69de3a8985e" providerId="ADAL" clId="{0ACAEE19-1F3C-44E9-AA98-7871674C48E4}" dt="2023-12-14T11:34:09.223" v="6088"/>
          <ac:spMkLst>
            <pc:docMk/>
            <pc:sldMk cId="928319053" sldId="2147477087"/>
            <ac:spMk id="155" creationId="{DF4EA697-731D-411F-6F20-E35FC18E29CD}"/>
          </ac:spMkLst>
        </pc:spChg>
        <pc:spChg chg="mod">
          <ac:chgData name="Markus Albuscheit" userId="4f7fce57-5076-4fe0-a4ff-e69de3a8985e" providerId="ADAL" clId="{0ACAEE19-1F3C-44E9-AA98-7871674C48E4}" dt="2023-12-14T11:34:09.223" v="6088"/>
          <ac:spMkLst>
            <pc:docMk/>
            <pc:sldMk cId="928319053" sldId="2147477087"/>
            <ac:spMk id="158" creationId="{97F05789-533D-CA96-2665-E92D4ED7DEEE}"/>
          </ac:spMkLst>
        </pc:spChg>
        <pc:spChg chg="mod">
          <ac:chgData name="Markus Albuscheit" userId="4f7fce57-5076-4fe0-a4ff-e69de3a8985e" providerId="ADAL" clId="{0ACAEE19-1F3C-44E9-AA98-7871674C48E4}" dt="2023-12-14T11:34:09.223" v="6088"/>
          <ac:spMkLst>
            <pc:docMk/>
            <pc:sldMk cId="928319053" sldId="2147477087"/>
            <ac:spMk id="161" creationId="{3DF3C8AA-F6AC-93BF-67A5-D3347D71E359}"/>
          </ac:spMkLst>
        </pc:spChg>
        <pc:spChg chg="add mod">
          <ac:chgData name="Markus Albuscheit" userId="4f7fce57-5076-4fe0-a4ff-e69de3a8985e" providerId="ADAL" clId="{0ACAEE19-1F3C-44E9-AA98-7871674C48E4}" dt="2023-12-14T11:37:15.555" v="6215" actId="164"/>
          <ac:spMkLst>
            <pc:docMk/>
            <pc:sldMk cId="928319053" sldId="2147477087"/>
            <ac:spMk id="163" creationId="{9EBE5F6F-FD9F-453E-FF39-49F38B8B3228}"/>
          </ac:spMkLst>
        </pc:spChg>
        <pc:spChg chg="mod">
          <ac:chgData name="Markus Albuscheit" userId="4f7fce57-5076-4fe0-a4ff-e69de3a8985e" providerId="ADAL" clId="{0ACAEE19-1F3C-44E9-AA98-7871674C48E4}" dt="2023-12-14T11:34:53.771" v="6101"/>
          <ac:spMkLst>
            <pc:docMk/>
            <pc:sldMk cId="928319053" sldId="2147477087"/>
            <ac:spMk id="165" creationId="{7E187C15-F42F-2F98-84F7-6C8136684990}"/>
          </ac:spMkLst>
        </pc:spChg>
        <pc:spChg chg="mod">
          <ac:chgData name="Markus Albuscheit" userId="4f7fce57-5076-4fe0-a4ff-e69de3a8985e" providerId="ADAL" clId="{0ACAEE19-1F3C-44E9-AA98-7871674C48E4}" dt="2023-12-14T11:34:53.771" v="6101"/>
          <ac:spMkLst>
            <pc:docMk/>
            <pc:sldMk cId="928319053" sldId="2147477087"/>
            <ac:spMk id="168" creationId="{DD9D508E-3FF5-3F62-A93B-B3FD7C79D051}"/>
          </ac:spMkLst>
        </pc:spChg>
        <pc:spChg chg="add mod">
          <ac:chgData name="Markus Albuscheit" userId="4f7fce57-5076-4fe0-a4ff-e69de3a8985e" providerId="ADAL" clId="{0ACAEE19-1F3C-44E9-AA98-7871674C48E4}" dt="2023-12-14T11:37:15.555" v="6215" actId="164"/>
          <ac:spMkLst>
            <pc:docMk/>
            <pc:sldMk cId="928319053" sldId="2147477087"/>
            <ac:spMk id="170" creationId="{ADC28E12-A698-2A89-35C7-E359805B02AD}"/>
          </ac:spMkLst>
        </pc:spChg>
        <pc:spChg chg="add mod">
          <ac:chgData name="Markus Albuscheit" userId="4f7fce57-5076-4fe0-a4ff-e69de3a8985e" providerId="ADAL" clId="{0ACAEE19-1F3C-44E9-AA98-7871674C48E4}" dt="2023-12-14T11:37:15.555" v="6215" actId="164"/>
          <ac:spMkLst>
            <pc:docMk/>
            <pc:sldMk cId="928319053" sldId="2147477087"/>
            <ac:spMk id="172" creationId="{D018FD46-B33D-B597-42C1-FD58F0EFDE7C}"/>
          </ac:spMkLst>
        </pc:spChg>
        <pc:grpChg chg="del">
          <ac:chgData name="Markus Albuscheit" userId="4f7fce57-5076-4fe0-a4ff-e69de3a8985e" providerId="ADAL" clId="{0ACAEE19-1F3C-44E9-AA98-7871674C48E4}" dt="2023-12-14T11:23:26.937" v="5571" actId="478"/>
          <ac:grpSpMkLst>
            <pc:docMk/>
            <pc:sldMk cId="928319053" sldId="2147477087"/>
            <ac:grpSpMk id="10" creationId="{EF20D02E-C1D6-DDE0-1EA6-795BB4751D3E}"/>
          </ac:grpSpMkLst>
        </pc:grpChg>
        <pc:grpChg chg="del">
          <ac:chgData name="Markus Albuscheit" userId="4f7fce57-5076-4fe0-a4ff-e69de3a8985e" providerId="ADAL" clId="{0ACAEE19-1F3C-44E9-AA98-7871674C48E4}" dt="2023-12-14T11:23:06.609" v="5562" actId="478"/>
          <ac:grpSpMkLst>
            <pc:docMk/>
            <pc:sldMk cId="928319053" sldId="2147477087"/>
            <ac:grpSpMk id="68" creationId="{AE9C85C4-5982-FAD1-ADBD-AAF80AEF84BA}"/>
          </ac:grpSpMkLst>
        </pc:grpChg>
        <pc:grpChg chg="del">
          <ac:chgData name="Markus Albuscheit" userId="4f7fce57-5076-4fe0-a4ff-e69de3a8985e" providerId="ADAL" clId="{0ACAEE19-1F3C-44E9-AA98-7871674C48E4}" dt="2023-12-14T11:23:06.609" v="5562" actId="478"/>
          <ac:grpSpMkLst>
            <pc:docMk/>
            <pc:sldMk cId="928319053" sldId="2147477087"/>
            <ac:grpSpMk id="72" creationId="{E6239F20-A609-C709-58C7-6AB0EEAF1EAA}"/>
          </ac:grpSpMkLst>
        </pc:grpChg>
        <pc:grpChg chg="del">
          <ac:chgData name="Markus Albuscheit" userId="4f7fce57-5076-4fe0-a4ff-e69de3a8985e" providerId="ADAL" clId="{0ACAEE19-1F3C-44E9-AA98-7871674C48E4}" dt="2023-12-14T11:23:06.609" v="5562" actId="478"/>
          <ac:grpSpMkLst>
            <pc:docMk/>
            <pc:sldMk cId="928319053" sldId="2147477087"/>
            <ac:grpSpMk id="76" creationId="{427A1F92-B819-F14F-1ED9-ECA25E3E472A}"/>
          </ac:grpSpMkLst>
        </pc:grpChg>
        <pc:grpChg chg="add del mod">
          <ac:chgData name="Markus Albuscheit" userId="4f7fce57-5076-4fe0-a4ff-e69de3a8985e" providerId="ADAL" clId="{0ACAEE19-1F3C-44E9-AA98-7871674C48E4}" dt="2023-12-14T11:36:33.303" v="6192" actId="478"/>
          <ac:grpSpMkLst>
            <pc:docMk/>
            <pc:sldMk cId="928319053" sldId="2147477087"/>
            <ac:grpSpMk id="139" creationId="{90A9B78A-07B8-B726-1858-E12FB2EB2569}"/>
          </ac:grpSpMkLst>
        </pc:grpChg>
        <pc:grpChg chg="add del mod">
          <ac:chgData name="Markus Albuscheit" userId="4f7fce57-5076-4fe0-a4ff-e69de3a8985e" providerId="ADAL" clId="{0ACAEE19-1F3C-44E9-AA98-7871674C48E4}" dt="2023-12-14T11:36:33.303" v="6192" actId="478"/>
          <ac:grpSpMkLst>
            <pc:docMk/>
            <pc:sldMk cId="928319053" sldId="2147477087"/>
            <ac:grpSpMk id="143" creationId="{8250D6AC-E6BC-BA6B-4AFD-3383DFF48CAD}"/>
          </ac:grpSpMkLst>
        </pc:grpChg>
        <pc:grpChg chg="add del mod">
          <ac:chgData name="Markus Albuscheit" userId="4f7fce57-5076-4fe0-a4ff-e69de3a8985e" providerId="ADAL" clId="{0ACAEE19-1F3C-44E9-AA98-7871674C48E4}" dt="2023-12-14T11:36:33.303" v="6192" actId="478"/>
          <ac:grpSpMkLst>
            <pc:docMk/>
            <pc:sldMk cId="928319053" sldId="2147477087"/>
            <ac:grpSpMk id="147" creationId="{C596D0E9-B17D-F5B5-670D-BC7186EB5F07}"/>
          </ac:grpSpMkLst>
        </pc:grpChg>
        <pc:grpChg chg="add mod">
          <ac:chgData name="Markus Albuscheit" userId="4f7fce57-5076-4fe0-a4ff-e69de3a8985e" providerId="ADAL" clId="{0ACAEE19-1F3C-44E9-AA98-7871674C48E4}" dt="2023-12-14T11:37:15.555" v="6215" actId="164"/>
          <ac:grpSpMkLst>
            <pc:docMk/>
            <pc:sldMk cId="928319053" sldId="2147477087"/>
            <ac:grpSpMk id="154" creationId="{6C3A6B62-BC85-6183-D593-8DCB0C9FEC14}"/>
          </ac:grpSpMkLst>
        </pc:grpChg>
        <pc:grpChg chg="add mod">
          <ac:chgData name="Markus Albuscheit" userId="4f7fce57-5076-4fe0-a4ff-e69de3a8985e" providerId="ADAL" clId="{0ACAEE19-1F3C-44E9-AA98-7871674C48E4}" dt="2023-12-14T11:37:15.555" v="6215" actId="164"/>
          <ac:grpSpMkLst>
            <pc:docMk/>
            <pc:sldMk cId="928319053" sldId="2147477087"/>
            <ac:grpSpMk id="157" creationId="{0E8546A4-0227-052F-AC56-67F789F39470}"/>
          </ac:grpSpMkLst>
        </pc:grpChg>
        <pc:grpChg chg="add mod">
          <ac:chgData name="Markus Albuscheit" userId="4f7fce57-5076-4fe0-a4ff-e69de3a8985e" providerId="ADAL" clId="{0ACAEE19-1F3C-44E9-AA98-7871674C48E4}" dt="2023-12-14T11:37:15.555" v="6215" actId="164"/>
          <ac:grpSpMkLst>
            <pc:docMk/>
            <pc:sldMk cId="928319053" sldId="2147477087"/>
            <ac:grpSpMk id="160" creationId="{7C3F369F-1462-27D8-00CF-2A37CEF6ED53}"/>
          </ac:grpSpMkLst>
        </pc:grpChg>
        <pc:grpChg chg="add mod">
          <ac:chgData name="Markus Albuscheit" userId="4f7fce57-5076-4fe0-a4ff-e69de3a8985e" providerId="ADAL" clId="{0ACAEE19-1F3C-44E9-AA98-7871674C48E4}" dt="2023-12-14T11:37:15.555" v="6215" actId="164"/>
          <ac:grpSpMkLst>
            <pc:docMk/>
            <pc:sldMk cId="928319053" sldId="2147477087"/>
            <ac:grpSpMk id="164" creationId="{A3CA430D-E2CB-B86B-1BBB-B86B42D6B2B5}"/>
          </ac:grpSpMkLst>
        </pc:grpChg>
        <pc:grpChg chg="add mod">
          <ac:chgData name="Markus Albuscheit" userId="4f7fce57-5076-4fe0-a4ff-e69de3a8985e" providerId="ADAL" clId="{0ACAEE19-1F3C-44E9-AA98-7871674C48E4}" dt="2023-12-14T11:37:15.555" v="6215" actId="164"/>
          <ac:grpSpMkLst>
            <pc:docMk/>
            <pc:sldMk cId="928319053" sldId="2147477087"/>
            <ac:grpSpMk id="167" creationId="{89C92C64-9584-B24A-9F3C-A90107FC016F}"/>
          </ac:grpSpMkLst>
        </pc:grpChg>
        <pc:grpChg chg="add mod">
          <ac:chgData name="Markus Albuscheit" userId="4f7fce57-5076-4fe0-a4ff-e69de3a8985e" providerId="ADAL" clId="{0ACAEE19-1F3C-44E9-AA98-7871674C48E4}" dt="2023-12-14T11:37:30.479" v="6217" actId="1076"/>
          <ac:grpSpMkLst>
            <pc:docMk/>
            <pc:sldMk cId="928319053" sldId="2147477087"/>
            <ac:grpSpMk id="173" creationId="{79272352-BE8C-F761-DC0A-8D9FC0DAC8D0}"/>
          </ac:grpSpMkLst>
        </pc:grpChg>
        <pc:picChg chg="del">
          <ac:chgData name="Markus Albuscheit" userId="4f7fce57-5076-4fe0-a4ff-e69de3a8985e" providerId="ADAL" clId="{0ACAEE19-1F3C-44E9-AA98-7871674C48E4}" dt="2023-12-14T11:23:06.609" v="5562" actId="478"/>
          <ac:picMkLst>
            <pc:docMk/>
            <pc:sldMk cId="928319053" sldId="2147477087"/>
            <ac:picMk id="7" creationId="{224A3D6D-193F-742E-2B7C-93D949C8E1B2}"/>
          </ac:picMkLst>
        </pc:picChg>
        <pc:picChg chg="del">
          <ac:chgData name="Markus Albuscheit" userId="4f7fce57-5076-4fe0-a4ff-e69de3a8985e" providerId="ADAL" clId="{0ACAEE19-1F3C-44E9-AA98-7871674C48E4}" dt="2023-12-14T11:23:26.937" v="5571" actId="478"/>
          <ac:picMkLst>
            <pc:docMk/>
            <pc:sldMk cId="928319053" sldId="2147477087"/>
            <ac:picMk id="13" creationId="{5905BC56-F8DE-36F8-3EE7-66819B9E5DDE}"/>
          </ac:picMkLst>
        </pc:picChg>
        <pc:picChg chg="del">
          <ac:chgData name="Markus Albuscheit" userId="4f7fce57-5076-4fe0-a4ff-e69de3a8985e" providerId="ADAL" clId="{0ACAEE19-1F3C-44E9-AA98-7871674C48E4}" dt="2023-12-14T11:23:06.609" v="5562" actId="478"/>
          <ac:picMkLst>
            <pc:docMk/>
            <pc:sldMk cId="928319053" sldId="2147477087"/>
            <ac:picMk id="15" creationId="{6869852B-3A0D-DD91-9878-B540225A4373}"/>
          </ac:picMkLst>
        </pc:picChg>
        <pc:picChg chg="del">
          <ac:chgData name="Markus Albuscheit" userId="4f7fce57-5076-4fe0-a4ff-e69de3a8985e" providerId="ADAL" clId="{0ACAEE19-1F3C-44E9-AA98-7871674C48E4}" dt="2023-12-14T11:23:26.937" v="5571" actId="478"/>
          <ac:picMkLst>
            <pc:docMk/>
            <pc:sldMk cId="928319053" sldId="2147477087"/>
            <ac:picMk id="16" creationId="{170EFF63-ECC7-6053-66A4-1ABF3D6F4C4E}"/>
          </ac:picMkLst>
        </pc:picChg>
        <pc:picChg chg="del">
          <ac:chgData name="Markus Albuscheit" userId="4f7fce57-5076-4fe0-a4ff-e69de3a8985e" providerId="ADAL" clId="{0ACAEE19-1F3C-44E9-AA98-7871674C48E4}" dt="2023-12-14T11:23:06.609" v="5562" actId="478"/>
          <ac:picMkLst>
            <pc:docMk/>
            <pc:sldMk cId="928319053" sldId="2147477087"/>
            <ac:picMk id="19" creationId="{9C915977-B792-0558-A718-558C5F073D5A}"/>
          </ac:picMkLst>
        </pc:picChg>
        <pc:picChg chg="del">
          <ac:chgData name="Markus Albuscheit" userId="4f7fce57-5076-4fe0-a4ff-e69de3a8985e" providerId="ADAL" clId="{0ACAEE19-1F3C-44E9-AA98-7871674C48E4}" dt="2023-12-14T11:23:06.609" v="5562" actId="478"/>
          <ac:picMkLst>
            <pc:docMk/>
            <pc:sldMk cId="928319053" sldId="2147477087"/>
            <ac:picMk id="20" creationId="{050BD204-35CA-4857-3BF9-9E262ED8B0B2}"/>
          </ac:picMkLst>
        </pc:picChg>
        <pc:picChg chg="del">
          <ac:chgData name="Markus Albuscheit" userId="4f7fce57-5076-4fe0-a4ff-e69de3a8985e" providerId="ADAL" clId="{0ACAEE19-1F3C-44E9-AA98-7871674C48E4}" dt="2023-12-14T11:23:06.609" v="5562" actId="478"/>
          <ac:picMkLst>
            <pc:docMk/>
            <pc:sldMk cId="928319053" sldId="2147477087"/>
            <ac:picMk id="21" creationId="{4ED27BB9-6CD4-3BD9-DC6A-BEC8769FA714}"/>
          </ac:picMkLst>
        </pc:picChg>
        <pc:picChg chg="del">
          <ac:chgData name="Markus Albuscheit" userId="4f7fce57-5076-4fe0-a4ff-e69de3a8985e" providerId="ADAL" clId="{0ACAEE19-1F3C-44E9-AA98-7871674C48E4}" dt="2023-12-14T11:23:06.609" v="5562" actId="478"/>
          <ac:picMkLst>
            <pc:docMk/>
            <pc:sldMk cId="928319053" sldId="2147477087"/>
            <ac:picMk id="32" creationId="{C60AE1C8-E676-C8D0-7D1D-CEF6EE8F151B}"/>
          </ac:picMkLst>
        </pc:picChg>
        <pc:picChg chg="del">
          <ac:chgData name="Markus Albuscheit" userId="4f7fce57-5076-4fe0-a4ff-e69de3a8985e" providerId="ADAL" clId="{0ACAEE19-1F3C-44E9-AA98-7871674C48E4}" dt="2023-12-14T11:23:06.609" v="5562" actId="478"/>
          <ac:picMkLst>
            <pc:docMk/>
            <pc:sldMk cId="928319053" sldId="2147477087"/>
            <ac:picMk id="33" creationId="{5B646D70-2DBC-1D5A-3810-602BA27218E4}"/>
          </ac:picMkLst>
        </pc:picChg>
        <pc:picChg chg="del">
          <ac:chgData name="Markus Albuscheit" userId="4f7fce57-5076-4fe0-a4ff-e69de3a8985e" providerId="ADAL" clId="{0ACAEE19-1F3C-44E9-AA98-7871674C48E4}" dt="2023-12-14T11:23:06.609" v="5562" actId="478"/>
          <ac:picMkLst>
            <pc:docMk/>
            <pc:sldMk cId="928319053" sldId="2147477087"/>
            <ac:picMk id="34" creationId="{BAF8A7E2-1224-D36A-63C1-5801EA6E3DD3}"/>
          </ac:picMkLst>
        </pc:picChg>
        <pc:picChg chg="del">
          <ac:chgData name="Markus Albuscheit" userId="4f7fce57-5076-4fe0-a4ff-e69de3a8985e" providerId="ADAL" clId="{0ACAEE19-1F3C-44E9-AA98-7871674C48E4}" dt="2023-12-14T11:23:06.609" v="5562" actId="478"/>
          <ac:picMkLst>
            <pc:docMk/>
            <pc:sldMk cId="928319053" sldId="2147477087"/>
            <ac:picMk id="45" creationId="{71EBD219-FC04-1549-F426-528E86CF895E}"/>
          </ac:picMkLst>
        </pc:picChg>
        <pc:picChg chg="del">
          <ac:chgData name="Markus Albuscheit" userId="4f7fce57-5076-4fe0-a4ff-e69de3a8985e" providerId="ADAL" clId="{0ACAEE19-1F3C-44E9-AA98-7871674C48E4}" dt="2023-12-14T11:23:06.609" v="5562" actId="478"/>
          <ac:picMkLst>
            <pc:docMk/>
            <pc:sldMk cId="928319053" sldId="2147477087"/>
            <ac:picMk id="46" creationId="{8D47294C-E2C2-6D66-3BB2-0139DB983090}"/>
          </ac:picMkLst>
        </pc:picChg>
        <pc:picChg chg="del">
          <ac:chgData name="Markus Albuscheit" userId="4f7fce57-5076-4fe0-a4ff-e69de3a8985e" providerId="ADAL" clId="{0ACAEE19-1F3C-44E9-AA98-7871674C48E4}" dt="2023-12-14T11:23:06.609" v="5562" actId="478"/>
          <ac:picMkLst>
            <pc:docMk/>
            <pc:sldMk cId="928319053" sldId="2147477087"/>
            <ac:picMk id="47" creationId="{99FC52A3-FD14-E422-6DC4-A34EFDE27EEF}"/>
          </ac:picMkLst>
        </pc:picChg>
        <pc:picChg chg="del">
          <ac:chgData name="Markus Albuscheit" userId="4f7fce57-5076-4fe0-a4ff-e69de3a8985e" providerId="ADAL" clId="{0ACAEE19-1F3C-44E9-AA98-7871674C48E4}" dt="2023-12-14T11:23:06.609" v="5562" actId="478"/>
          <ac:picMkLst>
            <pc:docMk/>
            <pc:sldMk cId="928319053" sldId="2147477087"/>
            <ac:picMk id="63" creationId="{30A7F4A7-E70E-03D8-4CD0-F4C7C8C8C4A4}"/>
          </ac:picMkLst>
        </pc:picChg>
        <pc:picChg chg="del">
          <ac:chgData name="Markus Albuscheit" userId="4f7fce57-5076-4fe0-a4ff-e69de3a8985e" providerId="ADAL" clId="{0ACAEE19-1F3C-44E9-AA98-7871674C48E4}" dt="2023-12-14T11:23:06.609" v="5562" actId="478"/>
          <ac:picMkLst>
            <pc:docMk/>
            <pc:sldMk cId="928319053" sldId="2147477087"/>
            <ac:picMk id="64" creationId="{43EF9199-4544-E4F8-0995-F9785DEEA53E}"/>
          </ac:picMkLst>
        </pc:picChg>
        <pc:picChg chg="add mod">
          <ac:chgData name="Markus Albuscheit" userId="4f7fce57-5076-4fe0-a4ff-e69de3a8985e" providerId="ADAL" clId="{0ACAEE19-1F3C-44E9-AA98-7871674C48E4}" dt="2023-12-14T11:31:42.608" v="6082" actId="1037"/>
          <ac:picMkLst>
            <pc:docMk/>
            <pc:sldMk cId="928319053" sldId="2147477087"/>
            <ac:picMk id="83" creationId="{CC9B6BAD-635D-31A1-79E8-7630863C9B6A}"/>
          </ac:picMkLst>
        </pc:picChg>
        <pc:picChg chg="add del mod">
          <ac:chgData name="Markus Albuscheit" userId="4f7fce57-5076-4fe0-a4ff-e69de3a8985e" providerId="ADAL" clId="{0ACAEE19-1F3C-44E9-AA98-7871674C48E4}" dt="2023-12-14T11:33:56.576" v="6087" actId="478"/>
          <ac:picMkLst>
            <pc:docMk/>
            <pc:sldMk cId="928319053" sldId="2147477087"/>
            <ac:picMk id="87" creationId="{1E6B8FB1-EDFF-77DF-F59F-D01D68B7AE9A}"/>
          </ac:picMkLst>
        </pc:picChg>
        <pc:picChg chg="add del mod">
          <ac:chgData name="Markus Albuscheit" userId="4f7fce57-5076-4fe0-a4ff-e69de3a8985e" providerId="ADAL" clId="{0ACAEE19-1F3C-44E9-AA98-7871674C48E4}" dt="2023-12-14T11:33:56.576" v="6087" actId="478"/>
          <ac:picMkLst>
            <pc:docMk/>
            <pc:sldMk cId="928319053" sldId="2147477087"/>
            <ac:picMk id="88" creationId="{9FBF22A9-4317-19BD-9DA7-3F83F8E39091}"/>
          </ac:picMkLst>
        </pc:picChg>
        <pc:picChg chg="add del mod">
          <ac:chgData name="Markus Albuscheit" userId="4f7fce57-5076-4fe0-a4ff-e69de3a8985e" providerId="ADAL" clId="{0ACAEE19-1F3C-44E9-AA98-7871674C48E4}" dt="2023-12-14T11:33:56.576" v="6087" actId="478"/>
          <ac:picMkLst>
            <pc:docMk/>
            <pc:sldMk cId="928319053" sldId="2147477087"/>
            <ac:picMk id="89" creationId="{601E2549-2382-BCB9-7A15-DD90ADB0E3F1}"/>
          </ac:picMkLst>
        </pc:picChg>
        <pc:picChg chg="add del mod">
          <ac:chgData name="Markus Albuscheit" userId="4f7fce57-5076-4fe0-a4ff-e69de3a8985e" providerId="ADAL" clId="{0ACAEE19-1F3C-44E9-AA98-7871674C48E4}" dt="2023-12-14T11:33:56.576" v="6087" actId="478"/>
          <ac:picMkLst>
            <pc:docMk/>
            <pc:sldMk cId="928319053" sldId="2147477087"/>
            <ac:picMk id="100" creationId="{C1249618-D033-0BD4-38C4-3A05E19A45E6}"/>
          </ac:picMkLst>
        </pc:picChg>
        <pc:picChg chg="add del mod">
          <ac:chgData name="Markus Albuscheit" userId="4f7fce57-5076-4fe0-a4ff-e69de3a8985e" providerId="ADAL" clId="{0ACAEE19-1F3C-44E9-AA98-7871674C48E4}" dt="2023-12-14T11:33:56.576" v="6087" actId="478"/>
          <ac:picMkLst>
            <pc:docMk/>
            <pc:sldMk cId="928319053" sldId="2147477087"/>
            <ac:picMk id="101" creationId="{3A7256E6-CCCC-2A96-A5CE-FC5FA302248C}"/>
          </ac:picMkLst>
        </pc:picChg>
        <pc:picChg chg="add del mod">
          <ac:chgData name="Markus Albuscheit" userId="4f7fce57-5076-4fe0-a4ff-e69de3a8985e" providerId="ADAL" clId="{0ACAEE19-1F3C-44E9-AA98-7871674C48E4}" dt="2023-12-14T11:33:56.576" v="6087" actId="478"/>
          <ac:picMkLst>
            <pc:docMk/>
            <pc:sldMk cId="928319053" sldId="2147477087"/>
            <ac:picMk id="102" creationId="{A14E3B35-1010-E738-F361-668FB0669407}"/>
          </ac:picMkLst>
        </pc:picChg>
        <pc:picChg chg="add del mod">
          <ac:chgData name="Markus Albuscheit" userId="4f7fce57-5076-4fe0-a4ff-e69de3a8985e" providerId="ADAL" clId="{0ACAEE19-1F3C-44E9-AA98-7871674C48E4}" dt="2023-12-14T11:33:56.576" v="6087" actId="478"/>
          <ac:picMkLst>
            <pc:docMk/>
            <pc:sldMk cId="928319053" sldId="2147477087"/>
            <ac:picMk id="113" creationId="{766596B9-A9DA-F933-D0C6-481D7331C7E3}"/>
          </ac:picMkLst>
        </pc:picChg>
        <pc:picChg chg="add del mod">
          <ac:chgData name="Markus Albuscheit" userId="4f7fce57-5076-4fe0-a4ff-e69de3a8985e" providerId="ADAL" clId="{0ACAEE19-1F3C-44E9-AA98-7871674C48E4}" dt="2023-12-14T11:33:56.576" v="6087" actId="478"/>
          <ac:picMkLst>
            <pc:docMk/>
            <pc:sldMk cId="928319053" sldId="2147477087"/>
            <ac:picMk id="114" creationId="{4BA5282B-6D7C-B2CD-AC85-ADB525CF0DDC}"/>
          </ac:picMkLst>
        </pc:picChg>
        <pc:picChg chg="add del mod">
          <ac:chgData name="Markus Albuscheit" userId="4f7fce57-5076-4fe0-a4ff-e69de3a8985e" providerId="ADAL" clId="{0ACAEE19-1F3C-44E9-AA98-7871674C48E4}" dt="2023-12-14T11:33:56.576" v="6087" actId="478"/>
          <ac:picMkLst>
            <pc:docMk/>
            <pc:sldMk cId="928319053" sldId="2147477087"/>
            <ac:picMk id="115" creationId="{D57B0C50-BD91-6CD7-C95D-825AB9F97DEC}"/>
          </ac:picMkLst>
        </pc:picChg>
        <pc:picChg chg="add mod">
          <ac:chgData name="Markus Albuscheit" userId="4f7fce57-5076-4fe0-a4ff-e69de3a8985e" providerId="ADAL" clId="{0ACAEE19-1F3C-44E9-AA98-7871674C48E4}" dt="2023-12-14T11:37:15.555" v="6215" actId="164"/>
          <ac:picMkLst>
            <pc:docMk/>
            <pc:sldMk cId="928319053" sldId="2147477087"/>
            <ac:picMk id="132" creationId="{2AAC2932-D54E-B924-30C2-0170CF6D4BD5}"/>
          </ac:picMkLst>
        </pc:picChg>
        <pc:picChg chg="add del mod">
          <ac:chgData name="Markus Albuscheit" userId="4f7fce57-5076-4fe0-a4ff-e69de3a8985e" providerId="ADAL" clId="{0ACAEE19-1F3C-44E9-AA98-7871674C48E4}" dt="2023-12-14T11:36:33.303" v="6192" actId="478"/>
          <ac:picMkLst>
            <pc:docMk/>
            <pc:sldMk cId="928319053" sldId="2147477087"/>
            <ac:picMk id="133" creationId="{627F21CC-E8BE-9C27-71D8-15ACBCE7B6D1}"/>
          </ac:picMkLst>
        </pc:picChg>
        <pc:picChg chg="add del mod">
          <ac:chgData name="Markus Albuscheit" userId="4f7fce57-5076-4fe0-a4ff-e69de3a8985e" providerId="ADAL" clId="{0ACAEE19-1F3C-44E9-AA98-7871674C48E4}" dt="2023-12-14T11:36:33.303" v="6192" actId="478"/>
          <ac:picMkLst>
            <pc:docMk/>
            <pc:sldMk cId="928319053" sldId="2147477087"/>
            <ac:picMk id="134" creationId="{59A9C1DB-9AB0-9099-888B-2652339FB636}"/>
          </ac:picMkLst>
        </pc:picChg>
        <pc:picChg chg="add del mod">
          <ac:chgData name="Markus Albuscheit" userId="4f7fce57-5076-4fe0-a4ff-e69de3a8985e" providerId="ADAL" clId="{0ACAEE19-1F3C-44E9-AA98-7871674C48E4}" dt="2023-12-14T11:36:33.303" v="6192" actId="478"/>
          <ac:picMkLst>
            <pc:docMk/>
            <pc:sldMk cId="928319053" sldId="2147477087"/>
            <ac:picMk id="135" creationId="{097C8A7E-AB07-920E-C4D0-EC305D08A296}"/>
          </ac:picMkLst>
        </pc:picChg>
        <pc:picChg chg="mod">
          <ac:chgData name="Markus Albuscheit" userId="4f7fce57-5076-4fe0-a4ff-e69de3a8985e" providerId="ADAL" clId="{0ACAEE19-1F3C-44E9-AA98-7871674C48E4}" dt="2023-12-14T11:34:09.223" v="6088"/>
          <ac:picMkLst>
            <pc:docMk/>
            <pc:sldMk cId="928319053" sldId="2147477087"/>
            <ac:picMk id="156" creationId="{43BA2660-D108-B309-2410-A1A47A865C72}"/>
          </ac:picMkLst>
        </pc:picChg>
        <pc:picChg chg="mod">
          <ac:chgData name="Markus Albuscheit" userId="4f7fce57-5076-4fe0-a4ff-e69de3a8985e" providerId="ADAL" clId="{0ACAEE19-1F3C-44E9-AA98-7871674C48E4}" dt="2023-12-14T11:34:09.223" v="6088"/>
          <ac:picMkLst>
            <pc:docMk/>
            <pc:sldMk cId="928319053" sldId="2147477087"/>
            <ac:picMk id="159" creationId="{2A15AF4D-B290-9E5D-9530-79306FD9CEB7}"/>
          </ac:picMkLst>
        </pc:picChg>
        <pc:picChg chg="mod">
          <ac:chgData name="Markus Albuscheit" userId="4f7fce57-5076-4fe0-a4ff-e69de3a8985e" providerId="ADAL" clId="{0ACAEE19-1F3C-44E9-AA98-7871674C48E4}" dt="2023-12-14T11:34:09.223" v="6088"/>
          <ac:picMkLst>
            <pc:docMk/>
            <pc:sldMk cId="928319053" sldId="2147477087"/>
            <ac:picMk id="162" creationId="{351725AF-595A-808F-272E-229A51FB2C1C}"/>
          </ac:picMkLst>
        </pc:picChg>
        <pc:picChg chg="mod">
          <ac:chgData name="Markus Albuscheit" userId="4f7fce57-5076-4fe0-a4ff-e69de3a8985e" providerId="ADAL" clId="{0ACAEE19-1F3C-44E9-AA98-7871674C48E4}" dt="2023-12-14T11:34:53.771" v="6101"/>
          <ac:picMkLst>
            <pc:docMk/>
            <pc:sldMk cId="928319053" sldId="2147477087"/>
            <ac:picMk id="166" creationId="{2F8748FF-4202-8493-0D21-E703175F0F00}"/>
          </ac:picMkLst>
        </pc:picChg>
        <pc:picChg chg="mod">
          <ac:chgData name="Markus Albuscheit" userId="4f7fce57-5076-4fe0-a4ff-e69de3a8985e" providerId="ADAL" clId="{0ACAEE19-1F3C-44E9-AA98-7871674C48E4}" dt="2023-12-14T11:34:53.771" v="6101"/>
          <ac:picMkLst>
            <pc:docMk/>
            <pc:sldMk cId="928319053" sldId="2147477087"/>
            <ac:picMk id="169" creationId="{47A5BD91-C8E2-95DF-2AE4-00926177EC7E}"/>
          </ac:picMkLst>
        </pc:picChg>
        <pc:picChg chg="add mod">
          <ac:chgData name="Markus Albuscheit" userId="4f7fce57-5076-4fe0-a4ff-e69de3a8985e" providerId="ADAL" clId="{0ACAEE19-1F3C-44E9-AA98-7871674C48E4}" dt="2023-12-14T11:37:15.555" v="6215" actId="164"/>
          <ac:picMkLst>
            <pc:docMk/>
            <pc:sldMk cId="928319053" sldId="2147477087"/>
            <ac:picMk id="171" creationId="{A10CA5B0-6644-3078-ADED-1998492C9486}"/>
          </ac:picMkLst>
        </pc:picChg>
      </pc:sldChg>
      <pc:sldChg chg="addSp delSp modSp new mod ord modAnim modShow">
        <pc:chgData name="Markus Albuscheit" userId="4f7fce57-5076-4fe0-a4ff-e69de3a8985e" providerId="ADAL" clId="{0ACAEE19-1F3C-44E9-AA98-7871674C48E4}" dt="2023-12-15T07:42:36.487" v="7993" actId="20577"/>
        <pc:sldMkLst>
          <pc:docMk/>
          <pc:sldMk cId="2779461220" sldId="2147477088"/>
        </pc:sldMkLst>
        <pc:spChg chg="mod">
          <ac:chgData name="Markus Albuscheit" userId="4f7fce57-5076-4fe0-a4ff-e69de3a8985e" providerId="ADAL" clId="{0ACAEE19-1F3C-44E9-AA98-7871674C48E4}" dt="2023-12-14T14:59:38.819" v="6864" actId="20577"/>
          <ac:spMkLst>
            <pc:docMk/>
            <pc:sldMk cId="2779461220" sldId="2147477088"/>
            <ac:spMk id="2" creationId="{B6894EC5-06D8-6E03-50A8-798D57F61E41}"/>
          </ac:spMkLst>
        </pc:spChg>
        <pc:spChg chg="del">
          <ac:chgData name="Markus Albuscheit" userId="4f7fce57-5076-4fe0-a4ff-e69de3a8985e" providerId="ADAL" clId="{0ACAEE19-1F3C-44E9-AA98-7871674C48E4}" dt="2023-12-14T15:01:28.945" v="7002"/>
          <ac:spMkLst>
            <pc:docMk/>
            <pc:sldMk cId="2779461220" sldId="2147477088"/>
            <ac:spMk id="3" creationId="{56933B65-EF83-C897-3233-537EA599488D}"/>
          </ac:spMkLst>
        </pc:spChg>
        <pc:spChg chg="add del mod">
          <ac:chgData name="Markus Albuscheit" userId="4f7fce57-5076-4fe0-a4ff-e69de3a8985e" providerId="ADAL" clId="{0ACAEE19-1F3C-44E9-AA98-7871674C48E4}" dt="2023-12-14T16:51:19.159" v="7177"/>
          <ac:spMkLst>
            <pc:docMk/>
            <pc:sldMk cId="2779461220" sldId="2147477088"/>
            <ac:spMk id="3" creationId="{E4A8A865-99B4-F026-33EE-621C5321668E}"/>
          </ac:spMkLst>
        </pc:spChg>
        <pc:spChg chg="add mod">
          <ac:chgData name="Markus Albuscheit" userId="4f7fce57-5076-4fe0-a4ff-e69de3a8985e" providerId="ADAL" clId="{0ACAEE19-1F3C-44E9-AA98-7871674C48E4}" dt="2023-12-14T17:29:36.739" v="7595" actId="1076"/>
          <ac:spMkLst>
            <pc:docMk/>
            <pc:sldMk cId="2779461220" sldId="2147477088"/>
            <ac:spMk id="11" creationId="{41B7D5E9-690E-F26B-78AB-A2E09462729D}"/>
          </ac:spMkLst>
        </pc:spChg>
        <pc:graphicFrameChg chg="add del mod modGraphic">
          <ac:chgData name="Markus Albuscheit" userId="4f7fce57-5076-4fe0-a4ff-e69de3a8985e" providerId="ADAL" clId="{0ACAEE19-1F3C-44E9-AA98-7871674C48E4}" dt="2023-12-15T07:42:36.487" v="7993" actId="20577"/>
          <ac:graphicFrameMkLst>
            <pc:docMk/>
            <pc:sldMk cId="2779461220" sldId="2147477088"/>
            <ac:graphicFrameMk id="4" creationId="{BD075C5B-9F34-2517-7771-104F8567FD1C}"/>
          </ac:graphicFrameMkLst>
        </pc:graphicFrameChg>
        <pc:picChg chg="add del mod">
          <ac:chgData name="Markus Albuscheit" userId="4f7fce57-5076-4fe0-a4ff-e69de3a8985e" providerId="ADAL" clId="{0ACAEE19-1F3C-44E9-AA98-7871674C48E4}" dt="2023-12-14T17:00:31.515" v="7234" actId="478"/>
          <ac:picMkLst>
            <pc:docMk/>
            <pc:sldMk cId="2779461220" sldId="2147477088"/>
            <ac:picMk id="5" creationId="{340EAB2C-A042-5678-24E6-3EDD0AA73D6D}"/>
          </ac:picMkLst>
        </pc:picChg>
        <pc:picChg chg="add mod">
          <ac:chgData name="Markus Albuscheit" userId="4f7fce57-5076-4fe0-a4ff-e69de3a8985e" providerId="ADAL" clId="{0ACAEE19-1F3C-44E9-AA98-7871674C48E4}" dt="2023-12-14T17:00:45.092" v="7237" actId="1076"/>
          <ac:picMkLst>
            <pc:docMk/>
            <pc:sldMk cId="2779461220" sldId="2147477088"/>
            <ac:picMk id="10" creationId="{FE984B81-D4D8-0992-9771-282A1E0988FA}"/>
          </ac:picMkLst>
        </pc:picChg>
        <pc:picChg chg="add del mod">
          <ac:chgData name="Markus Albuscheit" userId="4f7fce57-5076-4fe0-a4ff-e69de3a8985e" providerId="ADAL" clId="{0ACAEE19-1F3C-44E9-AA98-7871674C48E4}" dt="2023-12-14T16:51:14.525" v="7172" actId="478"/>
          <ac:picMkLst>
            <pc:docMk/>
            <pc:sldMk cId="2779461220" sldId="2147477088"/>
            <ac:picMk id="2050" creationId="{8FEF9D78-7524-1F67-84B3-F3F1EFA1468A}"/>
          </ac:picMkLst>
        </pc:picChg>
      </pc:sldChg>
      <pc:sldChg chg="addSp delSp modSp add mod ord modNotesTx">
        <pc:chgData name="Markus Albuscheit" userId="4f7fce57-5076-4fe0-a4ff-e69de3a8985e" providerId="ADAL" clId="{0ACAEE19-1F3C-44E9-AA98-7871674C48E4}" dt="2023-12-15T08:03:02.802" v="8050" actId="20577"/>
        <pc:sldMkLst>
          <pc:docMk/>
          <pc:sldMk cId="1477140183" sldId="2147477089"/>
        </pc:sldMkLst>
        <pc:spChg chg="del">
          <ac:chgData name="Markus Albuscheit" userId="4f7fce57-5076-4fe0-a4ff-e69de3a8985e" providerId="ADAL" clId="{0ACAEE19-1F3C-44E9-AA98-7871674C48E4}" dt="2023-12-15T07:40:30.976" v="7982" actId="478"/>
          <ac:spMkLst>
            <pc:docMk/>
            <pc:sldMk cId="1477140183" sldId="2147477089"/>
            <ac:spMk id="2" creationId="{732D2FE1-4EAE-0181-1DF8-9E41F40E2D5A}"/>
          </ac:spMkLst>
        </pc:spChg>
        <pc:spChg chg="del">
          <ac:chgData name="Markus Albuscheit" userId="4f7fce57-5076-4fe0-a4ff-e69de3a8985e" providerId="ADAL" clId="{0ACAEE19-1F3C-44E9-AA98-7871674C48E4}" dt="2023-12-14T17:41:38.830" v="7612" actId="478"/>
          <ac:spMkLst>
            <pc:docMk/>
            <pc:sldMk cId="1477140183" sldId="2147477089"/>
            <ac:spMk id="6" creationId="{E88B2BA1-DC90-BD33-EA56-127B59C778CB}"/>
          </ac:spMkLst>
        </pc:spChg>
        <pc:spChg chg="mod">
          <ac:chgData name="Markus Albuscheit" userId="4f7fce57-5076-4fe0-a4ff-e69de3a8985e" providerId="ADAL" clId="{0ACAEE19-1F3C-44E9-AA98-7871674C48E4}" dt="2023-12-14T17:42:35.230" v="7708" actId="20577"/>
          <ac:spMkLst>
            <pc:docMk/>
            <pc:sldMk cId="1477140183" sldId="2147477089"/>
            <ac:spMk id="8" creationId="{FEE60E08-F5E5-F65E-48EF-129551BFB676}"/>
          </ac:spMkLst>
        </pc:spChg>
        <pc:spChg chg="add mod">
          <ac:chgData name="Markus Albuscheit" userId="4f7fce57-5076-4fe0-a4ff-e69de3a8985e" providerId="ADAL" clId="{0ACAEE19-1F3C-44E9-AA98-7871674C48E4}" dt="2023-12-14T17:42:25.499" v="7701" actId="58"/>
          <ac:spMkLst>
            <pc:docMk/>
            <pc:sldMk cId="1477140183" sldId="2147477089"/>
            <ac:spMk id="14" creationId="{CF15E402-D53B-2B82-48CA-FE580222A599}"/>
          </ac:spMkLst>
        </pc:spChg>
        <pc:spChg chg="add del mod">
          <ac:chgData name="Markus Albuscheit" userId="4f7fce57-5076-4fe0-a4ff-e69de3a8985e" providerId="ADAL" clId="{0ACAEE19-1F3C-44E9-AA98-7871674C48E4}" dt="2023-12-14T22:37:38.823" v="7752" actId="478"/>
          <ac:spMkLst>
            <pc:docMk/>
            <pc:sldMk cId="1477140183" sldId="2147477089"/>
            <ac:spMk id="28" creationId="{544F5D73-0D29-11C7-4A71-4CE4C96DA27B}"/>
          </ac:spMkLst>
        </pc:spChg>
        <pc:spChg chg="mod">
          <ac:chgData name="Markus Albuscheit" userId="4f7fce57-5076-4fe0-a4ff-e69de3a8985e" providerId="ADAL" clId="{0ACAEE19-1F3C-44E9-AA98-7871674C48E4}" dt="2023-12-14T17:41:22.250" v="7610" actId="1076"/>
          <ac:spMkLst>
            <pc:docMk/>
            <pc:sldMk cId="1477140183" sldId="2147477089"/>
            <ac:spMk id="30" creationId="{E687CA82-968E-BFC6-6D7C-EC1156C5E5ED}"/>
          </ac:spMkLst>
        </pc:spChg>
        <pc:spChg chg="add del mod">
          <ac:chgData name="Markus Albuscheit" userId="4f7fce57-5076-4fe0-a4ff-e69de3a8985e" providerId="ADAL" clId="{0ACAEE19-1F3C-44E9-AA98-7871674C48E4}" dt="2023-12-15T07:42:59.892" v="8006" actId="20577"/>
          <ac:spMkLst>
            <pc:docMk/>
            <pc:sldMk cId="1477140183" sldId="2147477089"/>
            <ac:spMk id="36" creationId="{786C670B-C597-81BB-035A-9039A239C553}"/>
          </ac:spMkLst>
        </pc:spChg>
        <pc:spChg chg="mod">
          <ac:chgData name="Markus Albuscheit" userId="4f7fce57-5076-4fe0-a4ff-e69de3a8985e" providerId="ADAL" clId="{0ACAEE19-1F3C-44E9-AA98-7871674C48E4}" dt="2023-12-14T17:41:22.250" v="7610" actId="1076"/>
          <ac:spMkLst>
            <pc:docMk/>
            <pc:sldMk cId="1477140183" sldId="2147477089"/>
            <ac:spMk id="38" creationId="{330C0211-B544-AF7E-8167-1611596FAEAA}"/>
          </ac:spMkLst>
        </pc:spChg>
        <pc:spChg chg="add del mod">
          <ac:chgData name="Markus Albuscheit" userId="4f7fce57-5076-4fe0-a4ff-e69de3a8985e" providerId="ADAL" clId="{0ACAEE19-1F3C-44E9-AA98-7871674C48E4}" dt="2023-12-14T17:41:22.250" v="7610" actId="1076"/>
          <ac:spMkLst>
            <pc:docMk/>
            <pc:sldMk cId="1477140183" sldId="2147477089"/>
            <ac:spMk id="44" creationId="{DCFF7156-FA88-52D0-2CA6-64A1E86DE448}"/>
          </ac:spMkLst>
        </pc:spChg>
        <pc:spChg chg="mod">
          <ac:chgData name="Markus Albuscheit" userId="4f7fce57-5076-4fe0-a4ff-e69de3a8985e" providerId="ADAL" clId="{0ACAEE19-1F3C-44E9-AA98-7871674C48E4}" dt="2023-12-14T17:41:22.250" v="7610" actId="1076"/>
          <ac:spMkLst>
            <pc:docMk/>
            <pc:sldMk cId="1477140183" sldId="2147477089"/>
            <ac:spMk id="46" creationId="{470270C5-4389-23DD-4D69-30E939806B1A}"/>
          </ac:spMkLst>
        </pc:spChg>
        <pc:grpChg chg="add del mod">
          <ac:chgData name="Markus Albuscheit" userId="4f7fce57-5076-4fe0-a4ff-e69de3a8985e" providerId="ADAL" clId="{0ACAEE19-1F3C-44E9-AA98-7871674C48E4}" dt="2023-12-14T17:41:10.845" v="7605"/>
          <ac:grpSpMkLst>
            <pc:docMk/>
            <pc:sldMk cId="1477140183" sldId="2147477089"/>
            <ac:grpSpMk id="2" creationId="{543B038F-8980-8D17-89D7-530B57F8B290}"/>
          </ac:grpSpMkLst>
        </pc:grpChg>
        <pc:grpChg chg="add mod">
          <ac:chgData name="Markus Albuscheit" userId="4f7fce57-5076-4fe0-a4ff-e69de3a8985e" providerId="ADAL" clId="{0ACAEE19-1F3C-44E9-AA98-7871674C48E4}" dt="2023-12-14T17:41:30.119" v="7611" actId="1076"/>
          <ac:grpSpMkLst>
            <pc:docMk/>
            <pc:sldMk cId="1477140183" sldId="2147477089"/>
            <ac:grpSpMk id="5" creationId="{E1C82C87-E579-BC1D-04A0-26649F19E419}"/>
          </ac:grpSpMkLst>
        </pc:grpChg>
        <pc:picChg chg="mod">
          <ac:chgData name="Markus Albuscheit" userId="4f7fce57-5076-4fe0-a4ff-e69de3a8985e" providerId="ADAL" clId="{0ACAEE19-1F3C-44E9-AA98-7871674C48E4}" dt="2023-12-14T17:41:08.490" v="7604"/>
          <ac:picMkLst>
            <pc:docMk/>
            <pc:sldMk cId="1477140183" sldId="2147477089"/>
            <ac:picMk id="3" creationId="{AF8095D7-0C73-28DB-D332-D26E658E31F0}"/>
          </ac:picMkLst>
        </pc:picChg>
        <pc:picChg chg="mod">
          <ac:chgData name="Markus Albuscheit" userId="4f7fce57-5076-4fe0-a4ff-e69de3a8985e" providerId="ADAL" clId="{0ACAEE19-1F3C-44E9-AA98-7871674C48E4}" dt="2023-12-14T17:41:08.490" v="7604"/>
          <ac:picMkLst>
            <pc:docMk/>
            <pc:sldMk cId="1477140183" sldId="2147477089"/>
            <ac:picMk id="4" creationId="{6B81A3A8-E177-46EF-379F-8AB6B09DFA2A}"/>
          </ac:picMkLst>
        </pc:picChg>
        <pc:picChg chg="mod">
          <ac:chgData name="Markus Albuscheit" userId="4f7fce57-5076-4fe0-a4ff-e69de3a8985e" providerId="ADAL" clId="{0ACAEE19-1F3C-44E9-AA98-7871674C48E4}" dt="2023-12-14T17:41:14.721" v="7609"/>
          <ac:picMkLst>
            <pc:docMk/>
            <pc:sldMk cId="1477140183" sldId="2147477089"/>
            <ac:picMk id="10" creationId="{05D65D18-2CCD-EE15-0964-0422B222C8D9}"/>
          </ac:picMkLst>
        </pc:picChg>
        <pc:picChg chg="mod">
          <ac:chgData name="Markus Albuscheit" userId="4f7fce57-5076-4fe0-a4ff-e69de3a8985e" providerId="ADAL" clId="{0ACAEE19-1F3C-44E9-AA98-7871674C48E4}" dt="2023-12-14T17:41:14.721" v="7609"/>
          <ac:picMkLst>
            <pc:docMk/>
            <pc:sldMk cId="1477140183" sldId="2147477089"/>
            <ac:picMk id="12" creationId="{B77292D1-91B7-48B7-6CF4-41BE6B52AA45}"/>
          </ac:picMkLst>
        </pc:picChg>
      </pc:sldChg>
      <pc:sldChg chg="delSp modSp add del mod ord modNotesTx">
        <pc:chgData name="Markus Albuscheit" userId="4f7fce57-5076-4fe0-a4ff-e69de3a8985e" providerId="ADAL" clId="{0ACAEE19-1F3C-44E9-AA98-7871674C48E4}" dt="2023-12-15T08:00:10.817" v="8043" actId="47"/>
        <pc:sldMkLst>
          <pc:docMk/>
          <pc:sldMk cId="2933856185" sldId="2147477090"/>
        </pc:sldMkLst>
        <pc:spChg chg="del mod">
          <ac:chgData name="Markus Albuscheit" userId="4f7fce57-5076-4fe0-a4ff-e69de3a8985e" providerId="ADAL" clId="{0ACAEE19-1F3C-44E9-AA98-7871674C48E4}" dt="2023-12-14T22:47:09.777" v="7932" actId="478"/>
          <ac:spMkLst>
            <pc:docMk/>
            <pc:sldMk cId="2933856185" sldId="2147477090"/>
            <ac:spMk id="2" creationId="{732D2FE1-4EAE-0181-1DF8-9E41F40E2D5A}"/>
          </ac:spMkLst>
        </pc:spChg>
        <pc:spChg chg="mod">
          <ac:chgData name="Markus Albuscheit" userId="4f7fce57-5076-4fe0-a4ff-e69de3a8985e" providerId="ADAL" clId="{0ACAEE19-1F3C-44E9-AA98-7871674C48E4}" dt="2023-12-14T22:48:33.766" v="7957" actId="20577"/>
          <ac:spMkLst>
            <pc:docMk/>
            <pc:sldMk cId="2933856185" sldId="2147477090"/>
            <ac:spMk id="14" creationId="{CF15E402-D53B-2B82-48CA-FE580222A599}"/>
          </ac:spMkLst>
        </pc:spChg>
        <pc:spChg chg="del">
          <ac:chgData name="Markus Albuscheit" userId="4f7fce57-5076-4fe0-a4ff-e69de3a8985e" providerId="ADAL" clId="{0ACAEE19-1F3C-44E9-AA98-7871674C48E4}" dt="2023-12-14T22:47:14.777" v="7933" actId="478"/>
          <ac:spMkLst>
            <pc:docMk/>
            <pc:sldMk cId="2933856185" sldId="2147477090"/>
            <ac:spMk id="28" creationId="{544F5D73-0D29-11C7-4A71-4CE4C96DA27B}"/>
          </ac:spMkLst>
        </pc:spChg>
        <pc:spChg chg="mod">
          <ac:chgData name="Markus Albuscheit" userId="4f7fce57-5076-4fe0-a4ff-e69de3a8985e" providerId="ADAL" clId="{0ACAEE19-1F3C-44E9-AA98-7871674C48E4}" dt="2023-12-14T22:48:23.555" v="7950" actId="1076"/>
          <ac:spMkLst>
            <pc:docMk/>
            <pc:sldMk cId="2933856185" sldId="2147477090"/>
            <ac:spMk id="30" creationId="{E687CA82-968E-BFC6-6D7C-EC1156C5E5ED}"/>
          </ac:spMkLst>
        </pc:spChg>
        <pc:spChg chg="del">
          <ac:chgData name="Markus Albuscheit" userId="4f7fce57-5076-4fe0-a4ff-e69de3a8985e" providerId="ADAL" clId="{0ACAEE19-1F3C-44E9-AA98-7871674C48E4}" dt="2023-12-14T22:47:16.219" v="7934" actId="478"/>
          <ac:spMkLst>
            <pc:docMk/>
            <pc:sldMk cId="2933856185" sldId="2147477090"/>
            <ac:spMk id="36" creationId="{786C670B-C597-81BB-035A-9039A239C553}"/>
          </ac:spMkLst>
        </pc:spChg>
        <pc:spChg chg="mod">
          <ac:chgData name="Markus Albuscheit" userId="4f7fce57-5076-4fe0-a4ff-e69de3a8985e" providerId="ADAL" clId="{0ACAEE19-1F3C-44E9-AA98-7871674C48E4}" dt="2023-12-14T22:48:23.555" v="7950" actId="1076"/>
          <ac:spMkLst>
            <pc:docMk/>
            <pc:sldMk cId="2933856185" sldId="2147477090"/>
            <ac:spMk id="38" creationId="{330C0211-B544-AF7E-8167-1611596FAEAA}"/>
          </ac:spMkLst>
        </pc:spChg>
        <pc:spChg chg="del">
          <ac:chgData name="Markus Albuscheit" userId="4f7fce57-5076-4fe0-a4ff-e69de3a8985e" providerId="ADAL" clId="{0ACAEE19-1F3C-44E9-AA98-7871674C48E4}" dt="2023-12-14T22:47:17.406" v="7935" actId="478"/>
          <ac:spMkLst>
            <pc:docMk/>
            <pc:sldMk cId="2933856185" sldId="2147477090"/>
            <ac:spMk id="44" creationId="{DCFF7156-FA88-52D0-2CA6-64A1E86DE448}"/>
          </ac:spMkLst>
        </pc:spChg>
        <pc:spChg chg="mod">
          <ac:chgData name="Markus Albuscheit" userId="4f7fce57-5076-4fe0-a4ff-e69de3a8985e" providerId="ADAL" clId="{0ACAEE19-1F3C-44E9-AA98-7871674C48E4}" dt="2023-12-14T22:48:23.555" v="7950" actId="1076"/>
          <ac:spMkLst>
            <pc:docMk/>
            <pc:sldMk cId="2933856185" sldId="2147477090"/>
            <ac:spMk id="46" creationId="{470270C5-4389-23DD-4D69-30E939806B1A}"/>
          </ac:spMkLst>
        </pc:spChg>
        <pc:grpChg chg="mod">
          <ac:chgData name="Markus Albuscheit" userId="4f7fce57-5076-4fe0-a4ff-e69de3a8985e" providerId="ADAL" clId="{0ACAEE19-1F3C-44E9-AA98-7871674C48E4}" dt="2023-12-14T22:48:28.012" v="7951" actId="1076"/>
          <ac:grpSpMkLst>
            <pc:docMk/>
            <pc:sldMk cId="2933856185" sldId="2147477090"/>
            <ac:grpSpMk id="5" creationId="{E1C82C87-E579-BC1D-04A0-26649F19E419}"/>
          </ac:grpSpMkLst>
        </pc:grpChg>
      </pc:sldChg>
      <pc:sldMasterChg chg="delSldLayout">
        <pc:chgData name="Markus Albuscheit" userId="4f7fce57-5076-4fe0-a4ff-e69de3a8985e" providerId="ADAL" clId="{0ACAEE19-1F3C-44E9-AA98-7871674C48E4}" dt="2023-12-15T08:00:00.145" v="8041" actId="47"/>
        <pc:sldMasterMkLst>
          <pc:docMk/>
          <pc:sldMasterMk cId="2102624480" sldId="2147483648"/>
        </pc:sldMasterMkLst>
        <pc:sldLayoutChg chg="del">
          <pc:chgData name="Markus Albuscheit" userId="4f7fce57-5076-4fe0-a4ff-e69de3a8985e" providerId="ADAL" clId="{0ACAEE19-1F3C-44E9-AA98-7871674C48E4}" dt="2023-12-15T08:00:00.145" v="8041" actId="47"/>
          <pc:sldLayoutMkLst>
            <pc:docMk/>
            <pc:sldMasterMk cId="2102624480" sldId="2147483648"/>
            <pc:sldLayoutMk cId="601768315" sldId="2147483725"/>
          </pc:sldLayoutMkLst>
        </pc:sldLayoutChg>
      </pc:sldMasterChg>
      <pc:sldMasterChg chg="delSldLayout">
        <pc:chgData name="Markus Albuscheit" userId="4f7fce57-5076-4fe0-a4ff-e69de3a8985e" providerId="ADAL" clId="{0ACAEE19-1F3C-44E9-AA98-7871674C48E4}" dt="2023-12-13T17:48:08.315" v="2037" actId="47"/>
        <pc:sldMasterMkLst>
          <pc:docMk/>
          <pc:sldMasterMk cId="2102624480" sldId="2147483726"/>
        </pc:sldMasterMkLst>
        <pc:sldLayoutChg chg="del">
          <pc:chgData name="Markus Albuscheit" userId="4f7fce57-5076-4fe0-a4ff-e69de3a8985e" providerId="ADAL" clId="{0ACAEE19-1F3C-44E9-AA98-7871674C48E4}" dt="2023-12-13T17:48:08.315" v="2037" actId="47"/>
          <pc:sldLayoutMkLst>
            <pc:docMk/>
            <pc:sldMasterMk cId="2102624480" sldId="2147483726"/>
            <pc:sldLayoutMk cId="2827969084" sldId="2147483723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F050264-BAAC-B262-4B45-32C98AB88A2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2641A5A-BF77-7206-F970-7C37F6C9781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F0584D-3255-4B3D-9401-152C0AFA5F2C}" type="datetimeFigureOut">
              <a:rPr lang="de-DE" smtClean="0"/>
              <a:t>15.12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8BE7A82-8117-D9B4-C7A7-5CB7BADC46A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527FB79-9425-3348-BC33-34CD0BFD894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4F8E44-3EFD-429B-A825-41016FCC2A9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955368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72A060-9C64-4A40-A969-E855CB735F58}" type="datetimeFigureOut">
              <a:rPr lang="de-DE" smtClean="0"/>
              <a:t>15.12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7F50DF-F8EF-439F-B97D-EEEFA6C6E7E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62418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7F50DF-F8EF-439F-B97D-EEEFA6C6E7E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11588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7F50DF-F8EF-439F-B97D-EEEFA6C6E7E6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29146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7F50DF-F8EF-439F-B97D-EEEFA6C6E7E6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50818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7F50DF-F8EF-439F-B97D-EEEFA6C6E7E6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84763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7F50DF-F8EF-439F-B97D-EEEFA6C6E7E6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856560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TCO Studies – External Studies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7F50DF-F8EF-439F-B97D-EEEFA6C6E7E6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68982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7F50DF-F8EF-439F-B97D-EEEFA6C6E7E6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27797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7F50DF-F8EF-439F-B97D-EEEFA6C6E7E6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30943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7F50DF-F8EF-439F-B97D-EEEFA6C6E7E6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33681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7F50DF-F8EF-439F-B97D-EEEFA6C6E7E6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93996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7F50DF-F8EF-439F-B97D-EEEFA6C6E7E6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04632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7F50DF-F8EF-439F-B97D-EEEFA6C6E7E6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68420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2DA5F07F-145C-53DF-7270-C02F96F439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17" name="Grafik 8">
            <a:extLst>
              <a:ext uri="{FF2B5EF4-FFF2-40B4-BE49-F238E27FC236}">
                <a16:creationId xmlns:a16="http://schemas.microsoft.com/office/drawing/2014/main" id="{28D79859-1616-CA2B-B576-8BF3C38976E8}"/>
              </a:ext>
            </a:extLst>
          </p:cNvPr>
          <p:cNvSpPr/>
          <p:nvPr userDrawn="1"/>
        </p:nvSpPr>
        <p:spPr>
          <a:xfrm>
            <a:off x="5394251" y="0"/>
            <a:ext cx="6386623" cy="5095982"/>
          </a:xfrm>
          <a:custGeom>
            <a:avLst/>
            <a:gdLst>
              <a:gd name="connsiteX0" fmla="*/ 3854415 w 4789532"/>
              <a:gd name="connsiteY0" fmla="*/ 631793 h 3821639"/>
              <a:gd name="connsiteX1" fmla="*/ 4431859 w 4789532"/>
              <a:gd name="connsiteY1" fmla="*/ 1715929 h 3821639"/>
              <a:gd name="connsiteX2" fmla="*/ 3854415 w 4789532"/>
              <a:gd name="connsiteY2" fmla="*/ 2800045 h 3821639"/>
              <a:gd name="connsiteX3" fmla="*/ 4212079 w 4789532"/>
              <a:gd name="connsiteY3" fmla="*/ 2800045 h 3821639"/>
              <a:gd name="connsiteX4" fmla="*/ 4789532 w 4789532"/>
              <a:gd name="connsiteY4" fmla="*/ 1715929 h 3821639"/>
              <a:gd name="connsiteX5" fmla="*/ 4212079 w 4789532"/>
              <a:gd name="connsiteY5" fmla="*/ 631793 h 3821639"/>
              <a:gd name="connsiteX6" fmla="*/ 3854415 w 4789532"/>
              <a:gd name="connsiteY6" fmla="*/ 631793 h 3821639"/>
              <a:gd name="connsiteX7" fmla="*/ 853631 w 4789532"/>
              <a:gd name="connsiteY7" fmla="*/ 0 h 3821639"/>
              <a:gd name="connsiteX8" fmla="*/ 0 w 4789532"/>
              <a:gd name="connsiteY8" fmla="*/ 1684877 h 3821639"/>
              <a:gd name="connsiteX9" fmla="*/ 1129532 w 4789532"/>
              <a:gd name="connsiteY9" fmla="*/ 3821640 h 3821639"/>
              <a:gd name="connsiteX10" fmla="*/ 3540747 w 4789532"/>
              <a:gd name="connsiteY10" fmla="*/ 3821640 h 3821639"/>
              <a:gd name="connsiteX11" fmla="*/ 3540747 w 4789532"/>
              <a:gd name="connsiteY11" fmla="*/ 3500142 h 3821639"/>
              <a:gd name="connsiteX12" fmla="*/ 1323270 w 4789532"/>
              <a:gd name="connsiteY12" fmla="*/ 3500142 h 3821639"/>
              <a:gd name="connsiteX13" fmla="*/ 362036 w 4789532"/>
              <a:gd name="connsiteY13" fmla="*/ 1681782 h 3821639"/>
              <a:gd name="connsiteX14" fmla="*/ 1214095 w 4789532"/>
              <a:gd name="connsiteY14" fmla="*/ 0 h 3821639"/>
              <a:gd name="connsiteX15" fmla="*/ 853631 w 4789532"/>
              <a:gd name="connsiteY15" fmla="*/ 0 h 3821639"/>
              <a:gd name="connsiteX16" fmla="*/ 3218888 w 4789532"/>
              <a:gd name="connsiteY16" fmla="*/ 0 h 3821639"/>
              <a:gd name="connsiteX17" fmla="*/ 3218888 w 4789532"/>
              <a:gd name="connsiteY17" fmla="*/ 917000 h 3821639"/>
              <a:gd name="connsiteX18" fmla="*/ 2372601 w 4789532"/>
              <a:gd name="connsiteY18" fmla="*/ 917000 h 3821639"/>
              <a:gd name="connsiteX19" fmla="*/ 2372601 w 4789532"/>
              <a:gd name="connsiteY19" fmla="*/ 0 h 3821639"/>
              <a:gd name="connsiteX20" fmla="*/ 2048713 w 4789532"/>
              <a:gd name="connsiteY20" fmla="*/ 0 h 3821639"/>
              <a:gd name="connsiteX21" fmla="*/ 2048713 w 4789532"/>
              <a:gd name="connsiteY21" fmla="*/ 2105949 h 3821639"/>
              <a:gd name="connsiteX22" fmla="*/ 2372601 w 4789532"/>
              <a:gd name="connsiteY22" fmla="*/ 2105949 h 3821639"/>
              <a:gd name="connsiteX23" fmla="*/ 2372601 w 4789532"/>
              <a:gd name="connsiteY23" fmla="*/ 1204246 h 3821639"/>
              <a:gd name="connsiteX24" fmla="*/ 3218888 w 4789532"/>
              <a:gd name="connsiteY24" fmla="*/ 1204246 h 3821639"/>
              <a:gd name="connsiteX25" fmla="*/ 3218888 w 4789532"/>
              <a:gd name="connsiteY25" fmla="*/ 2105949 h 3821639"/>
              <a:gd name="connsiteX26" fmla="*/ 3542757 w 4789532"/>
              <a:gd name="connsiteY26" fmla="*/ 2105949 h 3821639"/>
              <a:gd name="connsiteX27" fmla="*/ 3542757 w 4789532"/>
              <a:gd name="connsiteY27" fmla="*/ 0 h 3821639"/>
              <a:gd name="connsiteX28" fmla="*/ 3218888 w 4789532"/>
              <a:gd name="connsiteY28" fmla="*/ 0 h 3821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789532" h="3821639">
                <a:moveTo>
                  <a:pt x="3854415" y="631793"/>
                </a:moveTo>
                <a:lnTo>
                  <a:pt x="4431859" y="1715929"/>
                </a:lnTo>
                <a:lnTo>
                  <a:pt x="3854415" y="2800045"/>
                </a:lnTo>
                <a:lnTo>
                  <a:pt x="4212079" y="2800045"/>
                </a:lnTo>
                <a:lnTo>
                  <a:pt x="4789532" y="1715929"/>
                </a:lnTo>
                <a:lnTo>
                  <a:pt x="4212079" y="631793"/>
                </a:lnTo>
                <a:lnTo>
                  <a:pt x="3854415" y="631793"/>
                </a:lnTo>
                <a:close/>
                <a:moveTo>
                  <a:pt x="853631" y="0"/>
                </a:moveTo>
                <a:lnTo>
                  <a:pt x="0" y="1684877"/>
                </a:lnTo>
                <a:lnTo>
                  <a:pt x="1129532" y="3821640"/>
                </a:lnTo>
                <a:lnTo>
                  <a:pt x="3540747" y="3821640"/>
                </a:lnTo>
                <a:lnTo>
                  <a:pt x="3540747" y="3500142"/>
                </a:lnTo>
                <a:lnTo>
                  <a:pt x="1323270" y="3500142"/>
                </a:lnTo>
                <a:lnTo>
                  <a:pt x="362036" y="1681782"/>
                </a:lnTo>
                <a:lnTo>
                  <a:pt x="1214095" y="0"/>
                </a:lnTo>
                <a:lnTo>
                  <a:pt x="853631" y="0"/>
                </a:lnTo>
                <a:close/>
                <a:moveTo>
                  <a:pt x="3218888" y="0"/>
                </a:moveTo>
                <a:lnTo>
                  <a:pt x="3218888" y="917000"/>
                </a:lnTo>
                <a:lnTo>
                  <a:pt x="2372601" y="917000"/>
                </a:lnTo>
                <a:lnTo>
                  <a:pt x="2372601" y="0"/>
                </a:lnTo>
                <a:lnTo>
                  <a:pt x="2048713" y="0"/>
                </a:lnTo>
                <a:lnTo>
                  <a:pt x="2048713" y="2105949"/>
                </a:lnTo>
                <a:lnTo>
                  <a:pt x="2372601" y="2105949"/>
                </a:lnTo>
                <a:lnTo>
                  <a:pt x="2372601" y="1204246"/>
                </a:lnTo>
                <a:lnTo>
                  <a:pt x="3218888" y="1204246"/>
                </a:lnTo>
                <a:lnTo>
                  <a:pt x="3218888" y="2105949"/>
                </a:lnTo>
                <a:lnTo>
                  <a:pt x="3542757" y="2105949"/>
                </a:lnTo>
                <a:lnTo>
                  <a:pt x="3542757" y="0"/>
                </a:lnTo>
                <a:lnTo>
                  <a:pt x="3218888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  <a:ln w="8192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noProof="0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808CAAD2-8D34-9B60-193B-929DAF5CDA44}"/>
              </a:ext>
            </a:extLst>
          </p:cNvPr>
          <p:cNvGrpSpPr/>
          <p:nvPr userDrawn="1"/>
        </p:nvGrpSpPr>
        <p:grpSpPr>
          <a:xfrm>
            <a:off x="661988" y="505156"/>
            <a:ext cx="2900362" cy="404728"/>
            <a:chOff x="-161925" y="-1630732"/>
            <a:chExt cx="12193587" cy="1701544"/>
          </a:xfrm>
          <a:solidFill>
            <a:schemeClr val="bg1"/>
          </a:solidFill>
        </p:grpSpPr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A9DB91B9-B210-C320-6926-129B72C0E576}"/>
                </a:ext>
              </a:extLst>
            </p:cNvPr>
            <p:cNvSpPr/>
            <p:nvPr/>
          </p:nvSpPr>
          <p:spPr>
            <a:xfrm>
              <a:off x="10774928" y="-1247713"/>
              <a:ext cx="1256734" cy="356304"/>
            </a:xfrm>
            <a:custGeom>
              <a:avLst/>
              <a:gdLst>
                <a:gd name="connsiteX0" fmla="*/ 1226823 w 1256734"/>
                <a:gd name="connsiteY0" fmla="*/ 269166 h 356304"/>
                <a:gd name="connsiteX1" fmla="*/ 1133491 w 1256734"/>
                <a:gd name="connsiteY1" fmla="*/ 316610 h 356304"/>
                <a:gd name="connsiteX2" fmla="*/ 1010248 w 1256734"/>
                <a:gd name="connsiteY2" fmla="*/ 178448 h 356304"/>
                <a:gd name="connsiteX3" fmla="*/ 1131426 w 1256734"/>
                <a:gd name="connsiteY3" fmla="*/ 39696 h 356304"/>
                <a:gd name="connsiteX4" fmla="*/ 1226823 w 1256734"/>
                <a:gd name="connsiteY4" fmla="*/ 86659 h 356304"/>
                <a:gd name="connsiteX5" fmla="*/ 1256735 w 1256734"/>
                <a:gd name="connsiteY5" fmla="*/ 58823 h 356304"/>
                <a:gd name="connsiteX6" fmla="*/ 1216553 w 1256734"/>
                <a:gd name="connsiteY6" fmla="*/ 23241 h 356304"/>
                <a:gd name="connsiteX7" fmla="*/ 1130420 w 1256734"/>
                <a:gd name="connsiteY7" fmla="*/ 0 h 356304"/>
                <a:gd name="connsiteX8" fmla="*/ 965885 w 1256734"/>
                <a:gd name="connsiteY8" fmla="*/ 178448 h 356304"/>
                <a:gd name="connsiteX9" fmla="*/ 1011783 w 1256734"/>
                <a:gd name="connsiteY9" fmla="*/ 305763 h 356304"/>
                <a:gd name="connsiteX10" fmla="*/ 1129892 w 1256734"/>
                <a:gd name="connsiteY10" fmla="*/ 356305 h 356304"/>
                <a:gd name="connsiteX11" fmla="*/ 1255676 w 1256734"/>
                <a:gd name="connsiteY11" fmla="*/ 298071 h 356304"/>
                <a:gd name="connsiteX12" fmla="*/ 1226823 w 1256734"/>
                <a:gd name="connsiteY12" fmla="*/ 269166 h 356304"/>
                <a:gd name="connsiteX13" fmla="*/ 679216 w 1256734"/>
                <a:gd name="connsiteY13" fmla="*/ 197999 h 356304"/>
                <a:gd name="connsiteX14" fmla="*/ 846824 w 1256734"/>
                <a:gd name="connsiteY14" fmla="*/ 197999 h 356304"/>
                <a:gd name="connsiteX15" fmla="*/ 846824 w 1256734"/>
                <a:gd name="connsiteY15" fmla="*/ 350105 h 356304"/>
                <a:gd name="connsiteX16" fmla="*/ 890075 w 1256734"/>
                <a:gd name="connsiteY16" fmla="*/ 350105 h 356304"/>
                <a:gd name="connsiteX17" fmla="*/ 890075 w 1256734"/>
                <a:gd name="connsiteY17" fmla="*/ 6198 h 356304"/>
                <a:gd name="connsiteX18" fmla="*/ 846824 w 1256734"/>
                <a:gd name="connsiteY18" fmla="*/ 6198 h 356304"/>
                <a:gd name="connsiteX19" fmla="*/ 846824 w 1256734"/>
                <a:gd name="connsiteY19" fmla="*/ 160920 h 356304"/>
                <a:gd name="connsiteX20" fmla="*/ 679216 w 1256734"/>
                <a:gd name="connsiteY20" fmla="*/ 160920 h 356304"/>
                <a:gd name="connsiteX21" fmla="*/ 679216 w 1256734"/>
                <a:gd name="connsiteY21" fmla="*/ 6198 h 356304"/>
                <a:gd name="connsiteX22" fmla="*/ 635912 w 1256734"/>
                <a:gd name="connsiteY22" fmla="*/ 6198 h 356304"/>
                <a:gd name="connsiteX23" fmla="*/ 635912 w 1256734"/>
                <a:gd name="connsiteY23" fmla="*/ 350105 h 356304"/>
                <a:gd name="connsiteX24" fmla="*/ 679216 w 1256734"/>
                <a:gd name="connsiteY24" fmla="*/ 350105 h 356304"/>
                <a:gd name="connsiteX25" fmla="*/ 679216 w 1256734"/>
                <a:gd name="connsiteY25" fmla="*/ 197999 h 356304"/>
                <a:gd name="connsiteX26" fmla="*/ 392018 w 1256734"/>
                <a:gd name="connsiteY26" fmla="*/ 40230 h 356304"/>
                <a:gd name="connsiteX27" fmla="*/ 476563 w 1256734"/>
                <a:gd name="connsiteY27" fmla="*/ 75813 h 356304"/>
                <a:gd name="connsiteX28" fmla="*/ 515792 w 1256734"/>
                <a:gd name="connsiteY28" fmla="*/ 181011 h 356304"/>
                <a:gd name="connsiteX29" fmla="*/ 482758 w 1256734"/>
                <a:gd name="connsiteY29" fmla="*/ 275365 h 356304"/>
                <a:gd name="connsiteX30" fmla="*/ 390960 w 1256734"/>
                <a:gd name="connsiteY30" fmla="*/ 316610 h 356304"/>
                <a:gd name="connsiteX31" fmla="*/ 267239 w 1256734"/>
                <a:gd name="connsiteY31" fmla="*/ 178448 h 356304"/>
                <a:gd name="connsiteX32" fmla="*/ 392018 w 1256734"/>
                <a:gd name="connsiteY32" fmla="*/ 40230 h 356304"/>
                <a:gd name="connsiteX33" fmla="*/ 393077 w 1256734"/>
                <a:gd name="connsiteY33" fmla="*/ 0 h 356304"/>
                <a:gd name="connsiteX34" fmla="*/ 222876 w 1256734"/>
                <a:gd name="connsiteY34" fmla="*/ 179994 h 356304"/>
                <a:gd name="connsiteX35" fmla="*/ 258982 w 1256734"/>
                <a:gd name="connsiteY35" fmla="*/ 291872 h 356304"/>
                <a:gd name="connsiteX36" fmla="*/ 392018 w 1256734"/>
                <a:gd name="connsiteY36" fmla="*/ 356305 h 356304"/>
                <a:gd name="connsiteX37" fmla="*/ 501868 w 1256734"/>
                <a:gd name="connsiteY37" fmla="*/ 315059 h 356304"/>
                <a:gd name="connsiteX38" fmla="*/ 560155 w 1256734"/>
                <a:gd name="connsiteY38" fmla="*/ 181545 h 356304"/>
                <a:gd name="connsiteX39" fmla="*/ 519921 w 1256734"/>
                <a:gd name="connsiteY39" fmla="*/ 59304 h 356304"/>
                <a:gd name="connsiteX40" fmla="*/ 393077 w 1256734"/>
                <a:gd name="connsiteY40" fmla="*/ 0 h 356304"/>
                <a:gd name="connsiteX41" fmla="*/ 43306 w 1256734"/>
                <a:gd name="connsiteY41" fmla="*/ 310946 h 356304"/>
                <a:gd name="connsiteX42" fmla="*/ 43306 w 1256734"/>
                <a:gd name="connsiteY42" fmla="*/ 6198 h 356304"/>
                <a:gd name="connsiteX43" fmla="*/ 0 w 1256734"/>
                <a:gd name="connsiteY43" fmla="*/ 6198 h 356304"/>
                <a:gd name="connsiteX44" fmla="*/ 0 w 1256734"/>
                <a:gd name="connsiteY44" fmla="*/ 350105 h 356304"/>
                <a:gd name="connsiteX45" fmla="*/ 194237 w 1256734"/>
                <a:gd name="connsiteY45" fmla="*/ 350105 h 356304"/>
                <a:gd name="connsiteX46" fmla="*/ 194237 w 1256734"/>
                <a:gd name="connsiteY46" fmla="*/ 310946 h 356304"/>
                <a:gd name="connsiteX47" fmla="*/ 43306 w 1256734"/>
                <a:gd name="connsiteY47" fmla="*/ 310946 h 35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256734" h="356304">
                  <a:moveTo>
                    <a:pt x="1226823" y="269166"/>
                  </a:moveTo>
                  <a:cubicBezTo>
                    <a:pt x="1200037" y="301650"/>
                    <a:pt x="1171131" y="316610"/>
                    <a:pt x="1133491" y="316610"/>
                  </a:cubicBezTo>
                  <a:cubicBezTo>
                    <a:pt x="1062341" y="316610"/>
                    <a:pt x="1010248" y="258371"/>
                    <a:pt x="1010248" y="178448"/>
                  </a:cubicBezTo>
                  <a:cubicBezTo>
                    <a:pt x="1010248" y="97985"/>
                    <a:pt x="1061334" y="39696"/>
                    <a:pt x="1131426" y="39696"/>
                  </a:cubicBezTo>
                  <a:cubicBezTo>
                    <a:pt x="1168008" y="39696"/>
                    <a:pt x="1193313" y="52092"/>
                    <a:pt x="1226823" y="86659"/>
                  </a:cubicBezTo>
                  <a:lnTo>
                    <a:pt x="1256735" y="58823"/>
                  </a:lnTo>
                  <a:cubicBezTo>
                    <a:pt x="1239742" y="40230"/>
                    <a:pt x="1230424" y="32003"/>
                    <a:pt x="1216553" y="23241"/>
                  </a:cubicBezTo>
                  <a:cubicBezTo>
                    <a:pt x="1191725" y="8281"/>
                    <a:pt x="1161338" y="0"/>
                    <a:pt x="1130420" y="0"/>
                  </a:cubicBezTo>
                  <a:cubicBezTo>
                    <a:pt x="1035500" y="0"/>
                    <a:pt x="965885" y="75279"/>
                    <a:pt x="965885" y="178448"/>
                  </a:cubicBezTo>
                  <a:cubicBezTo>
                    <a:pt x="965885" y="226369"/>
                    <a:pt x="982931" y="273279"/>
                    <a:pt x="1011783" y="305763"/>
                  </a:cubicBezTo>
                  <a:cubicBezTo>
                    <a:pt x="1041165" y="338782"/>
                    <a:pt x="1081928" y="356305"/>
                    <a:pt x="1129892" y="356305"/>
                  </a:cubicBezTo>
                  <a:cubicBezTo>
                    <a:pt x="1182990" y="356305"/>
                    <a:pt x="1221107" y="338782"/>
                    <a:pt x="1255676" y="298071"/>
                  </a:cubicBezTo>
                  <a:lnTo>
                    <a:pt x="1226823" y="269166"/>
                  </a:lnTo>
                  <a:close/>
                  <a:moveTo>
                    <a:pt x="679216" y="197999"/>
                  </a:moveTo>
                  <a:lnTo>
                    <a:pt x="846824" y="197999"/>
                  </a:lnTo>
                  <a:lnTo>
                    <a:pt x="846824" y="350105"/>
                  </a:lnTo>
                  <a:lnTo>
                    <a:pt x="890075" y="350105"/>
                  </a:lnTo>
                  <a:lnTo>
                    <a:pt x="890075" y="6198"/>
                  </a:lnTo>
                  <a:lnTo>
                    <a:pt x="846824" y="6198"/>
                  </a:lnTo>
                  <a:lnTo>
                    <a:pt x="846824" y="160920"/>
                  </a:lnTo>
                  <a:lnTo>
                    <a:pt x="679216" y="160920"/>
                  </a:lnTo>
                  <a:lnTo>
                    <a:pt x="679216" y="6198"/>
                  </a:lnTo>
                  <a:lnTo>
                    <a:pt x="635912" y="6198"/>
                  </a:lnTo>
                  <a:lnTo>
                    <a:pt x="635912" y="350105"/>
                  </a:lnTo>
                  <a:lnTo>
                    <a:pt x="679216" y="350105"/>
                  </a:lnTo>
                  <a:lnTo>
                    <a:pt x="679216" y="197999"/>
                  </a:lnTo>
                  <a:close/>
                  <a:moveTo>
                    <a:pt x="392018" y="40230"/>
                  </a:moveTo>
                  <a:cubicBezTo>
                    <a:pt x="422459" y="40230"/>
                    <a:pt x="453904" y="53641"/>
                    <a:pt x="476563" y="75813"/>
                  </a:cubicBezTo>
                  <a:cubicBezTo>
                    <a:pt x="503404" y="101618"/>
                    <a:pt x="515792" y="135117"/>
                    <a:pt x="515792" y="181011"/>
                  </a:cubicBezTo>
                  <a:cubicBezTo>
                    <a:pt x="515792" y="216057"/>
                    <a:pt x="502874" y="253189"/>
                    <a:pt x="482758" y="275365"/>
                  </a:cubicBezTo>
                  <a:cubicBezTo>
                    <a:pt x="459569" y="301650"/>
                    <a:pt x="425530" y="316610"/>
                    <a:pt x="390960" y="316610"/>
                  </a:cubicBezTo>
                  <a:cubicBezTo>
                    <a:pt x="319809" y="316610"/>
                    <a:pt x="267239" y="258371"/>
                    <a:pt x="267239" y="178448"/>
                  </a:cubicBezTo>
                  <a:cubicBezTo>
                    <a:pt x="267239" y="99000"/>
                    <a:pt x="320338" y="40230"/>
                    <a:pt x="392018" y="40230"/>
                  </a:cubicBezTo>
                  <a:moveTo>
                    <a:pt x="393077" y="0"/>
                  </a:moveTo>
                  <a:cubicBezTo>
                    <a:pt x="295615" y="0"/>
                    <a:pt x="222876" y="77362"/>
                    <a:pt x="222876" y="179994"/>
                  </a:cubicBezTo>
                  <a:cubicBezTo>
                    <a:pt x="222876" y="223273"/>
                    <a:pt x="235318" y="261956"/>
                    <a:pt x="258982" y="291872"/>
                  </a:cubicBezTo>
                  <a:cubicBezTo>
                    <a:pt x="290957" y="332101"/>
                    <a:pt x="340985" y="356305"/>
                    <a:pt x="392018" y="356305"/>
                  </a:cubicBezTo>
                  <a:cubicBezTo>
                    <a:pt x="431723" y="356305"/>
                    <a:pt x="470899" y="341879"/>
                    <a:pt x="501868" y="315059"/>
                  </a:cubicBezTo>
                  <a:cubicBezTo>
                    <a:pt x="539509" y="283110"/>
                    <a:pt x="560155" y="235131"/>
                    <a:pt x="560155" y="181545"/>
                  </a:cubicBezTo>
                  <a:cubicBezTo>
                    <a:pt x="560155" y="129935"/>
                    <a:pt x="547715" y="91788"/>
                    <a:pt x="519921" y="59304"/>
                  </a:cubicBezTo>
                  <a:cubicBezTo>
                    <a:pt x="486886" y="21691"/>
                    <a:pt x="440988" y="0"/>
                    <a:pt x="393077" y="0"/>
                  </a:cubicBezTo>
                  <a:moveTo>
                    <a:pt x="43306" y="310946"/>
                  </a:moveTo>
                  <a:lnTo>
                    <a:pt x="43306" y="6198"/>
                  </a:lnTo>
                  <a:lnTo>
                    <a:pt x="0" y="6198"/>
                  </a:lnTo>
                  <a:lnTo>
                    <a:pt x="0" y="350105"/>
                  </a:lnTo>
                  <a:lnTo>
                    <a:pt x="194237" y="350105"/>
                  </a:lnTo>
                  <a:lnTo>
                    <a:pt x="194237" y="310946"/>
                  </a:lnTo>
                  <a:lnTo>
                    <a:pt x="43306" y="310946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710F1B65-D00C-1017-2352-93F8ACADC64E}"/>
                </a:ext>
              </a:extLst>
            </p:cNvPr>
            <p:cNvSpPr/>
            <p:nvPr/>
          </p:nvSpPr>
          <p:spPr>
            <a:xfrm>
              <a:off x="-161925" y="-1630732"/>
              <a:ext cx="10575647" cy="1701544"/>
            </a:xfrm>
            <a:custGeom>
              <a:avLst/>
              <a:gdLst>
                <a:gd name="connsiteX0" fmla="*/ 7802033 w 10575647"/>
                <a:gd name="connsiteY0" fmla="*/ 380187 h 1701544"/>
                <a:gd name="connsiteX1" fmla="*/ 7621138 w 10575647"/>
                <a:gd name="connsiteY1" fmla="*/ 380187 h 1701544"/>
                <a:gd name="connsiteX2" fmla="*/ 7621138 w 10575647"/>
                <a:gd name="connsiteY2" fmla="*/ 1271563 h 1701544"/>
                <a:gd name="connsiteX3" fmla="*/ 7802033 w 10575647"/>
                <a:gd name="connsiteY3" fmla="*/ 1271563 h 1701544"/>
                <a:gd name="connsiteX4" fmla="*/ 7802033 w 10575647"/>
                <a:gd name="connsiteY4" fmla="*/ 380187 h 1701544"/>
                <a:gd name="connsiteX5" fmla="*/ 706522 w 10575647"/>
                <a:gd name="connsiteY5" fmla="*/ 1271563 h 1701544"/>
                <a:gd name="connsiteX6" fmla="*/ 902065 w 10575647"/>
                <a:gd name="connsiteY6" fmla="*/ 1271563 h 1701544"/>
                <a:gd name="connsiteX7" fmla="*/ 902065 w 10575647"/>
                <a:gd name="connsiteY7" fmla="*/ 0 h 1701544"/>
                <a:gd name="connsiteX8" fmla="*/ 706522 w 10575647"/>
                <a:gd name="connsiteY8" fmla="*/ 0 h 1701544"/>
                <a:gd name="connsiteX9" fmla="*/ 706522 w 10575647"/>
                <a:gd name="connsiteY9" fmla="*/ 553717 h 1701544"/>
                <a:gd name="connsiteX10" fmla="*/ 195543 w 10575647"/>
                <a:gd name="connsiteY10" fmla="*/ 553717 h 1701544"/>
                <a:gd name="connsiteX11" fmla="*/ 195543 w 10575647"/>
                <a:gd name="connsiteY11" fmla="*/ 0 h 1701544"/>
                <a:gd name="connsiteX12" fmla="*/ 0 w 10575647"/>
                <a:gd name="connsiteY12" fmla="*/ 0 h 1701544"/>
                <a:gd name="connsiteX13" fmla="*/ 0 w 10575647"/>
                <a:gd name="connsiteY13" fmla="*/ 1271563 h 1701544"/>
                <a:gd name="connsiteX14" fmla="*/ 195543 w 10575647"/>
                <a:gd name="connsiteY14" fmla="*/ 1271563 h 1701544"/>
                <a:gd name="connsiteX15" fmla="*/ 195543 w 10575647"/>
                <a:gd name="connsiteY15" fmla="*/ 727142 h 1701544"/>
                <a:gd name="connsiteX16" fmla="*/ 706522 w 10575647"/>
                <a:gd name="connsiteY16" fmla="*/ 727142 h 1701544"/>
                <a:gd name="connsiteX17" fmla="*/ 706522 w 10575647"/>
                <a:gd name="connsiteY17" fmla="*/ 1271563 h 1701544"/>
                <a:gd name="connsiteX18" fmla="*/ 1306185 w 10575647"/>
                <a:gd name="connsiteY18" fmla="*/ 1690649 h 1701544"/>
                <a:gd name="connsiteX19" fmla="*/ 1654904 w 10575647"/>
                <a:gd name="connsiteY19" fmla="*/ 1036061 h 1701544"/>
                <a:gd name="connsiteX20" fmla="*/ 1306185 w 10575647"/>
                <a:gd name="connsiteY20" fmla="*/ 381469 h 1701544"/>
                <a:gd name="connsiteX21" fmla="*/ 1090234 w 10575647"/>
                <a:gd name="connsiteY21" fmla="*/ 381469 h 1701544"/>
                <a:gd name="connsiteX22" fmla="*/ 1438900 w 10575647"/>
                <a:gd name="connsiteY22" fmla="*/ 1036061 h 1701544"/>
                <a:gd name="connsiteX23" fmla="*/ 1090234 w 10575647"/>
                <a:gd name="connsiteY23" fmla="*/ 1690649 h 1701544"/>
                <a:gd name="connsiteX24" fmla="*/ 1306185 w 10575647"/>
                <a:gd name="connsiteY24" fmla="*/ 1690649 h 1701544"/>
                <a:gd name="connsiteX25" fmla="*/ 2581808 w 10575647"/>
                <a:gd name="connsiteY25" fmla="*/ 828654 h 1701544"/>
                <a:gd name="connsiteX26" fmla="*/ 2317883 w 10575647"/>
                <a:gd name="connsiteY26" fmla="*/ 1129505 h 1701544"/>
                <a:gd name="connsiteX27" fmla="*/ 2065011 w 10575647"/>
                <a:gd name="connsiteY27" fmla="*/ 832338 h 1701544"/>
                <a:gd name="connsiteX28" fmla="*/ 2327068 w 10575647"/>
                <a:gd name="connsiteY28" fmla="*/ 525990 h 1701544"/>
                <a:gd name="connsiteX29" fmla="*/ 2581808 w 10575647"/>
                <a:gd name="connsiteY29" fmla="*/ 828654 h 1701544"/>
                <a:gd name="connsiteX30" fmla="*/ 2581808 w 10575647"/>
                <a:gd name="connsiteY30" fmla="*/ 1271563 h 1701544"/>
                <a:gd name="connsiteX31" fmla="*/ 2762608 w 10575647"/>
                <a:gd name="connsiteY31" fmla="*/ 1271563 h 1701544"/>
                <a:gd name="connsiteX32" fmla="*/ 2762608 w 10575647"/>
                <a:gd name="connsiteY32" fmla="*/ 0 h 1701544"/>
                <a:gd name="connsiteX33" fmla="*/ 2581808 w 10575647"/>
                <a:gd name="connsiteY33" fmla="*/ 0 h 1701544"/>
                <a:gd name="connsiteX34" fmla="*/ 2581808 w 10575647"/>
                <a:gd name="connsiteY34" fmla="*/ 476356 h 1701544"/>
                <a:gd name="connsiteX35" fmla="*/ 2297581 w 10575647"/>
                <a:gd name="connsiteY35" fmla="*/ 359885 h 1701544"/>
                <a:gd name="connsiteX36" fmla="*/ 1876785 w 10575647"/>
                <a:gd name="connsiteY36" fmla="*/ 830470 h 1701544"/>
                <a:gd name="connsiteX37" fmla="*/ 2297581 w 10575647"/>
                <a:gd name="connsiteY37" fmla="*/ 1291865 h 1701544"/>
                <a:gd name="connsiteX38" fmla="*/ 2581808 w 10575647"/>
                <a:gd name="connsiteY38" fmla="*/ 1163217 h 1701544"/>
                <a:gd name="connsiteX39" fmla="*/ 2581808 w 10575647"/>
                <a:gd name="connsiteY39" fmla="*/ 1271563 h 1701544"/>
                <a:gd name="connsiteX40" fmla="*/ 3437445 w 10575647"/>
                <a:gd name="connsiteY40" fmla="*/ 542393 h 1701544"/>
                <a:gd name="connsiteX41" fmla="*/ 3460310 w 10575647"/>
                <a:gd name="connsiteY41" fmla="*/ 545331 h 1701544"/>
                <a:gd name="connsiteX42" fmla="*/ 3460310 w 10575647"/>
                <a:gd name="connsiteY42" fmla="*/ 359885 h 1701544"/>
                <a:gd name="connsiteX43" fmla="*/ 3406830 w 10575647"/>
                <a:gd name="connsiteY43" fmla="*/ 359885 h 1701544"/>
                <a:gd name="connsiteX44" fmla="*/ 3231965 w 10575647"/>
                <a:gd name="connsiteY44" fmla="*/ 415877 h 1701544"/>
                <a:gd name="connsiteX45" fmla="*/ 3187194 w 10575647"/>
                <a:gd name="connsiteY45" fmla="*/ 462091 h 1701544"/>
                <a:gd name="connsiteX46" fmla="*/ 3187194 w 10575647"/>
                <a:gd name="connsiteY46" fmla="*/ 380187 h 1701544"/>
                <a:gd name="connsiteX47" fmla="*/ 3006395 w 10575647"/>
                <a:gd name="connsiteY47" fmla="*/ 380187 h 1701544"/>
                <a:gd name="connsiteX48" fmla="*/ 3006395 w 10575647"/>
                <a:gd name="connsiteY48" fmla="*/ 1271563 h 1701544"/>
                <a:gd name="connsiteX49" fmla="*/ 3187194 w 10575647"/>
                <a:gd name="connsiteY49" fmla="*/ 1271563 h 1701544"/>
                <a:gd name="connsiteX50" fmla="*/ 3187194 w 10575647"/>
                <a:gd name="connsiteY50" fmla="*/ 819411 h 1701544"/>
                <a:gd name="connsiteX51" fmla="*/ 3233517 w 10575647"/>
                <a:gd name="connsiteY51" fmla="*/ 629638 h 1701544"/>
                <a:gd name="connsiteX52" fmla="*/ 3401277 w 10575647"/>
                <a:gd name="connsiteY52" fmla="*/ 540683 h 1701544"/>
                <a:gd name="connsiteX53" fmla="*/ 3437445 w 10575647"/>
                <a:gd name="connsiteY53" fmla="*/ 542393 h 1701544"/>
                <a:gd name="connsiteX54" fmla="*/ 4250980 w 10575647"/>
                <a:gd name="connsiteY54" fmla="*/ 826838 h 1701544"/>
                <a:gd name="connsiteX55" fmla="*/ 3983364 w 10575647"/>
                <a:gd name="connsiteY55" fmla="*/ 1122077 h 1701544"/>
                <a:gd name="connsiteX56" fmla="*/ 3713875 w 10575647"/>
                <a:gd name="connsiteY56" fmla="*/ 826838 h 1701544"/>
                <a:gd name="connsiteX57" fmla="*/ 3985180 w 10575647"/>
                <a:gd name="connsiteY57" fmla="*/ 529677 h 1701544"/>
                <a:gd name="connsiteX58" fmla="*/ 4250980 w 10575647"/>
                <a:gd name="connsiteY58" fmla="*/ 826838 h 1701544"/>
                <a:gd name="connsiteX59" fmla="*/ 4435464 w 10575647"/>
                <a:gd name="connsiteY59" fmla="*/ 828654 h 1701544"/>
                <a:gd name="connsiteX60" fmla="*/ 3985180 w 10575647"/>
                <a:gd name="connsiteY60" fmla="*/ 359885 h 1701544"/>
                <a:gd name="connsiteX61" fmla="*/ 3529338 w 10575647"/>
                <a:gd name="connsiteY61" fmla="*/ 824916 h 1701544"/>
                <a:gd name="connsiteX62" fmla="*/ 3979622 w 10575647"/>
                <a:gd name="connsiteY62" fmla="*/ 1291865 h 1701544"/>
                <a:gd name="connsiteX63" fmla="*/ 4435464 w 10575647"/>
                <a:gd name="connsiteY63" fmla="*/ 828654 h 1701544"/>
                <a:gd name="connsiteX64" fmla="*/ 5261608 w 10575647"/>
                <a:gd name="connsiteY64" fmla="*/ 828654 h 1701544"/>
                <a:gd name="connsiteX65" fmla="*/ 5205508 w 10575647"/>
                <a:gd name="connsiteY65" fmla="*/ 1025854 h 1701544"/>
                <a:gd name="connsiteX66" fmla="*/ 5005052 w 10575647"/>
                <a:gd name="connsiteY66" fmla="*/ 1122077 h 1701544"/>
                <a:gd name="connsiteX67" fmla="*/ 4746675 w 10575647"/>
                <a:gd name="connsiteY67" fmla="*/ 823153 h 1701544"/>
                <a:gd name="connsiteX68" fmla="*/ 5008683 w 10575647"/>
                <a:gd name="connsiteY68" fmla="*/ 529677 h 1701544"/>
                <a:gd name="connsiteX69" fmla="*/ 5200378 w 10575647"/>
                <a:gd name="connsiteY69" fmla="*/ 617081 h 1701544"/>
                <a:gd name="connsiteX70" fmla="*/ 5261608 w 10575647"/>
                <a:gd name="connsiteY70" fmla="*/ 828654 h 1701544"/>
                <a:gd name="connsiteX71" fmla="*/ 5327264 w 10575647"/>
                <a:gd name="connsiteY71" fmla="*/ 1583314 h 1701544"/>
                <a:gd name="connsiteX72" fmla="*/ 5446113 w 10575647"/>
                <a:gd name="connsiteY72" fmla="*/ 1256819 h 1701544"/>
                <a:gd name="connsiteX73" fmla="*/ 5446113 w 10575647"/>
                <a:gd name="connsiteY73" fmla="*/ 380187 h 1701544"/>
                <a:gd name="connsiteX74" fmla="*/ 5265239 w 10575647"/>
                <a:gd name="connsiteY74" fmla="*/ 380187 h 1701544"/>
                <a:gd name="connsiteX75" fmla="*/ 5265239 w 10575647"/>
                <a:gd name="connsiteY75" fmla="*/ 488537 h 1701544"/>
                <a:gd name="connsiteX76" fmla="*/ 4982875 w 10575647"/>
                <a:gd name="connsiteY76" fmla="*/ 359885 h 1701544"/>
                <a:gd name="connsiteX77" fmla="*/ 4699394 w 10575647"/>
                <a:gd name="connsiteY77" fmla="*/ 465190 h 1701544"/>
                <a:gd name="connsiteX78" fmla="*/ 4558400 w 10575647"/>
                <a:gd name="connsiteY78" fmla="*/ 828654 h 1701544"/>
                <a:gd name="connsiteX79" fmla="*/ 4971816 w 10575647"/>
                <a:gd name="connsiteY79" fmla="*/ 1291865 h 1701544"/>
                <a:gd name="connsiteX80" fmla="*/ 5265239 w 10575647"/>
                <a:gd name="connsiteY80" fmla="*/ 1150553 h 1701544"/>
                <a:gd name="connsiteX81" fmla="*/ 5265239 w 10575647"/>
                <a:gd name="connsiteY81" fmla="*/ 1267931 h 1701544"/>
                <a:gd name="connsiteX82" fmla="*/ 5206095 w 10575647"/>
                <a:gd name="connsiteY82" fmla="*/ 1457116 h 1701544"/>
                <a:gd name="connsiteX83" fmla="*/ 4999546 w 10575647"/>
                <a:gd name="connsiteY83" fmla="*/ 1533625 h 1701544"/>
                <a:gd name="connsiteX84" fmla="*/ 4811695 w 10575647"/>
                <a:gd name="connsiteY84" fmla="*/ 1487409 h 1701544"/>
                <a:gd name="connsiteX85" fmla="*/ 4733588 w 10575647"/>
                <a:gd name="connsiteY85" fmla="*/ 1416300 h 1701544"/>
                <a:gd name="connsiteX86" fmla="*/ 4719215 w 10575647"/>
                <a:gd name="connsiteY86" fmla="*/ 1401339 h 1701544"/>
                <a:gd name="connsiteX87" fmla="*/ 4595103 w 10575647"/>
                <a:gd name="connsiteY87" fmla="*/ 1525451 h 1701544"/>
                <a:gd name="connsiteX88" fmla="*/ 4607819 w 10575647"/>
                <a:gd name="connsiteY88" fmla="*/ 1539824 h 1701544"/>
                <a:gd name="connsiteX89" fmla="*/ 4999546 w 10575647"/>
                <a:gd name="connsiteY89" fmla="*/ 1701544 h 1701544"/>
                <a:gd name="connsiteX90" fmla="*/ 5327264 w 10575647"/>
                <a:gd name="connsiteY90" fmla="*/ 1583314 h 1701544"/>
                <a:gd name="connsiteX91" fmla="*/ 6317923 w 10575647"/>
                <a:gd name="connsiteY91" fmla="*/ 747497 h 1701544"/>
                <a:gd name="connsiteX92" fmla="*/ 5805203 w 10575647"/>
                <a:gd name="connsiteY92" fmla="*/ 747497 h 1701544"/>
                <a:gd name="connsiteX93" fmla="*/ 5845913 w 10575647"/>
                <a:gd name="connsiteY93" fmla="*/ 635144 h 1701544"/>
                <a:gd name="connsiteX94" fmla="*/ 6057989 w 10575647"/>
                <a:gd name="connsiteY94" fmla="*/ 525990 h 1701544"/>
                <a:gd name="connsiteX95" fmla="*/ 6275730 w 10575647"/>
                <a:gd name="connsiteY95" fmla="*/ 633487 h 1701544"/>
                <a:gd name="connsiteX96" fmla="*/ 6317923 w 10575647"/>
                <a:gd name="connsiteY96" fmla="*/ 747497 h 1701544"/>
                <a:gd name="connsiteX97" fmla="*/ 6508188 w 10575647"/>
                <a:gd name="connsiteY97" fmla="*/ 872890 h 1701544"/>
                <a:gd name="connsiteX98" fmla="*/ 6510094 w 10575647"/>
                <a:gd name="connsiteY98" fmla="*/ 815779 h 1701544"/>
                <a:gd name="connsiteX99" fmla="*/ 6057989 w 10575647"/>
                <a:gd name="connsiteY99" fmla="*/ 359885 h 1701544"/>
                <a:gd name="connsiteX100" fmla="*/ 5609538 w 10575647"/>
                <a:gd name="connsiteY100" fmla="*/ 828654 h 1701544"/>
                <a:gd name="connsiteX101" fmla="*/ 6063495 w 10575647"/>
                <a:gd name="connsiteY101" fmla="*/ 1291865 h 1701544"/>
                <a:gd name="connsiteX102" fmla="*/ 6460066 w 10575647"/>
                <a:gd name="connsiteY102" fmla="*/ 1051710 h 1701544"/>
                <a:gd name="connsiteX103" fmla="*/ 6469966 w 10575647"/>
                <a:gd name="connsiteY103" fmla="*/ 1031572 h 1701544"/>
                <a:gd name="connsiteX104" fmla="*/ 6308923 w 10575647"/>
                <a:gd name="connsiteY104" fmla="*/ 971517 h 1701544"/>
                <a:gd name="connsiteX105" fmla="*/ 6300559 w 10575647"/>
                <a:gd name="connsiteY105" fmla="*/ 986689 h 1701544"/>
                <a:gd name="connsiteX106" fmla="*/ 6063495 w 10575647"/>
                <a:gd name="connsiteY106" fmla="*/ 1122077 h 1701544"/>
                <a:gd name="connsiteX107" fmla="*/ 5850784 w 10575647"/>
                <a:gd name="connsiteY107" fmla="*/ 1013832 h 1701544"/>
                <a:gd name="connsiteX108" fmla="*/ 5802132 w 10575647"/>
                <a:gd name="connsiteY108" fmla="*/ 891377 h 1701544"/>
                <a:gd name="connsiteX109" fmla="*/ 6506547 w 10575647"/>
                <a:gd name="connsiteY109" fmla="*/ 891377 h 1701544"/>
                <a:gd name="connsiteX110" fmla="*/ 6508188 w 10575647"/>
                <a:gd name="connsiteY110" fmla="*/ 872890 h 1701544"/>
                <a:gd name="connsiteX111" fmla="*/ 7205139 w 10575647"/>
                <a:gd name="connsiteY111" fmla="*/ 1271563 h 1701544"/>
                <a:gd name="connsiteX112" fmla="*/ 7385928 w 10575647"/>
                <a:gd name="connsiteY112" fmla="*/ 1271563 h 1701544"/>
                <a:gd name="connsiteX113" fmla="*/ 7385928 w 10575647"/>
                <a:gd name="connsiteY113" fmla="*/ 677294 h 1701544"/>
                <a:gd name="connsiteX114" fmla="*/ 7307154 w 10575647"/>
                <a:gd name="connsiteY114" fmla="*/ 435163 h 1701544"/>
                <a:gd name="connsiteX115" fmla="*/ 7096189 w 10575647"/>
                <a:gd name="connsiteY115" fmla="*/ 359885 h 1701544"/>
                <a:gd name="connsiteX116" fmla="*/ 6863625 w 10575647"/>
                <a:gd name="connsiteY116" fmla="*/ 463694 h 1701544"/>
                <a:gd name="connsiteX117" fmla="*/ 6863625 w 10575647"/>
                <a:gd name="connsiteY117" fmla="*/ 380187 h 1701544"/>
                <a:gd name="connsiteX118" fmla="*/ 6682836 w 10575647"/>
                <a:gd name="connsiteY118" fmla="*/ 380187 h 1701544"/>
                <a:gd name="connsiteX119" fmla="*/ 6682836 w 10575647"/>
                <a:gd name="connsiteY119" fmla="*/ 1271563 h 1701544"/>
                <a:gd name="connsiteX120" fmla="*/ 6863625 w 10575647"/>
                <a:gd name="connsiteY120" fmla="*/ 1271563 h 1701544"/>
                <a:gd name="connsiteX121" fmla="*/ 6863625 w 10575647"/>
                <a:gd name="connsiteY121" fmla="*/ 732701 h 1701544"/>
                <a:gd name="connsiteX122" fmla="*/ 6913971 w 10575647"/>
                <a:gd name="connsiteY122" fmla="*/ 591066 h 1701544"/>
                <a:gd name="connsiteX123" fmla="*/ 7061143 w 10575647"/>
                <a:gd name="connsiteY123" fmla="*/ 525990 h 1701544"/>
                <a:gd name="connsiteX124" fmla="*/ 7177769 w 10575647"/>
                <a:gd name="connsiteY124" fmla="*/ 575089 h 1701544"/>
                <a:gd name="connsiteX125" fmla="*/ 7205139 w 10575647"/>
                <a:gd name="connsiteY125" fmla="*/ 708709 h 1701544"/>
                <a:gd name="connsiteX126" fmla="*/ 7205139 w 10575647"/>
                <a:gd name="connsiteY126" fmla="*/ 1271563 h 1701544"/>
                <a:gd name="connsiteX127" fmla="*/ 7822309 w 10575647"/>
                <a:gd name="connsiteY127" fmla="*/ 162418 h 1701544"/>
                <a:gd name="connsiteX128" fmla="*/ 7713412 w 10575647"/>
                <a:gd name="connsiteY128" fmla="*/ 49847 h 1701544"/>
                <a:gd name="connsiteX129" fmla="*/ 7602662 w 10575647"/>
                <a:gd name="connsiteY129" fmla="*/ 160549 h 1701544"/>
                <a:gd name="connsiteX130" fmla="*/ 7711560 w 10575647"/>
                <a:gd name="connsiteY130" fmla="*/ 271303 h 1701544"/>
                <a:gd name="connsiteX131" fmla="*/ 7822309 w 10575647"/>
                <a:gd name="connsiteY131" fmla="*/ 162418 h 1701544"/>
                <a:gd name="connsiteX132" fmla="*/ 8704760 w 10575647"/>
                <a:gd name="connsiteY132" fmla="*/ 826838 h 1701544"/>
                <a:gd name="connsiteX133" fmla="*/ 8437150 w 10575647"/>
                <a:gd name="connsiteY133" fmla="*/ 1122077 h 1701544"/>
                <a:gd name="connsiteX134" fmla="*/ 8167740 w 10575647"/>
                <a:gd name="connsiteY134" fmla="*/ 826838 h 1701544"/>
                <a:gd name="connsiteX135" fmla="*/ 8439003 w 10575647"/>
                <a:gd name="connsiteY135" fmla="*/ 529677 h 1701544"/>
                <a:gd name="connsiteX136" fmla="*/ 8704760 w 10575647"/>
                <a:gd name="connsiteY136" fmla="*/ 826838 h 1701544"/>
                <a:gd name="connsiteX137" fmla="*/ 8889307 w 10575647"/>
                <a:gd name="connsiteY137" fmla="*/ 828654 h 1701544"/>
                <a:gd name="connsiteX138" fmla="*/ 8439003 w 10575647"/>
                <a:gd name="connsiteY138" fmla="*/ 359885 h 1701544"/>
                <a:gd name="connsiteX139" fmla="*/ 7983193 w 10575647"/>
                <a:gd name="connsiteY139" fmla="*/ 824916 h 1701544"/>
                <a:gd name="connsiteX140" fmla="*/ 8433444 w 10575647"/>
                <a:gd name="connsiteY140" fmla="*/ 1291865 h 1701544"/>
                <a:gd name="connsiteX141" fmla="*/ 8889307 w 10575647"/>
                <a:gd name="connsiteY141" fmla="*/ 828654 h 1701544"/>
                <a:gd name="connsiteX142" fmla="*/ 9658150 w 10575647"/>
                <a:gd name="connsiteY142" fmla="*/ 1197940 h 1701544"/>
                <a:gd name="connsiteX143" fmla="*/ 9749630 w 10575647"/>
                <a:gd name="connsiteY143" fmla="*/ 944968 h 1701544"/>
                <a:gd name="connsiteX144" fmla="*/ 9749630 w 10575647"/>
                <a:gd name="connsiteY144" fmla="*/ 380187 h 1701544"/>
                <a:gd name="connsiteX145" fmla="*/ 9566988 w 10575647"/>
                <a:gd name="connsiteY145" fmla="*/ 380187 h 1701544"/>
                <a:gd name="connsiteX146" fmla="*/ 9566988 w 10575647"/>
                <a:gd name="connsiteY146" fmla="*/ 944968 h 1701544"/>
                <a:gd name="connsiteX147" fmla="*/ 9535012 w 10575647"/>
                <a:gd name="connsiteY147" fmla="*/ 1068222 h 1701544"/>
                <a:gd name="connsiteX148" fmla="*/ 9399010 w 10575647"/>
                <a:gd name="connsiteY148" fmla="*/ 1125815 h 1701544"/>
                <a:gd name="connsiteX149" fmla="*/ 9229233 w 10575647"/>
                <a:gd name="connsiteY149" fmla="*/ 941225 h 1701544"/>
                <a:gd name="connsiteX150" fmla="*/ 9229233 w 10575647"/>
                <a:gd name="connsiteY150" fmla="*/ 380187 h 1701544"/>
                <a:gd name="connsiteX151" fmla="*/ 9048391 w 10575647"/>
                <a:gd name="connsiteY151" fmla="*/ 380187 h 1701544"/>
                <a:gd name="connsiteX152" fmla="*/ 9048391 w 10575647"/>
                <a:gd name="connsiteY152" fmla="*/ 944968 h 1701544"/>
                <a:gd name="connsiteX153" fmla="*/ 9139659 w 10575647"/>
                <a:gd name="connsiteY153" fmla="*/ 1195965 h 1701544"/>
                <a:gd name="connsiteX154" fmla="*/ 9399010 w 10575647"/>
                <a:gd name="connsiteY154" fmla="*/ 1291865 h 1701544"/>
                <a:gd name="connsiteX155" fmla="*/ 9658150 w 10575647"/>
                <a:gd name="connsiteY155" fmla="*/ 1197945 h 1701544"/>
                <a:gd name="connsiteX156" fmla="*/ 10385594 w 10575647"/>
                <a:gd name="connsiteY156" fmla="*/ 653307 h 1701544"/>
                <a:gd name="connsiteX157" fmla="*/ 10567335 w 10575647"/>
                <a:gd name="connsiteY157" fmla="*/ 653307 h 1701544"/>
                <a:gd name="connsiteX158" fmla="*/ 10566383 w 10575647"/>
                <a:gd name="connsiteY158" fmla="*/ 632041 h 1701544"/>
                <a:gd name="connsiteX159" fmla="*/ 10249009 w 10575647"/>
                <a:gd name="connsiteY159" fmla="*/ 359885 h 1701544"/>
                <a:gd name="connsiteX160" fmla="*/ 9929730 w 10575647"/>
                <a:gd name="connsiteY160" fmla="*/ 627446 h 1701544"/>
                <a:gd name="connsiteX161" fmla="*/ 10212587 w 10575647"/>
                <a:gd name="connsiteY161" fmla="*/ 903611 h 1701544"/>
                <a:gd name="connsiteX162" fmla="*/ 10391099 w 10575647"/>
                <a:gd name="connsiteY162" fmla="*/ 1031625 h 1701544"/>
                <a:gd name="connsiteX163" fmla="*/ 10252715 w 10575647"/>
                <a:gd name="connsiteY163" fmla="*/ 1136874 h 1701544"/>
                <a:gd name="connsiteX164" fmla="*/ 10093843 w 10575647"/>
                <a:gd name="connsiteY164" fmla="*/ 1007579 h 1701544"/>
                <a:gd name="connsiteX165" fmla="*/ 10092096 w 10575647"/>
                <a:gd name="connsiteY165" fmla="*/ 989257 h 1701544"/>
                <a:gd name="connsiteX166" fmla="*/ 9913054 w 10575647"/>
                <a:gd name="connsiteY166" fmla="*/ 989257 h 1701544"/>
                <a:gd name="connsiteX167" fmla="*/ 9915066 w 10575647"/>
                <a:gd name="connsiteY167" fmla="*/ 1011216 h 1701544"/>
                <a:gd name="connsiteX168" fmla="*/ 10252715 w 10575647"/>
                <a:gd name="connsiteY168" fmla="*/ 1291865 h 1701544"/>
                <a:gd name="connsiteX169" fmla="*/ 10575647 w 10575647"/>
                <a:gd name="connsiteY169" fmla="*/ 1024303 h 1701544"/>
                <a:gd name="connsiteX170" fmla="*/ 10501426 w 10575647"/>
                <a:gd name="connsiteY170" fmla="*/ 843879 h 1701544"/>
                <a:gd name="connsiteX171" fmla="*/ 10285750 w 10575647"/>
                <a:gd name="connsiteY171" fmla="*/ 740769 h 1701544"/>
                <a:gd name="connsiteX172" fmla="*/ 10110519 w 10575647"/>
                <a:gd name="connsiteY172" fmla="*/ 616440 h 1701544"/>
                <a:gd name="connsiteX173" fmla="*/ 10243398 w 10575647"/>
                <a:gd name="connsiteY173" fmla="*/ 514877 h 1701544"/>
                <a:gd name="connsiteX174" fmla="*/ 10385594 w 10575647"/>
                <a:gd name="connsiteY174" fmla="*/ 623762 h 1701544"/>
                <a:gd name="connsiteX175" fmla="*/ 10385594 w 10575647"/>
                <a:gd name="connsiteY175" fmla="*/ 653307 h 170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10575647" h="1701544">
                  <a:moveTo>
                    <a:pt x="7802033" y="380187"/>
                  </a:moveTo>
                  <a:lnTo>
                    <a:pt x="7621138" y="380187"/>
                  </a:lnTo>
                  <a:lnTo>
                    <a:pt x="7621138" y="1271563"/>
                  </a:lnTo>
                  <a:lnTo>
                    <a:pt x="7802033" y="1271563"/>
                  </a:lnTo>
                  <a:lnTo>
                    <a:pt x="7802033" y="380187"/>
                  </a:lnTo>
                  <a:close/>
                  <a:moveTo>
                    <a:pt x="706522" y="1271563"/>
                  </a:moveTo>
                  <a:lnTo>
                    <a:pt x="902065" y="1271563"/>
                  </a:lnTo>
                  <a:lnTo>
                    <a:pt x="902065" y="0"/>
                  </a:lnTo>
                  <a:lnTo>
                    <a:pt x="706522" y="0"/>
                  </a:lnTo>
                  <a:lnTo>
                    <a:pt x="706522" y="553717"/>
                  </a:lnTo>
                  <a:lnTo>
                    <a:pt x="195543" y="553717"/>
                  </a:lnTo>
                  <a:lnTo>
                    <a:pt x="195543" y="0"/>
                  </a:lnTo>
                  <a:lnTo>
                    <a:pt x="0" y="0"/>
                  </a:lnTo>
                  <a:lnTo>
                    <a:pt x="0" y="1271563"/>
                  </a:lnTo>
                  <a:lnTo>
                    <a:pt x="195543" y="1271563"/>
                  </a:lnTo>
                  <a:lnTo>
                    <a:pt x="195543" y="727142"/>
                  </a:lnTo>
                  <a:lnTo>
                    <a:pt x="706522" y="727142"/>
                  </a:lnTo>
                  <a:lnTo>
                    <a:pt x="706522" y="1271563"/>
                  </a:lnTo>
                  <a:close/>
                  <a:moveTo>
                    <a:pt x="1306185" y="1690649"/>
                  </a:moveTo>
                  <a:lnTo>
                    <a:pt x="1654904" y="1036061"/>
                  </a:lnTo>
                  <a:lnTo>
                    <a:pt x="1306185" y="381469"/>
                  </a:lnTo>
                  <a:lnTo>
                    <a:pt x="1090234" y="381469"/>
                  </a:lnTo>
                  <a:lnTo>
                    <a:pt x="1438900" y="1036061"/>
                  </a:lnTo>
                  <a:lnTo>
                    <a:pt x="1090234" y="1690649"/>
                  </a:lnTo>
                  <a:lnTo>
                    <a:pt x="1306185" y="1690649"/>
                  </a:lnTo>
                  <a:close/>
                  <a:moveTo>
                    <a:pt x="2581808" y="828654"/>
                  </a:moveTo>
                  <a:cubicBezTo>
                    <a:pt x="2581808" y="1002989"/>
                    <a:pt x="2470789" y="1129505"/>
                    <a:pt x="2317883" y="1129505"/>
                  </a:cubicBezTo>
                  <a:cubicBezTo>
                    <a:pt x="2168980" y="1129505"/>
                    <a:pt x="2065011" y="1007262"/>
                    <a:pt x="2065011" y="832338"/>
                  </a:cubicBezTo>
                  <a:cubicBezTo>
                    <a:pt x="2065011" y="649088"/>
                    <a:pt x="2170314" y="525990"/>
                    <a:pt x="2327068" y="525990"/>
                  </a:cubicBezTo>
                  <a:cubicBezTo>
                    <a:pt x="2479444" y="525990"/>
                    <a:pt x="2581808" y="647590"/>
                    <a:pt x="2581808" y="828654"/>
                  </a:cubicBezTo>
                  <a:moveTo>
                    <a:pt x="2581808" y="1271563"/>
                  </a:moveTo>
                  <a:lnTo>
                    <a:pt x="2762608" y="1271563"/>
                  </a:lnTo>
                  <a:lnTo>
                    <a:pt x="2762608" y="0"/>
                  </a:lnTo>
                  <a:lnTo>
                    <a:pt x="2581808" y="0"/>
                  </a:lnTo>
                  <a:lnTo>
                    <a:pt x="2581808" y="476356"/>
                  </a:lnTo>
                  <a:cubicBezTo>
                    <a:pt x="2503431" y="397017"/>
                    <a:pt x="2412449" y="359885"/>
                    <a:pt x="2297581" y="359885"/>
                  </a:cubicBezTo>
                  <a:cubicBezTo>
                    <a:pt x="2057690" y="359885"/>
                    <a:pt x="1876785" y="562214"/>
                    <a:pt x="1876785" y="830470"/>
                  </a:cubicBezTo>
                  <a:cubicBezTo>
                    <a:pt x="1876785" y="1102145"/>
                    <a:pt x="2049839" y="1291865"/>
                    <a:pt x="2297581" y="1291865"/>
                  </a:cubicBezTo>
                  <a:cubicBezTo>
                    <a:pt x="2414371" y="1291865"/>
                    <a:pt x="2503061" y="1251959"/>
                    <a:pt x="2581808" y="1163217"/>
                  </a:cubicBezTo>
                  <a:lnTo>
                    <a:pt x="2581808" y="1271563"/>
                  </a:lnTo>
                  <a:close/>
                  <a:moveTo>
                    <a:pt x="3437445" y="542393"/>
                  </a:moveTo>
                  <a:lnTo>
                    <a:pt x="3460310" y="545331"/>
                  </a:lnTo>
                  <a:lnTo>
                    <a:pt x="3460310" y="359885"/>
                  </a:lnTo>
                  <a:lnTo>
                    <a:pt x="3406830" y="359885"/>
                  </a:lnTo>
                  <a:cubicBezTo>
                    <a:pt x="3341169" y="359885"/>
                    <a:pt x="3277430" y="380294"/>
                    <a:pt x="3231965" y="415877"/>
                  </a:cubicBezTo>
                  <a:cubicBezTo>
                    <a:pt x="3213690" y="430035"/>
                    <a:pt x="3199693" y="444353"/>
                    <a:pt x="3187194" y="462091"/>
                  </a:cubicBezTo>
                  <a:lnTo>
                    <a:pt x="3187194" y="380187"/>
                  </a:lnTo>
                  <a:lnTo>
                    <a:pt x="3006395" y="380187"/>
                  </a:lnTo>
                  <a:lnTo>
                    <a:pt x="3006395" y="1271563"/>
                  </a:lnTo>
                  <a:lnTo>
                    <a:pt x="3187194" y="1271563"/>
                  </a:lnTo>
                  <a:lnTo>
                    <a:pt x="3187194" y="819411"/>
                  </a:lnTo>
                  <a:cubicBezTo>
                    <a:pt x="3187194" y="727783"/>
                    <a:pt x="3198894" y="679915"/>
                    <a:pt x="3233517" y="629638"/>
                  </a:cubicBezTo>
                  <a:cubicBezTo>
                    <a:pt x="3272300" y="572310"/>
                    <a:pt x="3331926" y="540683"/>
                    <a:pt x="3401277" y="540683"/>
                  </a:cubicBezTo>
                  <a:cubicBezTo>
                    <a:pt x="3410356" y="540683"/>
                    <a:pt x="3423983" y="540683"/>
                    <a:pt x="3437445" y="542393"/>
                  </a:cubicBezTo>
                  <a:moveTo>
                    <a:pt x="4250980" y="826838"/>
                  </a:moveTo>
                  <a:cubicBezTo>
                    <a:pt x="4250980" y="1000692"/>
                    <a:pt x="4140918" y="1122077"/>
                    <a:pt x="3983364" y="1122077"/>
                  </a:cubicBezTo>
                  <a:cubicBezTo>
                    <a:pt x="3822174" y="1122077"/>
                    <a:pt x="3713875" y="1003466"/>
                    <a:pt x="3713875" y="826838"/>
                  </a:cubicBezTo>
                  <a:cubicBezTo>
                    <a:pt x="3713875" y="649088"/>
                    <a:pt x="3822920" y="529677"/>
                    <a:pt x="3985180" y="529677"/>
                  </a:cubicBezTo>
                  <a:cubicBezTo>
                    <a:pt x="4144179" y="529677"/>
                    <a:pt x="4250980" y="649088"/>
                    <a:pt x="4250980" y="826838"/>
                  </a:cubicBezTo>
                  <a:moveTo>
                    <a:pt x="4435464" y="828654"/>
                  </a:moveTo>
                  <a:cubicBezTo>
                    <a:pt x="4435464" y="557084"/>
                    <a:pt x="4246120" y="359885"/>
                    <a:pt x="3985180" y="359885"/>
                  </a:cubicBezTo>
                  <a:cubicBezTo>
                    <a:pt x="3716818" y="359885"/>
                    <a:pt x="3529338" y="551155"/>
                    <a:pt x="3529338" y="824916"/>
                  </a:cubicBezTo>
                  <a:cubicBezTo>
                    <a:pt x="3529338" y="1099848"/>
                    <a:pt x="3714521" y="1291865"/>
                    <a:pt x="3979622" y="1291865"/>
                  </a:cubicBezTo>
                  <a:cubicBezTo>
                    <a:pt x="4235272" y="1291865"/>
                    <a:pt x="4435464" y="1088418"/>
                    <a:pt x="4435464" y="828654"/>
                  </a:cubicBezTo>
                  <a:moveTo>
                    <a:pt x="5261608" y="828654"/>
                  </a:moveTo>
                  <a:cubicBezTo>
                    <a:pt x="5261608" y="909382"/>
                    <a:pt x="5239596" y="986748"/>
                    <a:pt x="5205508" y="1025854"/>
                  </a:cubicBezTo>
                  <a:cubicBezTo>
                    <a:pt x="5153150" y="1087026"/>
                    <a:pt x="5080062" y="1122077"/>
                    <a:pt x="5005052" y="1122077"/>
                  </a:cubicBezTo>
                  <a:cubicBezTo>
                    <a:pt x="4855296" y="1122077"/>
                    <a:pt x="4746675" y="996361"/>
                    <a:pt x="4746675" y="823153"/>
                  </a:cubicBezTo>
                  <a:cubicBezTo>
                    <a:pt x="4746675" y="650316"/>
                    <a:pt x="4854386" y="529677"/>
                    <a:pt x="5008683" y="529677"/>
                  </a:cubicBezTo>
                  <a:cubicBezTo>
                    <a:pt x="5078193" y="529677"/>
                    <a:pt x="5151652" y="563177"/>
                    <a:pt x="5200378" y="617081"/>
                  </a:cubicBezTo>
                  <a:cubicBezTo>
                    <a:pt x="5246112" y="667892"/>
                    <a:pt x="5261608" y="721266"/>
                    <a:pt x="5261608" y="828654"/>
                  </a:cubicBezTo>
                  <a:moveTo>
                    <a:pt x="5327264" y="1583314"/>
                  </a:moveTo>
                  <a:cubicBezTo>
                    <a:pt x="5409426" y="1504990"/>
                    <a:pt x="5446113" y="1404277"/>
                    <a:pt x="5446113" y="1256819"/>
                  </a:cubicBezTo>
                  <a:lnTo>
                    <a:pt x="5446113" y="380187"/>
                  </a:lnTo>
                  <a:lnTo>
                    <a:pt x="5265239" y="380187"/>
                  </a:lnTo>
                  <a:lnTo>
                    <a:pt x="5265239" y="488537"/>
                  </a:lnTo>
                  <a:cubicBezTo>
                    <a:pt x="5186005" y="398673"/>
                    <a:pt x="5100153" y="359885"/>
                    <a:pt x="4982875" y="359885"/>
                  </a:cubicBezTo>
                  <a:cubicBezTo>
                    <a:pt x="4866567" y="359885"/>
                    <a:pt x="4771201" y="395361"/>
                    <a:pt x="4699394" y="465190"/>
                  </a:cubicBezTo>
                  <a:cubicBezTo>
                    <a:pt x="4611080" y="549710"/>
                    <a:pt x="4558400" y="685574"/>
                    <a:pt x="4558400" y="828654"/>
                  </a:cubicBezTo>
                  <a:cubicBezTo>
                    <a:pt x="4558400" y="1092743"/>
                    <a:pt x="4736097" y="1291865"/>
                    <a:pt x="4971816" y="1291865"/>
                  </a:cubicBezTo>
                  <a:cubicBezTo>
                    <a:pt x="5092032" y="1291865"/>
                    <a:pt x="5185952" y="1246830"/>
                    <a:pt x="5265239" y="1150553"/>
                  </a:cubicBezTo>
                  <a:lnTo>
                    <a:pt x="5265239" y="1267931"/>
                  </a:lnTo>
                  <a:cubicBezTo>
                    <a:pt x="5265239" y="1350745"/>
                    <a:pt x="5245313" y="1414431"/>
                    <a:pt x="5206095" y="1457116"/>
                  </a:cubicBezTo>
                  <a:cubicBezTo>
                    <a:pt x="5162288" y="1504291"/>
                    <a:pt x="5083159" y="1533625"/>
                    <a:pt x="4999546" y="1533625"/>
                  </a:cubicBezTo>
                  <a:cubicBezTo>
                    <a:pt x="4932122" y="1533625"/>
                    <a:pt x="4856471" y="1514979"/>
                    <a:pt x="4811695" y="1487409"/>
                  </a:cubicBezTo>
                  <a:cubicBezTo>
                    <a:pt x="4788777" y="1471596"/>
                    <a:pt x="4771254" y="1455624"/>
                    <a:pt x="4733588" y="1416300"/>
                  </a:cubicBezTo>
                  <a:lnTo>
                    <a:pt x="4719215" y="1401339"/>
                  </a:lnTo>
                  <a:lnTo>
                    <a:pt x="4595103" y="1525451"/>
                  </a:lnTo>
                  <a:lnTo>
                    <a:pt x="4607819" y="1539824"/>
                  </a:lnTo>
                  <a:cubicBezTo>
                    <a:pt x="4703719" y="1647106"/>
                    <a:pt x="4835528" y="1701544"/>
                    <a:pt x="4999546" y="1701544"/>
                  </a:cubicBezTo>
                  <a:cubicBezTo>
                    <a:pt x="5134664" y="1701544"/>
                    <a:pt x="5247981" y="1660675"/>
                    <a:pt x="5327264" y="1583314"/>
                  </a:cubicBezTo>
                  <a:moveTo>
                    <a:pt x="6317923" y="747497"/>
                  </a:moveTo>
                  <a:lnTo>
                    <a:pt x="5805203" y="747497"/>
                  </a:lnTo>
                  <a:cubicBezTo>
                    <a:pt x="5814785" y="696051"/>
                    <a:pt x="5825267" y="667627"/>
                    <a:pt x="5845913" y="635144"/>
                  </a:cubicBezTo>
                  <a:cubicBezTo>
                    <a:pt x="5892024" y="566756"/>
                    <a:pt x="5971327" y="525990"/>
                    <a:pt x="6057989" y="525990"/>
                  </a:cubicBezTo>
                  <a:cubicBezTo>
                    <a:pt x="6144228" y="525990"/>
                    <a:pt x="6225702" y="566274"/>
                    <a:pt x="6275730" y="633487"/>
                  </a:cubicBezTo>
                  <a:cubicBezTo>
                    <a:pt x="6300453" y="669067"/>
                    <a:pt x="6312047" y="699841"/>
                    <a:pt x="6317923" y="747497"/>
                  </a:cubicBezTo>
                  <a:moveTo>
                    <a:pt x="6508188" y="872890"/>
                  </a:moveTo>
                  <a:cubicBezTo>
                    <a:pt x="6510094" y="851683"/>
                    <a:pt x="6510094" y="827426"/>
                    <a:pt x="6510094" y="815779"/>
                  </a:cubicBezTo>
                  <a:cubicBezTo>
                    <a:pt x="6510094" y="555909"/>
                    <a:pt x="6315700" y="359885"/>
                    <a:pt x="6057989" y="359885"/>
                  </a:cubicBezTo>
                  <a:cubicBezTo>
                    <a:pt x="5798109" y="359885"/>
                    <a:pt x="5609538" y="557084"/>
                    <a:pt x="5609538" y="828654"/>
                  </a:cubicBezTo>
                  <a:cubicBezTo>
                    <a:pt x="5609538" y="1097074"/>
                    <a:pt x="5800491" y="1291865"/>
                    <a:pt x="6063495" y="1291865"/>
                  </a:cubicBezTo>
                  <a:cubicBezTo>
                    <a:pt x="6235020" y="1291865"/>
                    <a:pt x="6386956" y="1199867"/>
                    <a:pt x="6460066" y="1051710"/>
                  </a:cubicBezTo>
                  <a:lnTo>
                    <a:pt x="6469966" y="1031572"/>
                  </a:lnTo>
                  <a:lnTo>
                    <a:pt x="6308923" y="971517"/>
                  </a:lnTo>
                  <a:lnTo>
                    <a:pt x="6300559" y="986689"/>
                  </a:lnTo>
                  <a:cubicBezTo>
                    <a:pt x="6254237" y="1068968"/>
                    <a:pt x="6161169" y="1122077"/>
                    <a:pt x="6063495" y="1122077"/>
                  </a:cubicBezTo>
                  <a:cubicBezTo>
                    <a:pt x="5977415" y="1122077"/>
                    <a:pt x="5901923" y="1083664"/>
                    <a:pt x="5850784" y="1013832"/>
                  </a:cubicBezTo>
                  <a:cubicBezTo>
                    <a:pt x="5821932" y="975900"/>
                    <a:pt x="5809438" y="945021"/>
                    <a:pt x="5802132" y="891377"/>
                  </a:cubicBezTo>
                  <a:lnTo>
                    <a:pt x="6506547" y="891377"/>
                  </a:lnTo>
                  <a:lnTo>
                    <a:pt x="6508188" y="872890"/>
                  </a:lnTo>
                  <a:close/>
                  <a:moveTo>
                    <a:pt x="7205139" y="1271563"/>
                  </a:moveTo>
                  <a:lnTo>
                    <a:pt x="7385928" y="1271563"/>
                  </a:lnTo>
                  <a:lnTo>
                    <a:pt x="7385928" y="677294"/>
                  </a:lnTo>
                  <a:cubicBezTo>
                    <a:pt x="7385928" y="554734"/>
                    <a:pt x="7365387" y="491422"/>
                    <a:pt x="7307154" y="435163"/>
                  </a:cubicBezTo>
                  <a:cubicBezTo>
                    <a:pt x="7252520" y="386599"/>
                    <a:pt x="7177557" y="359885"/>
                    <a:pt x="7096189" y="359885"/>
                  </a:cubicBezTo>
                  <a:cubicBezTo>
                    <a:pt x="7000739" y="359885"/>
                    <a:pt x="6929853" y="391193"/>
                    <a:pt x="6863625" y="463694"/>
                  </a:cubicBezTo>
                  <a:lnTo>
                    <a:pt x="6863625" y="380187"/>
                  </a:lnTo>
                  <a:lnTo>
                    <a:pt x="6682836" y="380187"/>
                  </a:lnTo>
                  <a:lnTo>
                    <a:pt x="6682836" y="1271563"/>
                  </a:lnTo>
                  <a:lnTo>
                    <a:pt x="6863625" y="1271563"/>
                  </a:lnTo>
                  <a:lnTo>
                    <a:pt x="6863625" y="732701"/>
                  </a:lnTo>
                  <a:cubicBezTo>
                    <a:pt x="6863625" y="667839"/>
                    <a:pt x="6876278" y="632147"/>
                    <a:pt x="6913971" y="591066"/>
                  </a:cubicBezTo>
                  <a:cubicBezTo>
                    <a:pt x="6951505" y="548481"/>
                    <a:pt x="7002433" y="525990"/>
                    <a:pt x="7061143" y="525990"/>
                  </a:cubicBezTo>
                  <a:cubicBezTo>
                    <a:pt x="7110748" y="525990"/>
                    <a:pt x="7155428" y="544744"/>
                    <a:pt x="7177769" y="575089"/>
                  </a:cubicBezTo>
                  <a:cubicBezTo>
                    <a:pt x="7197410" y="601215"/>
                    <a:pt x="7205139" y="638722"/>
                    <a:pt x="7205139" y="708709"/>
                  </a:cubicBezTo>
                  <a:lnTo>
                    <a:pt x="7205139" y="1271563"/>
                  </a:lnTo>
                  <a:close/>
                  <a:moveTo>
                    <a:pt x="7822309" y="162418"/>
                  </a:moveTo>
                  <a:cubicBezTo>
                    <a:pt x="7822309" y="99268"/>
                    <a:pt x="7774452" y="49847"/>
                    <a:pt x="7713412" y="49847"/>
                  </a:cubicBezTo>
                  <a:cubicBezTo>
                    <a:pt x="7650255" y="49847"/>
                    <a:pt x="7602662" y="97451"/>
                    <a:pt x="7602662" y="160549"/>
                  </a:cubicBezTo>
                  <a:cubicBezTo>
                    <a:pt x="7602662" y="223699"/>
                    <a:pt x="7649514" y="271303"/>
                    <a:pt x="7711560" y="271303"/>
                  </a:cubicBezTo>
                  <a:cubicBezTo>
                    <a:pt x="7773711" y="271303"/>
                    <a:pt x="7822309" y="223432"/>
                    <a:pt x="7822309" y="162418"/>
                  </a:cubicBezTo>
                  <a:moveTo>
                    <a:pt x="8704760" y="826838"/>
                  </a:moveTo>
                  <a:cubicBezTo>
                    <a:pt x="8704760" y="1000692"/>
                    <a:pt x="8594751" y="1122077"/>
                    <a:pt x="8437150" y="1122077"/>
                  </a:cubicBezTo>
                  <a:cubicBezTo>
                    <a:pt x="8276002" y="1122077"/>
                    <a:pt x="8167740" y="1003466"/>
                    <a:pt x="8167740" y="826838"/>
                  </a:cubicBezTo>
                  <a:cubicBezTo>
                    <a:pt x="8167740" y="649088"/>
                    <a:pt x="8276743" y="529677"/>
                    <a:pt x="8439003" y="529677"/>
                  </a:cubicBezTo>
                  <a:cubicBezTo>
                    <a:pt x="8597980" y="529677"/>
                    <a:pt x="8704760" y="649088"/>
                    <a:pt x="8704760" y="826838"/>
                  </a:cubicBezTo>
                  <a:moveTo>
                    <a:pt x="8889307" y="828654"/>
                  </a:moveTo>
                  <a:cubicBezTo>
                    <a:pt x="8889307" y="557084"/>
                    <a:pt x="8699942" y="359885"/>
                    <a:pt x="8439003" y="359885"/>
                  </a:cubicBezTo>
                  <a:cubicBezTo>
                    <a:pt x="8170652" y="359885"/>
                    <a:pt x="7983193" y="551155"/>
                    <a:pt x="7983193" y="824916"/>
                  </a:cubicBezTo>
                  <a:cubicBezTo>
                    <a:pt x="7983193" y="1099848"/>
                    <a:pt x="8168375" y="1291865"/>
                    <a:pt x="8433444" y="1291865"/>
                  </a:cubicBezTo>
                  <a:cubicBezTo>
                    <a:pt x="8689089" y="1291865"/>
                    <a:pt x="8889307" y="1088418"/>
                    <a:pt x="8889307" y="828654"/>
                  </a:cubicBezTo>
                  <a:moveTo>
                    <a:pt x="9658150" y="1197940"/>
                  </a:moveTo>
                  <a:cubicBezTo>
                    <a:pt x="9724854" y="1137144"/>
                    <a:pt x="9749630" y="1068539"/>
                    <a:pt x="9749630" y="944968"/>
                  </a:cubicBezTo>
                  <a:lnTo>
                    <a:pt x="9749630" y="380187"/>
                  </a:lnTo>
                  <a:lnTo>
                    <a:pt x="9566988" y="380187"/>
                  </a:lnTo>
                  <a:lnTo>
                    <a:pt x="9566988" y="944968"/>
                  </a:lnTo>
                  <a:cubicBezTo>
                    <a:pt x="9566988" y="1008437"/>
                    <a:pt x="9558835" y="1039587"/>
                    <a:pt x="9535012" y="1068222"/>
                  </a:cubicBezTo>
                  <a:cubicBezTo>
                    <a:pt x="9503831" y="1104284"/>
                    <a:pt x="9453009" y="1125815"/>
                    <a:pt x="9399010" y="1125815"/>
                  </a:cubicBezTo>
                  <a:cubicBezTo>
                    <a:pt x="9299060" y="1125815"/>
                    <a:pt x="9229233" y="1049947"/>
                    <a:pt x="9229233" y="941225"/>
                  </a:cubicBezTo>
                  <a:lnTo>
                    <a:pt x="9229233" y="380187"/>
                  </a:lnTo>
                  <a:lnTo>
                    <a:pt x="9048391" y="380187"/>
                  </a:lnTo>
                  <a:lnTo>
                    <a:pt x="9048391" y="944968"/>
                  </a:lnTo>
                  <a:cubicBezTo>
                    <a:pt x="9048391" y="1054330"/>
                    <a:pt x="9078249" y="1136392"/>
                    <a:pt x="9139659" y="1195965"/>
                  </a:cubicBezTo>
                  <a:cubicBezTo>
                    <a:pt x="9204563" y="1256925"/>
                    <a:pt x="9299113" y="1291865"/>
                    <a:pt x="9399010" y="1291865"/>
                  </a:cubicBezTo>
                  <a:cubicBezTo>
                    <a:pt x="9499701" y="1291865"/>
                    <a:pt x="9591763" y="1258529"/>
                    <a:pt x="9658150" y="1197945"/>
                  </a:cubicBezTo>
                  <a:moveTo>
                    <a:pt x="10385594" y="653307"/>
                  </a:moveTo>
                  <a:lnTo>
                    <a:pt x="10567335" y="653307"/>
                  </a:lnTo>
                  <a:lnTo>
                    <a:pt x="10566383" y="632041"/>
                  </a:lnTo>
                  <a:cubicBezTo>
                    <a:pt x="10558442" y="459099"/>
                    <a:pt x="10442768" y="359885"/>
                    <a:pt x="10249009" y="359885"/>
                  </a:cubicBezTo>
                  <a:cubicBezTo>
                    <a:pt x="10058003" y="359885"/>
                    <a:pt x="9929730" y="467434"/>
                    <a:pt x="9929730" y="627446"/>
                  </a:cubicBezTo>
                  <a:cubicBezTo>
                    <a:pt x="9929730" y="765666"/>
                    <a:pt x="10016922" y="850825"/>
                    <a:pt x="10212587" y="903611"/>
                  </a:cubicBezTo>
                  <a:cubicBezTo>
                    <a:pt x="10347689" y="937858"/>
                    <a:pt x="10391099" y="968955"/>
                    <a:pt x="10391099" y="1031625"/>
                  </a:cubicBezTo>
                  <a:cubicBezTo>
                    <a:pt x="10391099" y="1095576"/>
                    <a:pt x="10336730" y="1136874"/>
                    <a:pt x="10252715" y="1136874"/>
                  </a:cubicBezTo>
                  <a:cubicBezTo>
                    <a:pt x="10155517" y="1136874"/>
                    <a:pt x="10102102" y="1093384"/>
                    <a:pt x="10093843" y="1007579"/>
                  </a:cubicBezTo>
                  <a:lnTo>
                    <a:pt x="10092096" y="989257"/>
                  </a:lnTo>
                  <a:lnTo>
                    <a:pt x="9913054" y="989257"/>
                  </a:lnTo>
                  <a:lnTo>
                    <a:pt x="9915066" y="1011216"/>
                  </a:lnTo>
                  <a:cubicBezTo>
                    <a:pt x="9930789" y="1194843"/>
                    <a:pt x="10047626" y="1291865"/>
                    <a:pt x="10252715" y="1291865"/>
                  </a:cubicBezTo>
                  <a:cubicBezTo>
                    <a:pt x="10445839" y="1291865"/>
                    <a:pt x="10575647" y="1184371"/>
                    <a:pt x="10575647" y="1024303"/>
                  </a:cubicBezTo>
                  <a:cubicBezTo>
                    <a:pt x="10575647" y="956667"/>
                    <a:pt x="10548542" y="890948"/>
                    <a:pt x="10501426" y="843879"/>
                  </a:cubicBezTo>
                  <a:cubicBezTo>
                    <a:pt x="10457485" y="799913"/>
                    <a:pt x="10397028" y="770955"/>
                    <a:pt x="10285750" y="740769"/>
                  </a:cubicBezTo>
                  <a:cubicBezTo>
                    <a:pt x="10125660" y="696474"/>
                    <a:pt x="10110519" y="671471"/>
                    <a:pt x="10110519" y="616440"/>
                  </a:cubicBezTo>
                  <a:cubicBezTo>
                    <a:pt x="10110519" y="553823"/>
                    <a:pt x="10161447" y="514877"/>
                    <a:pt x="10243398" y="514877"/>
                  </a:cubicBezTo>
                  <a:cubicBezTo>
                    <a:pt x="10329795" y="514877"/>
                    <a:pt x="10385594" y="557672"/>
                    <a:pt x="10385594" y="623762"/>
                  </a:cubicBezTo>
                  <a:lnTo>
                    <a:pt x="10385594" y="653307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B3603C14-B647-D952-0A46-E733581512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8812" y="1449388"/>
            <a:ext cx="10874376" cy="2840160"/>
          </a:xfrm>
        </p:spPr>
        <p:txBody>
          <a:bodyPr anchor="b"/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018AD78-2874-B23F-93A7-6840BB4D3A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58812" y="4511154"/>
            <a:ext cx="10874375" cy="1124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28" name="Textplatzhalter 8">
            <a:extLst>
              <a:ext uri="{FF2B5EF4-FFF2-40B4-BE49-F238E27FC236}">
                <a16:creationId xmlns:a16="http://schemas.microsoft.com/office/drawing/2014/main" id="{53D9BB8E-50FC-4015-0F7C-91AE1E6DD6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3" y="5857092"/>
            <a:ext cx="10874374" cy="540533"/>
          </a:xfrm>
        </p:spPr>
        <p:txBody>
          <a:bodyPr anchor="b"/>
          <a:lstStyle>
            <a:lvl1pPr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>
              <a:defRPr/>
            </a:lvl2pPr>
          </a:lstStyle>
          <a:p>
            <a:pPr lvl="0"/>
            <a:r>
              <a:rPr lang="en-GB" noProof="0"/>
              <a:t>date or author or title/role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32584095-B234-1CD4-D20F-6C1C5E412B33}"/>
              </a:ext>
            </a:extLst>
          </p:cNvPr>
          <p:cNvGrpSpPr/>
          <p:nvPr userDrawn="1"/>
        </p:nvGrpSpPr>
        <p:grpSpPr>
          <a:xfrm rot="5400000">
            <a:off x="-3617983" y="3323777"/>
            <a:ext cx="6854690" cy="213756"/>
            <a:chOff x="-1" y="-286346"/>
            <a:chExt cx="5820565" cy="181508"/>
          </a:xfrm>
        </p:grpSpPr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DDDE7D3A-C903-B588-ED5B-A281D38EBE1E}"/>
                </a:ext>
              </a:extLst>
            </p:cNvPr>
            <p:cNvGrpSpPr/>
            <p:nvPr userDrawn="1"/>
          </p:nvGrpSpPr>
          <p:grpSpPr>
            <a:xfrm rot="16200000">
              <a:off x="363007" y="-649354"/>
              <a:ext cx="181503" cy="907520"/>
              <a:chOff x="1319213" y="-1663170"/>
              <a:chExt cx="181503" cy="907520"/>
            </a:xfrm>
          </p:grpSpPr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2131E9EA-538A-4EC6-98FC-91EBBB06193C}"/>
                  </a:ext>
                </a:extLst>
              </p:cNvPr>
              <p:cNvSpPr/>
              <p:nvPr/>
            </p:nvSpPr>
            <p:spPr>
              <a:xfrm>
                <a:off x="1319213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44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3CE8BBF3-05B8-9E9E-4A29-96F0D02ACD7F}"/>
                  </a:ext>
                </a:extLst>
              </p:cNvPr>
              <p:cNvSpPr/>
              <p:nvPr/>
            </p:nvSpPr>
            <p:spPr>
              <a:xfrm>
                <a:off x="1319213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69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317CF185-0566-B533-A663-13BC67A90739}"/>
                  </a:ext>
                </a:extLst>
              </p:cNvPr>
              <p:cNvSpPr/>
              <p:nvPr/>
            </p:nvSpPr>
            <p:spPr>
              <a:xfrm>
                <a:off x="1319213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FE8F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87668EB9-BAEB-27FF-33BB-4FFEBFFED09B}"/>
                  </a:ext>
                </a:extLst>
              </p:cNvPr>
              <p:cNvSpPr/>
              <p:nvPr/>
            </p:nvSpPr>
            <p:spPr>
              <a:xfrm>
                <a:off x="1319213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B4B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4C4D4B54-BA87-D8B8-6DCD-25EC7B90D100}"/>
                  </a:ext>
                </a:extLst>
              </p:cNvPr>
              <p:cNvSpPr/>
              <p:nvPr/>
            </p:nvSpPr>
            <p:spPr>
              <a:xfrm>
                <a:off x="1319213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D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8A7F376B-6ABA-8465-6277-3AD8D27DE928}"/>
                </a:ext>
              </a:extLst>
            </p:cNvPr>
            <p:cNvGrpSpPr/>
            <p:nvPr userDrawn="1"/>
          </p:nvGrpSpPr>
          <p:grpSpPr>
            <a:xfrm rot="16200000">
              <a:off x="1345616" y="-649354"/>
              <a:ext cx="181503" cy="907520"/>
              <a:chOff x="1319213" y="-664912"/>
              <a:chExt cx="181503" cy="907520"/>
            </a:xfrm>
          </p:grpSpPr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FDB6D491-B343-678B-BC52-7567910810B0}"/>
                  </a:ext>
                </a:extLst>
              </p:cNvPr>
              <p:cNvSpPr/>
              <p:nvPr/>
            </p:nvSpPr>
            <p:spPr>
              <a:xfrm>
                <a:off x="1319213" y="-66491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6400A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CB1534DF-B52F-2039-06D0-218C62DD1EA1}"/>
                  </a:ext>
                </a:extLst>
              </p:cNvPr>
              <p:cNvSpPr/>
              <p:nvPr/>
            </p:nvSpPr>
            <p:spPr>
              <a:xfrm>
                <a:off x="1319213" y="-483404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33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535D285F-F79E-DEC0-BB21-72F38CC1BEB3}"/>
                  </a:ext>
                </a:extLst>
              </p:cNvPr>
              <p:cNvSpPr/>
              <p:nvPr/>
            </p:nvSpPr>
            <p:spPr>
              <a:xfrm>
                <a:off x="1319213" y="-30189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266C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F79FAC19-C99F-EADF-8021-F0DD8E88D7AD}"/>
                  </a:ext>
                </a:extLst>
              </p:cNvPr>
              <p:cNvSpPr/>
              <p:nvPr/>
            </p:nvSpPr>
            <p:spPr>
              <a:xfrm>
                <a:off x="1319213" y="-120387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199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A7C799CB-2479-03BA-E429-5FF02A0DD574}"/>
                  </a:ext>
                </a:extLst>
              </p:cNvPr>
              <p:cNvSpPr/>
              <p:nvPr/>
            </p:nvSpPr>
            <p:spPr>
              <a:xfrm>
                <a:off x="1319213" y="6110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0CC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30C70063-E77C-3DF1-54AD-0D61B1460C23}"/>
                </a:ext>
              </a:extLst>
            </p:cNvPr>
            <p:cNvGrpSpPr/>
            <p:nvPr userDrawn="1"/>
          </p:nvGrpSpPr>
          <p:grpSpPr>
            <a:xfrm rot="16200000">
              <a:off x="2328223" y="-649352"/>
              <a:ext cx="181508" cy="907520"/>
              <a:chOff x="1682219" y="-1663170"/>
              <a:chExt cx="181508" cy="907520"/>
            </a:xfrm>
          </p:grpSpPr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3BF088D0-392C-98B4-1898-805EEA068F50}"/>
                  </a:ext>
                </a:extLst>
              </p:cNvPr>
              <p:cNvSpPr/>
              <p:nvPr/>
            </p:nvSpPr>
            <p:spPr>
              <a:xfrm>
                <a:off x="1682219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CC8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A6291F1C-BFA9-9D65-1F19-5C2DC8145821}"/>
                  </a:ext>
                </a:extLst>
              </p:cNvPr>
              <p:cNvSpPr/>
              <p:nvPr/>
            </p:nvSpPr>
            <p:spPr>
              <a:xfrm>
                <a:off x="1682224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3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A080D428-0E89-5A7D-EBE1-9831E3E7CA52}"/>
                  </a:ext>
                </a:extLst>
              </p:cNvPr>
              <p:cNvSpPr/>
              <p:nvPr/>
            </p:nvSpPr>
            <p:spPr>
              <a:xfrm>
                <a:off x="1682224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ADE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E71F54F0-AC45-EB5E-46E8-1A0C0EE7CEDC}"/>
                  </a:ext>
                </a:extLst>
              </p:cNvPr>
              <p:cNvSpPr/>
              <p:nvPr/>
            </p:nvSpPr>
            <p:spPr>
              <a:xfrm>
                <a:off x="1682224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E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E7CCDEAD-5A86-B8F2-042B-2FFDCA5AA9DF}"/>
                  </a:ext>
                </a:extLst>
              </p:cNvPr>
              <p:cNvSpPr/>
              <p:nvPr/>
            </p:nvSpPr>
            <p:spPr>
              <a:xfrm>
                <a:off x="1682219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8F4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4E4A5DB7-505B-4DCC-33C5-C06E645C7EF8}"/>
                </a:ext>
              </a:extLst>
            </p:cNvPr>
            <p:cNvGrpSpPr/>
            <p:nvPr userDrawn="1"/>
          </p:nvGrpSpPr>
          <p:grpSpPr>
            <a:xfrm rot="16200000">
              <a:off x="5276052" y="-649354"/>
              <a:ext cx="181503" cy="907520"/>
              <a:chOff x="2226738" y="-1663170"/>
              <a:chExt cx="181503" cy="907520"/>
            </a:xfrm>
          </p:grpSpPr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058733BC-072C-CA92-93B6-D035798D4830}"/>
                  </a:ext>
                </a:extLst>
              </p:cNvPr>
              <p:cNvSpPr/>
              <p:nvPr/>
            </p:nvSpPr>
            <p:spPr>
              <a:xfrm>
                <a:off x="2226738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44B2667A-62C8-5DEF-15B5-A6E3C1E2E748}"/>
                  </a:ext>
                </a:extLst>
              </p:cNvPr>
              <p:cNvSpPr/>
              <p:nvPr/>
            </p:nvSpPr>
            <p:spPr>
              <a:xfrm>
                <a:off x="2226738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5757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17E04010-5F57-F118-C6DB-5E3CD6A169BF}"/>
                  </a:ext>
                </a:extLst>
              </p:cNvPr>
              <p:cNvSpPr/>
              <p:nvPr/>
            </p:nvSpPr>
            <p:spPr>
              <a:xfrm>
                <a:off x="2226738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8787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B004C5AE-18C1-1F3B-906B-5B6F31C1CD60}"/>
                  </a:ext>
                </a:extLst>
              </p:cNvPr>
              <p:cNvSpPr/>
              <p:nvPr/>
            </p:nvSpPr>
            <p:spPr>
              <a:xfrm>
                <a:off x="2226738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2B2B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981C0890-0DB2-F7DB-5521-D0A4601845F1}"/>
                  </a:ext>
                </a:extLst>
              </p:cNvPr>
              <p:cNvSpPr/>
              <p:nvPr/>
            </p:nvSpPr>
            <p:spPr>
              <a:xfrm>
                <a:off x="2226738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DA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67CB7B91-6912-B010-357C-B69CBB960DE1}"/>
                </a:ext>
              </a:extLst>
            </p:cNvPr>
            <p:cNvGrpSpPr/>
            <p:nvPr userDrawn="1"/>
          </p:nvGrpSpPr>
          <p:grpSpPr>
            <a:xfrm rot="16200000">
              <a:off x="3310834" y="-649354"/>
              <a:ext cx="181503" cy="907520"/>
              <a:chOff x="1863727" y="-1663170"/>
              <a:chExt cx="181503" cy="907520"/>
            </a:xfrm>
          </p:grpSpPr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46B9F04C-8BA9-1C31-A6F0-5446871F380D}"/>
                  </a:ext>
                </a:extLst>
              </p:cNvPr>
              <p:cNvSpPr/>
              <p:nvPr/>
            </p:nvSpPr>
            <p:spPr>
              <a:xfrm>
                <a:off x="1863727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2A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F0207AA4-73F1-D5EF-3F71-8EBF36A6308E}"/>
                  </a:ext>
                </a:extLst>
              </p:cNvPr>
              <p:cNvSpPr/>
              <p:nvPr/>
            </p:nvSpPr>
            <p:spPr>
              <a:xfrm>
                <a:off x="1863727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5DB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20B4A6AA-8914-7002-FC46-412C65F964AF}"/>
                  </a:ext>
                </a:extLst>
              </p:cNvPr>
              <p:cNvSpPr/>
              <p:nvPr/>
            </p:nvSpPr>
            <p:spPr>
              <a:xfrm>
                <a:off x="1863727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8E4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CC9D4CDD-EECE-70F1-0EDC-0304DDEB9D65}"/>
                  </a:ext>
                </a:extLst>
              </p:cNvPr>
              <p:cNvSpPr/>
              <p:nvPr/>
            </p:nvSpPr>
            <p:spPr>
              <a:xfrm>
                <a:off x="1863727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ED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2F4CF264-8E48-49F6-2045-00AA6B327A8A}"/>
                  </a:ext>
                </a:extLst>
              </p:cNvPr>
              <p:cNvSpPr/>
              <p:nvPr/>
            </p:nvSpPr>
            <p:spPr>
              <a:xfrm>
                <a:off x="1863727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DF6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4F7800AC-5132-2F98-F720-7A47A1EEC76D}"/>
                </a:ext>
              </a:extLst>
            </p:cNvPr>
            <p:cNvGrpSpPr/>
            <p:nvPr userDrawn="1"/>
          </p:nvGrpSpPr>
          <p:grpSpPr>
            <a:xfrm rot="16200000">
              <a:off x="4293441" y="-649352"/>
              <a:ext cx="181508" cy="907520"/>
              <a:chOff x="2045230" y="-1663170"/>
              <a:chExt cx="181508" cy="907520"/>
            </a:xfrm>
          </p:grpSpPr>
          <p:sp>
            <p:nvSpPr>
              <p:cNvPr id="12" name="Freihandform: Form 11">
                <a:extLst>
                  <a:ext uri="{FF2B5EF4-FFF2-40B4-BE49-F238E27FC236}">
                    <a16:creationId xmlns:a16="http://schemas.microsoft.com/office/drawing/2014/main" id="{E799F5AD-2EC1-100B-AA7C-3AE9EAAB6C72}"/>
                  </a:ext>
                </a:extLst>
              </p:cNvPr>
              <p:cNvSpPr/>
              <p:nvPr/>
            </p:nvSpPr>
            <p:spPr>
              <a:xfrm>
                <a:off x="2045230" y="-937158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9F7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" name="Freihandform: Form 12">
                <a:extLst>
                  <a:ext uri="{FF2B5EF4-FFF2-40B4-BE49-F238E27FC236}">
                    <a16:creationId xmlns:a16="http://schemas.microsoft.com/office/drawing/2014/main" id="{EAA00458-2D0F-D07A-E461-BDCF4A47B5B6}"/>
                  </a:ext>
                </a:extLst>
              </p:cNvPr>
              <p:cNvSpPr/>
              <p:nvPr/>
            </p:nvSpPr>
            <p:spPr>
              <a:xfrm>
                <a:off x="2045230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FED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" name="Freihandform: Form 13">
                <a:extLst>
                  <a:ext uri="{FF2B5EF4-FFF2-40B4-BE49-F238E27FC236}">
                    <a16:creationId xmlns:a16="http://schemas.microsoft.com/office/drawing/2014/main" id="{3FF4E0FC-4F23-0B0F-76BF-DBE06B771846}"/>
                  </a:ext>
                </a:extLst>
              </p:cNvPr>
              <p:cNvSpPr/>
              <p:nvPr/>
            </p:nvSpPr>
            <p:spPr>
              <a:xfrm>
                <a:off x="2045230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5E3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" name="Freihandform: Form 14">
                <a:extLst>
                  <a:ext uri="{FF2B5EF4-FFF2-40B4-BE49-F238E27FC236}">
                    <a16:creationId xmlns:a16="http://schemas.microsoft.com/office/drawing/2014/main" id="{CC2A484A-E921-878A-DE75-FA17BAD6C19C}"/>
                  </a:ext>
                </a:extLst>
              </p:cNvPr>
              <p:cNvSpPr/>
              <p:nvPr/>
            </p:nvSpPr>
            <p:spPr>
              <a:xfrm>
                <a:off x="2045230" y="-1663170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CFC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" name="Freihandform: Form 15">
                <a:extLst>
                  <a:ext uri="{FF2B5EF4-FFF2-40B4-BE49-F238E27FC236}">
                    <a16:creationId xmlns:a16="http://schemas.microsoft.com/office/drawing/2014/main" id="{364A6FD9-13FD-7DC0-DA80-1CD703744C12}"/>
                  </a:ext>
                </a:extLst>
              </p:cNvPr>
              <p:cNvSpPr/>
              <p:nvPr/>
            </p:nvSpPr>
            <p:spPr>
              <a:xfrm>
                <a:off x="2045230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BD9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409132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eft (white)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2" y="843892"/>
            <a:ext cx="10874373" cy="5510626"/>
          </a:xfrm>
        </p:spPr>
        <p:txBody>
          <a:bodyPr/>
          <a:lstStyle>
            <a:lvl1pPr>
              <a:lnSpc>
                <a:spcPct val="95000"/>
              </a:lnSpc>
              <a:spcAft>
                <a:spcPts val="2400"/>
              </a:spcAft>
              <a:defRPr sz="4000"/>
            </a:lvl1pPr>
            <a:lvl2pPr>
              <a:defRPr sz="2000"/>
            </a:lvl2pPr>
            <a:lvl5pPr>
              <a:defRPr/>
            </a:lvl5pPr>
          </a:lstStyle>
          <a:p>
            <a:pPr lvl="0"/>
            <a:r>
              <a:rPr lang="en-GB" noProof="0"/>
              <a:t>Level 1 (Big Text)</a:t>
            </a:r>
          </a:p>
          <a:p>
            <a:pPr lvl="1"/>
            <a:r>
              <a:rPr lang="en-GB" noProof="0"/>
              <a:t>Level 2 (Subline or Source)</a:t>
            </a:r>
          </a:p>
          <a:p>
            <a:pPr lvl="2"/>
            <a:r>
              <a:rPr lang="en-GB" noProof="0"/>
              <a:t>Level 3 (Copy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DC5B4513-FC3B-FF2B-085A-BC7D54521A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</p:spTree>
    <p:extLst>
      <p:ext uri="{BB962C8B-B14F-4D97-AF65-F5344CB8AC3E}">
        <p14:creationId xmlns:p14="http://schemas.microsoft.com/office/powerpoint/2010/main" val="32709556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centered (red)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2" y="1569720"/>
            <a:ext cx="10874373" cy="3481070"/>
          </a:xfrm>
        </p:spPr>
        <p:txBody>
          <a:bodyPr anchor="ctr"/>
          <a:lstStyle>
            <a:lvl1pPr algn="ctr">
              <a:lnSpc>
                <a:spcPct val="95000"/>
              </a:lnSpc>
              <a:spcAft>
                <a:spcPts val="2400"/>
              </a:spcAft>
              <a:defRPr sz="4000">
                <a:solidFill>
                  <a:schemeClr val="bg1"/>
                </a:solidFill>
              </a:defRPr>
            </a:lvl1pPr>
            <a:lvl2pPr algn="ctr">
              <a:defRPr sz="2000"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Big Text)</a:t>
            </a:r>
          </a:p>
          <a:p>
            <a:pPr lvl="1"/>
            <a:r>
              <a:rPr lang="en-GB" noProof="0"/>
              <a:t>Level 2 (Subline or Source)</a:t>
            </a:r>
          </a:p>
          <a:p>
            <a:pPr lvl="2"/>
            <a:r>
              <a:rPr lang="en-GB" noProof="0"/>
              <a:t>Level 3 (Copy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5BA22F01-6A2E-EE69-D1D2-37E38CBD7B9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415668" y="503483"/>
            <a:ext cx="1289916" cy="180000"/>
            <a:chOff x="-161925" y="-1630732"/>
            <a:chExt cx="12193587" cy="1701544"/>
          </a:xfrm>
          <a:solidFill>
            <a:schemeClr val="bg1"/>
          </a:solidFill>
        </p:grpSpPr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088C7238-9287-320A-4089-6029077EB847}"/>
                </a:ext>
              </a:extLst>
            </p:cNvPr>
            <p:cNvSpPr/>
            <p:nvPr/>
          </p:nvSpPr>
          <p:spPr>
            <a:xfrm>
              <a:off x="10774928" y="-1247713"/>
              <a:ext cx="1256734" cy="356304"/>
            </a:xfrm>
            <a:custGeom>
              <a:avLst/>
              <a:gdLst>
                <a:gd name="connsiteX0" fmla="*/ 1226823 w 1256734"/>
                <a:gd name="connsiteY0" fmla="*/ 269166 h 356304"/>
                <a:gd name="connsiteX1" fmla="*/ 1133491 w 1256734"/>
                <a:gd name="connsiteY1" fmla="*/ 316610 h 356304"/>
                <a:gd name="connsiteX2" fmla="*/ 1010248 w 1256734"/>
                <a:gd name="connsiteY2" fmla="*/ 178448 h 356304"/>
                <a:gd name="connsiteX3" fmla="*/ 1131426 w 1256734"/>
                <a:gd name="connsiteY3" fmla="*/ 39696 h 356304"/>
                <a:gd name="connsiteX4" fmla="*/ 1226823 w 1256734"/>
                <a:gd name="connsiteY4" fmla="*/ 86659 h 356304"/>
                <a:gd name="connsiteX5" fmla="*/ 1256735 w 1256734"/>
                <a:gd name="connsiteY5" fmla="*/ 58823 h 356304"/>
                <a:gd name="connsiteX6" fmla="*/ 1216553 w 1256734"/>
                <a:gd name="connsiteY6" fmla="*/ 23241 h 356304"/>
                <a:gd name="connsiteX7" fmla="*/ 1130420 w 1256734"/>
                <a:gd name="connsiteY7" fmla="*/ 0 h 356304"/>
                <a:gd name="connsiteX8" fmla="*/ 965885 w 1256734"/>
                <a:gd name="connsiteY8" fmla="*/ 178448 h 356304"/>
                <a:gd name="connsiteX9" fmla="*/ 1011783 w 1256734"/>
                <a:gd name="connsiteY9" fmla="*/ 305763 h 356304"/>
                <a:gd name="connsiteX10" fmla="*/ 1129892 w 1256734"/>
                <a:gd name="connsiteY10" fmla="*/ 356305 h 356304"/>
                <a:gd name="connsiteX11" fmla="*/ 1255676 w 1256734"/>
                <a:gd name="connsiteY11" fmla="*/ 298071 h 356304"/>
                <a:gd name="connsiteX12" fmla="*/ 1226823 w 1256734"/>
                <a:gd name="connsiteY12" fmla="*/ 269166 h 356304"/>
                <a:gd name="connsiteX13" fmla="*/ 679216 w 1256734"/>
                <a:gd name="connsiteY13" fmla="*/ 197999 h 356304"/>
                <a:gd name="connsiteX14" fmla="*/ 846824 w 1256734"/>
                <a:gd name="connsiteY14" fmla="*/ 197999 h 356304"/>
                <a:gd name="connsiteX15" fmla="*/ 846824 w 1256734"/>
                <a:gd name="connsiteY15" fmla="*/ 350105 h 356304"/>
                <a:gd name="connsiteX16" fmla="*/ 890075 w 1256734"/>
                <a:gd name="connsiteY16" fmla="*/ 350105 h 356304"/>
                <a:gd name="connsiteX17" fmla="*/ 890075 w 1256734"/>
                <a:gd name="connsiteY17" fmla="*/ 6198 h 356304"/>
                <a:gd name="connsiteX18" fmla="*/ 846824 w 1256734"/>
                <a:gd name="connsiteY18" fmla="*/ 6198 h 356304"/>
                <a:gd name="connsiteX19" fmla="*/ 846824 w 1256734"/>
                <a:gd name="connsiteY19" fmla="*/ 160920 h 356304"/>
                <a:gd name="connsiteX20" fmla="*/ 679216 w 1256734"/>
                <a:gd name="connsiteY20" fmla="*/ 160920 h 356304"/>
                <a:gd name="connsiteX21" fmla="*/ 679216 w 1256734"/>
                <a:gd name="connsiteY21" fmla="*/ 6198 h 356304"/>
                <a:gd name="connsiteX22" fmla="*/ 635912 w 1256734"/>
                <a:gd name="connsiteY22" fmla="*/ 6198 h 356304"/>
                <a:gd name="connsiteX23" fmla="*/ 635912 w 1256734"/>
                <a:gd name="connsiteY23" fmla="*/ 350105 h 356304"/>
                <a:gd name="connsiteX24" fmla="*/ 679216 w 1256734"/>
                <a:gd name="connsiteY24" fmla="*/ 350105 h 356304"/>
                <a:gd name="connsiteX25" fmla="*/ 679216 w 1256734"/>
                <a:gd name="connsiteY25" fmla="*/ 197999 h 356304"/>
                <a:gd name="connsiteX26" fmla="*/ 392018 w 1256734"/>
                <a:gd name="connsiteY26" fmla="*/ 40230 h 356304"/>
                <a:gd name="connsiteX27" fmla="*/ 476563 w 1256734"/>
                <a:gd name="connsiteY27" fmla="*/ 75813 h 356304"/>
                <a:gd name="connsiteX28" fmla="*/ 515792 w 1256734"/>
                <a:gd name="connsiteY28" fmla="*/ 181011 h 356304"/>
                <a:gd name="connsiteX29" fmla="*/ 482758 w 1256734"/>
                <a:gd name="connsiteY29" fmla="*/ 275365 h 356304"/>
                <a:gd name="connsiteX30" fmla="*/ 390960 w 1256734"/>
                <a:gd name="connsiteY30" fmla="*/ 316610 h 356304"/>
                <a:gd name="connsiteX31" fmla="*/ 267239 w 1256734"/>
                <a:gd name="connsiteY31" fmla="*/ 178448 h 356304"/>
                <a:gd name="connsiteX32" fmla="*/ 392018 w 1256734"/>
                <a:gd name="connsiteY32" fmla="*/ 40230 h 356304"/>
                <a:gd name="connsiteX33" fmla="*/ 393077 w 1256734"/>
                <a:gd name="connsiteY33" fmla="*/ 0 h 356304"/>
                <a:gd name="connsiteX34" fmla="*/ 222876 w 1256734"/>
                <a:gd name="connsiteY34" fmla="*/ 179994 h 356304"/>
                <a:gd name="connsiteX35" fmla="*/ 258982 w 1256734"/>
                <a:gd name="connsiteY35" fmla="*/ 291872 h 356304"/>
                <a:gd name="connsiteX36" fmla="*/ 392018 w 1256734"/>
                <a:gd name="connsiteY36" fmla="*/ 356305 h 356304"/>
                <a:gd name="connsiteX37" fmla="*/ 501868 w 1256734"/>
                <a:gd name="connsiteY37" fmla="*/ 315059 h 356304"/>
                <a:gd name="connsiteX38" fmla="*/ 560155 w 1256734"/>
                <a:gd name="connsiteY38" fmla="*/ 181545 h 356304"/>
                <a:gd name="connsiteX39" fmla="*/ 519921 w 1256734"/>
                <a:gd name="connsiteY39" fmla="*/ 59304 h 356304"/>
                <a:gd name="connsiteX40" fmla="*/ 393077 w 1256734"/>
                <a:gd name="connsiteY40" fmla="*/ 0 h 356304"/>
                <a:gd name="connsiteX41" fmla="*/ 43306 w 1256734"/>
                <a:gd name="connsiteY41" fmla="*/ 310946 h 356304"/>
                <a:gd name="connsiteX42" fmla="*/ 43306 w 1256734"/>
                <a:gd name="connsiteY42" fmla="*/ 6198 h 356304"/>
                <a:gd name="connsiteX43" fmla="*/ 0 w 1256734"/>
                <a:gd name="connsiteY43" fmla="*/ 6198 h 356304"/>
                <a:gd name="connsiteX44" fmla="*/ 0 w 1256734"/>
                <a:gd name="connsiteY44" fmla="*/ 350105 h 356304"/>
                <a:gd name="connsiteX45" fmla="*/ 194237 w 1256734"/>
                <a:gd name="connsiteY45" fmla="*/ 350105 h 356304"/>
                <a:gd name="connsiteX46" fmla="*/ 194237 w 1256734"/>
                <a:gd name="connsiteY46" fmla="*/ 310946 h 356304"/>
                <a:gd name="connsiteX47" fmla="*/ 43306 w 1256734"/>
                <a:gd name="connsiteY47" fmla="*/ 310946 h 35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256734" h="356304">
                  <a:moveTo>
                    <a:pt x="1226823" y="269166"/>
                  </a:moveTo>
                  <a:cubicBezTo>
                    <a:pt x="1200037" y="301650"/>
                    <a:pt x="1171131" y="316610"/>
                    <a:pt x="1133491" y="316610"/>
                  </a:cubicBezTo>
                  <a:cubicBezTo>
                    <a:pt x="1062341" y="316610"/>
                    <a:pt x="1010248" y="258371"/>
                    <a:pt x="1010248" y="178448"/>
                  </a:cubicBezTo>
                  <a:cubicBezTo>
                    <a:pt x="1010248" y="97985"/>
                    <a:pt x="1061334" y="39696"/>
                    <a:pt x="1131426" y="39696"/>
                  </a:cubicBezTo>
                  <a:cubicBezTo>
                    <a:pt x="1168008" y="39696"/>
                    <a:pt x="1193313" y="52092"/>
                    <a:pt x="1226823" y="86659"/>
                  </a:cubicBezTo>
                  <a:lnTo>
                    <a:pt x="1256735" y="58823"/>
                  </a:lnTo>
                  <a:cubicBezTo>
                    <a:pt x="1239742" y="40230"/>
                    <a:pt x="1230424" y="32003"/>
                    <a:pt x="1216553" y="23241"/>
                  </a:cubicBezTo>
                  <a:cubicBezTo>
                    <a:pt x="1191725" y="8281"/>
                    <a:pt x="1161338" y="0"/>
                    <a:pt x="1130420" y="0"/>
                  </a:cubicBezTo>
                  <a:cubicBezTo>
                    <a:pt x="1035500" y="0"/>
                    <a:pt x="965885" y="75279"/>
                    <a:pt x="965885" y="178448"/>
                  </a:cubicBezTo>
                  <a:cubicBezTo>
                    <a:pt x="965885" y="226369"/>
                    <a:pt x="982931" y="273279"/>
                    <a:pt x="1011783" y="305763"/>
                  </a:cubicBezTo>
                  <a:cubicBezTo>
                    <a:pt x="1041165" y="338782"/>
                    <a:pt x="1081928" y="356305"/>
                    <a:pt x="1129892" y="356305"/>
                  </a:cubicBezTo>
                  <a:cubicBezTo>
                    <a:pt x="1182990" y="356305"/>
                    <a:pt x="1221107" y="338782"/>
                    <a:pt x="1255676" y="298071"/>
                  </a:cubicBezTo>
                  <a:lnTo>
                    <a:pt x="1226823" y="269166"/>
                  </a:lnTo>
                  <a:close/>
                  <a:moveTo>
                    <a:pt x="679216" y="197999"/>
                  </a:moveTo>
                  <a:lnTo>
                    <a:pt x="846824" y="197999"/>
                  </a:lnTo>
                  <a:lnTo>
                    <a:pt x="846824" y="350105"/>
                  </a:lnTo>
                  <a:lnTo>
                    <a:pt x="890075" y="350105"/>
                  </a:lnTo>
                  <a:lnTo>
                    <a:pt x="890075" y="6198"/>
                  </a:lnTo>
                  <a:lnTo>
                    <a:pt x="846824" y="6198"/>
                  </a:lnTo>
                  <a:lnTo>
                    <a:pt x="846824" y="160920"/>
                  </a:lnTo>
                  <a:lnTo>
                    <a:pt x="679216" y="160920"/>
                  </a:lnTo>
                  <a:lnTo>
                    <a:pt x="679216" y="6198"/>
                  </a:lnTo>
                  <a:lnTo>
                    <a:pt x="635912" y="6198"/>
                  </a:lnTo>
                  <a:lnTo>
                    <a:pt x="635912" y="350105"/>
                  </a:lnTo>
                  <a:lnTo>
                    <a:pt x="679216" y="350105"/>
                  </a:lnTo>
                  <a:lnTo>
                    <a:pt x="679216" y="197999"/>
                  </a:lnTo>
                  <a:close/>
                  <a:moveTo>
                    <a:pt x="392018" y="40230"/>
                  </a:moveTo>
                  <a:cubicBezTo>
                    <a:pt x="422459" y="40230"/>
                    <a:pt x="453904" y="53641"/>
                    <a:pt x="476563" y="75813"/>
                  </a:cubicBezTo>
                  <a:cubicBezTo>
                    <a:pt x="503404" y="101618"/>
                    <a:pt x="515792" y="135117"/>
                    <a:pt x="515792" y="181011"/>
                  </a:cubicBezTo>
                  <a:cubicBezTo>
                    <a:pt x="515792" y="216057"/>
                    <a:pt x="502874" y="253189"/>
                    <a:pt x="482758" y="275365"/>
                  </a:cubicBezTo>
                  <a:cubicBezTo>
                    <a:pt x="459569" y="301650"/>
                    <a:pt x="425530" y="316610"/>
                    <a:pt x="390960" y="316610"/>
                  </a:cubicBezTo>
                  <a:cubicBezTo>
                    <a:pt x="319809" y="316610"/>
                    <a:pt x="267239" y="258371"/>
                    <a:pt x="267239" y="178448"/>
                  </a:cubicBezTo>
                  <a:cubicBezTo>
                    <a:pt x="267239" y="99000"/>
                    <a:pt x="320338" y="40230"/>
                    <a:pt x="392018" y="40230"/>
                  </a:cubicBezTo>
                  <a:moveTo>
                    <a:pt x="393077" y="0"/>
                  </a:moveTo>
                  <a:cubicBezTo>
                    <a:pt x="295615" y="0"/>
                    <a:pt x="222876" y="77362"/>
                    <a:pt x="222876" y="179994"/>
                  </a:cubicBezTo>
                  <a:cubicBezTo>
                    <a:pt x="222876" y="223273"/>
                    <a:pt x="235318" y="261956"/>
                    <a:pt x="258982" y="291872"/>
                  </a:cubicBezTo>
                  <a:cubicBezTo>
                    <a:pt x="290957" y="332101"/>
                    <a:pt x="340985" y="356305"/>
                    <a:pt x="392018" y="356305"/>
                  </a:cubicBezTo>
                  <a:cubicBezTo>
                    <a:pt x="431723" y="356305"/>
                    <a:pt x="470899" y="341879"/>
                    <a:pt x="501868" y="315059"/>
                  </a:cubicBezTo>
                  <a:cubicBezTo>
                    <a:pt x="539509" y="283110"/>
                    <a:pt x="560155" y="235131"/>
                    <a:pt x="560155" y="181545"/>
                  </a:cubicBezTo>
                  <a:cubicBezTo>
                    <a:pt x="560155" y="129935"/>
                    <a:pt x="547715" y="91788"/>
                    <a:pt x="519921" y="59304"/>
                  </a:cubicBezTo>
                  <a:cubicBezTo>
                    <a:pt x="486886" y="21691"/>
                    <a:pt x="440988" y="0"/>
                    <a:pt x="393077" y="0"/>
                  </a:cubicBezTo>
                  <a:moveTo>
                    <a:pt x="43306" y="310946"/>
                  </a:moveTo>
                  <a:lnTo>
                    <a:pt x="43306" y="6198"/>
                  </a:lnTo>
                  <a:lnTo>
                    <a:pt x="0" y="6198"/>
                  </a:lnTo>
                  <a:lnTo>
                    <a:pt x="0" y="350105"/>
                  </a:lnTo>
                  <a:lnTo>
                    <a:pt x="194237" y="350105"/>
                  </a:lnTo>
                  <a:lnTo>
                    <a:pt x="194237" y="310946"/>
                  </a:lnTo>
                  <a:lnTo>
                    <a:pt x="43306" y="310946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367A70C3-B896-F01F-8499-58EDDCA28A4A}"/>
                </a:ext>
              </a:extLst>
            </p:cNvPr>
            <p:cNvSpPr/>
            <p:nvPr/>
          </p:nvSpPr>
          <p:spPr>
            <a:xfrm>
              <a:off x="-161925" y="-1630732"/>
              <a:ext cx="10575647" cy="1701544"/>
            </a:xfrm>
            <a:custGeom>
              <a:avLst/>
              <a:gdLst>
                <a:gd name="connsiteX0" fmla="*/ 7802033 w 10575647"/>
                <a:gd name="connsiteY0" fmla="*/ 380187 h 1701544"/>
                <a:gd name="connsiteX1" fmla="*/ 7621138 w 10575647"/>
                <a:gd name="connsiteY1" fmla="*/ 380187 h 1701544"/>
                <a:gd name="connsiteX2" fmla="*/ 7621138 w 10575647"/>
                <a:gd name="connsiteY2" fmla="*/ 1271563 h 1701544"/>
                <a:gd name="connsiteX3" fmla="*/ 7802033 w 10575647"/>
                <a:gd name="connsiteY3" fmla="*/ 1271563 h 1701544"/>
                <a:gd name="connsiteX4" fmla="*/ 7802033 w 10575647"/>
                <a:gd name="connsiteY4" fmla="*/ 380187 h 1701544"/>
                <a:gd name="connsiteX5" fmla="*/ 706522 w 10575647"/>
                <a:gd name="connsiteY5" fmla="*/ 1271563 h 1701544"/>
                <a:gd name="connsiteX6" fmla="*/ 902065 w 10575647"/>
                <a:gd name="connsiteY6" fmla="*/ 1271563 h 1701544"/>
                <a:gd name="connsiteX7" fmla="*/ 902065 w 10575647"/>
                <a:gd name="connsiteY7" fmla="*/ 0 h 1701544"/>
                <a:gd name="connsiteX8" fmla="*/ 706522 w 10575647"/>
                <a:gd name="connsiteY8" fmla="*/ 0 h 1701544"/>
                <a:gd name="connsiteX9" fmla="*/ 706522 w 10575647"/>
                <a:gd name="connsiteY9" fmla="*/ 553717 h 1701544"/>
                <a:gd name="connsiteX10" fmla="*/ 195543 w 10575647"/>
                <a:gd name="connsiteY10" fmla="*/ 553717 h 1701544"/>
                <a:gd name="connsiteX11" fmla="*/ 195543 w 10575647"/>
                <a:gd name="connsiteY11" fmla="*/ 0 h 1701544"/>
                <a:gd name="connsiteX12" fmla="*/ 0 w 10575647"/>
                <a:gd name="connsiteY12" fmla="*/ 0 h 1701544"/>
                <a:gd name="connsiteX13" fmla="*/ 0 w 10575647"/>
                <a:gd name="connsiteY13" fmla="*/ 1271563 h 1701544"/>
                <a:gd name="connsiteX14" fmla="*/ 195543 w 10575647"/>
                <a:gd name="connsiteY14" fmla="*/ 1271563 h 1701544"/>
                <a:gd name="connsiteX15" fmla="*/ 195543 w 10575647"/>
                <a:gd name="connsiteY15" fmla="*/ 727142 h 1701544"/>
                <a:gd name="connsiteX16" fmla="*/ 706522 w 10575647"/>
                <a:gd name="connsiteY16" fmla="*/ 727142 h 1701544"/>
                <a:gd name="connsiteX17" fmla="*/ 706522 w 10575647"/>
                <a:gd name="connsiteY17" fmla="*/ 1271563 h 1701544"/>
                <a:gd name="connsiteX18" fmla="*/ 1306185 w 10575647"/>
                <a:gd name="connsiteY18" fmla="*/ 1690649 h 1701544"/>
                <a:gd name="connsiteX19" fmla="*/ 1654904 w 10575647"/>
                <a:gd name="connsiteY19" fmla="*/ 1036061 h 1701544"/>
                <a:gd name="connsiteX20" fmla="*/ 1306185 w 10575647"/>
                <a:gd name="connsiteY20" fmla="*/ 381469 h 1701544"/>
                <a:gd name="connsiteX21" fmla="*/ 1090234 w 10575647"/>
                <a:gd name="connsiteY21" fmla="*/ 381469 h 1701544"/>
                <a:gd name="connsiteX22" fmla="*/ 1438900 w 10575647"/>
                <a:gd name="connsiteY22" fmla="*/ 1036061 h 1701544"/>
                <a:gd name="connsiteX23" fmla="*/ 1090234 w 10575647"/>
                <a:gd name="connsiteY23" fmla="*/ 1690649 h 1701544"/>
                <a:gd name="connsiteX24" fmla="*/ 1306185 w 10575647"/>
                <a:gd name="connsiteY24" fmla="*/ 1690649 h 1701544"/>
                <a:gd name="connsiteX25" fmla="*/ 2581808 w 10575647"/>
                <a:gd name="connsiteY25" fmla="*/ 828654 h 1701544"/>
                <a:gd name="connsiteX26" fmla="*/ 2317883 w 10575647"/>
                <a:gd name="connsiteY26" fmla="*/ 1129505 h 1701544"/>
                <a:gd name="connsiteX27" fmla="*/ 2065011 w 10575647"/>
                <a:gd name="connsiteY27" fmla="*/ 832338 h 1701544"/>
                <a:gd name="connsiteX28" fmla="*/ 2327068 w 10575647"/>
                <a:gd name="connsiteY28" fmla="*/ 525990 h 1701544"/>
                <a:gd name="connsiteX29" fmla="*/ 2581808 w 10575647"/>
                <a:gd name="connsiteY29" fmla="*/ 828654 h 1701544"/>
                <a:gd name="connsiteX30" fmla="*/ 2581808 w 10575647"/>
                <a:gd name="connsiteY30" fmla="*/ 1271563 h 1701544"/>
                <a:gd name="connsiteX31" fmla="*/ 2762608 w 10575647"/>
                <a:gd name="connsiteY31" fmla="*/ 1271563 h 1701544"/>
                <a:gd name="connsiteX32" fmla="*/ 2762608 w 10575647"/>
                <a:gd name="connsiteY32" fmla="*/ 0 h 1701544"/>
                <a:gd name="connsiteX33" fmla="*/ 2581808 w 10575647"/>
                <a:gd name="connsiteY33" fmla="*/ 0 h 1701544"/>
                <a:gd name="connsiteX34" fmla="*/ 2581808 w 10575647"/>
                <a:gd name="connsiteY34" fmla="*/ 476356 h 1701544"/>
                <a:gd name="connsiteX35" fmla="*/ 2297581 w 10575647"/>
                <a:gd name="connsiteY35" fmla="*/ 359885 h 1701544"/>
                <a:gd name="connsiteX36" fmla="*/ 1876785 w 10575647"/>
                <a:gd name="connsiteY36" fmla="*/ 830470 h 1701544"/>
                <a:gd name="connsiteX37" fmla="*/ 2297581 w 10575647"/>
                <a:gd name="connsiteY37" fmla="*/ 1291865 h 1701544"/>
                <a:gd name="connsiteX38" fmla="*/ 2581808 w 10575647"/>
                <a:gd name="connsiteY38" fmla="*/ 1163217 h 1701544"/>
                <a:gd name="connsiteX39" fmla="*/ 2581808 w 10575647"/>
                <a:gd name="connsiteY39" fmla="*/ 1271563 h 1701544"/>
                <a:gd name="connsiteX40" fmla="*/ 3437445 w 10575647"/>
                <a:gd name="connsiteY40" fmla="*/ 542393 h 1701544"/>
                <a:gd name="connsiteX41" fmla="*/ 3460310 w 10575647"/>
                <a:gd name="connsiteY41" fmla="*/ 545331 h 1701544"/>
                <a:gd name="connsiteX42" fmla="*/ 3460310 w 10575647"/>
                <a:gd name="connsiteY42" fmla="*/ 359885 h 1701544"/>
                <a:gd name="connsiteX43" fmla="*/ 3406830 w 10575647"/>
                <a:gd name="connsiteY43" fmla="*/ 359885 h 1701544"/>
                <a:gd name="connsiteX44" fmla="*/ 3231965 w 10575647"/>
                <a:gd name="connsiteY44" fmla="*/ 415877 h 1701544"/>
                <a:gd name="connsiteX45" fmla="*/ 3187194 w 10575647"/>
                <a:gd name="connsiteY45" fmla="*/ 462091 h 1701544"/>
                <a:gd name="connsiteX46" fmla="*/ 3187194 w 10575647"/>
                <a:gd name="connsiteY46" fmla="*/ 380187 h 1701544"/>
                <a:gd name="connsiteX47" fmla="*/ 3006395 w 10575647"/>
                <a:gd name="connsiteY47" fmla="*/ 380187 h 1701544"/>
                <a:gd name="connsiteX48" fmla="*/ 3006395 w 10575647"/>
                <a:gd name="connsiteY48" fmla="*/ 1271563 h 1701544"/>
                <a:gd name="connsiteX49" fmla="*/ 3187194 w 10575647"/>
                <a:gd name="connsiteY49" fmla="*/ 1271563 h 1701544"/>
                <a:gd name="connsiteX50" fmla="*/ 3187194 w 10575647"/>
                <a:gd name="connsiteY50" fmla="*/ 819411 h 1701544"/>
                <a:gd name="connsiteX51" fmla="*/ 3233517 w 10575647"/>
                <a:gd name="connsiteY51" fmla="*/ 629638 h 1701544"/>
                <a:gd name="connsiteX52" fmla="*/ 3401277 w 10575647"/>
                <a:gd name="connsiteY52" fmla="*/ 540683 h 1701544"/>
                <a:gd name="connsiteX53" fmla="*/ 3437445 w 10575647"/>
                <a:gd name="connsiteY53" fmla="*/ 542393 h 1701544"/>
                <a:gd name="connsiteX54" fmla="*/ 4250980 w 10575647"/>
                <a:gd name="connsiteY54" fmla="*/ 826838 h 1701544"/>
                <a:gd name="connsiteX55" fmla="*/ 3983364 w 10575647"/>
                <a:gd name="connsiteY55" fmla="*/ 1122077 h 1701544"/>
                <a:gd name="connsiteX56" fmla="*/ 3713875 w 10575647"/>
                <a:gd name="connsiteY56" fmla="*/ 826838 h 1701544"/>
                <a:gd name="connsiteX57" fmla="*/ 3985180 w 10575647"/>
                <a:gd name="connsiteY57" fmla="*/ 529677 h 1701544"/>
                <a:gd name="connsiteX58" fmla="*/ 4250980 w 10575647"/>
                <a:gd name="connsiteY58" fmla="*/ 826838 h 1701544"/>
                <a:gd name="connsiteX59" fmla="*/ 4435464 w 10575647"/>
                <a:gd name="connsiteY59" fmla="*/ 828654 h 1701544"/>
                <a:gd name="connsiteX60" fmla="*/ 3985180 w 10575647"/>
                <a:gd name="connsiteY60" fmla="*/ 359885 h 1701544"/>
                <a:gd name="connsiteX61" fmla="*/ 3529338 w 10575647"/>
                <a:gd name="connsiteY61" fmla="*/ 824916 h 1701544"/>
                <a:gd name="connsiteX62" fmla="*/ 3979622 w 10575647"/>
                <a:gd name="connsiteY62" fmla="*/ 1291865 h 1701544"/>
                <a:gd name="connsiteX63" fmla="*/ 4435464 w 10575647"/>
                <a:gd name="connsiteY63" fmla="*/ 828654 h 1701544"/>
                <a:gd name="connsiteX64" fmla="*/ 5261608 w 10575647"/>
                <a:gd name="connsiteY64" fmla="*/ 828654 h 1701544"/>
                <a:gd name="connsiteX65" fmla="*/ 5205508 w 10575647"/>
                <a:gd name="connsiteY65" fmla="*/ 1025854 h 1701544"/>
                <a:gd name="connsiteX66" fmla="*/ 5005052 w 10575647"/>
                <a:gd name="connsiteY66" fmla="*/ 1122077 h 1701544"/>
                <a:gd name="connsiteX67" fmla="*/ 4746675 w 10575647"/>
                <a:gd name="connsiteY67" fmla="*/ 823153 h 1701544"/>
                <a:gd name="connsiteX68" fmla="*/ 5008683 w 10575647"/>
                <a:gd name="connsiteY68" fmla="*/ 529677 h 1701544"/>
                <a:gd name="connsiteX69" fmla="*/ 5200378 w 10575647"/>
                <a:gd name="connsiteY69" fmla="*/ 617081 h 1701544"/>
                <a:gd name="connsiteX70" fmla="*/ 5261608 w 10575647"/>
                <a:gd name="connsiteY70" fmla="*/ 828654 h 1701544"/>
                <a:gd name="connsiteX71" fmla="*/ 5327264 w 10575647"/>
                <a:gd name="connsiteY71" fmla="*/ 1583314 h 1701544"/>
                <a:gd name="connsiteX72" fmla="*/ 5446113 w 10575647"/>
                <a:gd name="connsiteY72" fmla="*/ 1256819 h 1701544"/>
                <a:gd name="connsiteX73" fmla="*/ 5446113 w 10575647"/>
                <a:gd name="connsiteY73" fmla="*/ 380187 h 1701544"/>
                <a:gd name="connsiteX74" fmla="*/ 5265239 w 10575647"/>
                <a:gd name="connsiteY74" fmla="*/ 380187 h 1701544"/>
                <a:gd name="connsiteX75" fmla="*/ 5265239 w 10575647"/>
                <a:gd name="connsiteY75" fmla="*/ 488537 h 1701544"/>
                <a:gd name="connsiteX76" fmla="*/ 4982875 w 10575647"/>
                <a:gd name="connsiteY76" fmla="*/ 359885 h 1701544"/>
                <a:gd name="connsiteX77" fmla="*/ 4699394 w 10575647"/>
                <a:gd name="connsiteY77" fmla="*/ 465190 h 1701544"/>
                <a:gd name="connsiteX78" fmla="*/ 4558400 w 10575647"/>
                <a:gd name="connsiteY78" fmla="*/ 828654 h 1701544"/>
                <a:gd name="connsiteX79" fmla="*/ 4971816 w 10575647"/>
                <a:gd name="connsiteY79" fmla="*/ 1291865 h 1701544"/>
                <a:gd name="connsiteX80" fmla="*/ 5265239 w 10575647"/>
                <a:gd name="connsiteY80" fmla="*/ 1150553 h 1701544"/>
                <a:gd name="connsiteX81" fmla="*/ 5265239 w 10575647"/>
                <a:gd name="connsiteY81" fmla="*/ 1267931 h 1701544"/>
                <a:gd name="connsiteX82" fmla="*/ 5206095 w 10575647"/>
                <a:gd name="connsiteY82" fmla="*/ 1457116 h 1701544"/>
                <a:gd name="connsiteX83" fmla="*/ 4999546 w 10575647"/>
                <a:gd name="connsiteY83" fmla="*/ 1533625 h 1701544"/>
                <a:gd name="connsiteX84" fmla="*/ 4811695 w 10575647"/>
                <a:gd name="connsiteY84" fmla="*/ 1487409 h 1701544"/>
                <a:gd name="connsiteX85" fmla="*/ 4733588 w 10575647"/>
                <a:gd name="connsiteY85" fmla="*/ 1416300 h 1701544"/>
                <a:gd name="connsiteX86" fmla="*/ 4719215 w 10575647"/>
                <a:gd name="connsiteY86" fmla="*/ 1401339 h 1701544"/>
                <a:gd name="connsiteX87" fmla="*/ 4595103 w 10575647"/>
                <a:gd name="connsiteY87" fmla="*/ 1525451 h 1701544"/>
                <a:gd name="connsiteX88" fmla="*/ 4607819 w 10575647"/>
                <a:gd name="connsiteY88" fmla="*/ 1539824 h 1701544"/>
                <a:gd name="connsiteX89" fmla="*/ 4999546 w 10575647"/>
                <a:gd name="connsiteY89" fmla="*/ 1701544 h 1701544"/>
                <a:gd name="connsiteX90" fmla="*/ 5327264 w 10575647"/>
                <a:gd name="connsiteY90" fmla="*/ 1583314 h 1701544"/>
                <a:gd name="connsiteX91" fmla="*/ 6317923 w 10575647"/>
                <a:gd name="connsiteY91" fmla="*/ 747497 h 1701544"/>
                <a:gd name="connsiteX92" fmla="*/ 5805203 w 10575647"/>
                <a:gd name="connsiteY92" fmla="*/ 747497 h 1701544"/>
                <a:gd name="connsiteX93" fmla="*/ 5845913 w 10575647"/>
                <a:gd name="connsiteY93" fmla="*/ 635144 h 1701544"/>
                <a:gd name="connsiteX94" fmla="*/ 6057989 w 10575647"/>
                <a:gd name="connsiteY94" fmla="*/ 525990 h 1701544"/>
                <a:gd name="connsiteX95" fmla="*/ 6275730 w 10575647"/>
                <a:gd name="connsiteY95" fmla="*/ 633487 h 1701544"/>
                <a:gd name="connsiteX96" fmla="*/ 6317923 w 10575647"/>
                <a:gd name="connsiteY96" fmla="*/ 747497 h 1701544"/>
                <a:gd name="connsiteX97" fmla="*/ 6508188 w 10575647"/>
                <a:gd name="connsiteY97" fmla="*/ 872890 h 1701544"/>
                <a:gd name="connsiteX98" fmla="*/ 6510094 w 10575647"/>
                <a:gd name="connsiteY98" fmla="*/ 815779 h 1701544"/>
                <a:gd name="connsiteX99" fmla="*/ 6057989 w 10575647"/>
                <a:gd name="connsiteY99" fmla="*/ 359885 h 1701544"/>
                <a:gd name="connsiteX100" fmla="*/ 5609538 w 10575647"/>
                <a:gd name="connsiteY100" fmla="*/ 828654 h 1701544"/>
                <a:gd name="connsiteX101" fmla="*/ 6063495 w 10575647"/>
                <a:gd name="connsiteY101" fmla="*/ 1291865 h 1701544"/>
                <a:gd name="connsiteX102" fmla="*/ 6460066 w 10575647"/>
                <a:gd name="connsiteY102" fmla="*/ 1051710 h 1701544"/>
                <a:gd name="connsiteX103" fmla="*/ 6469966 w 10575647"/>
                <a:gd name="connsiteY103" fmla="*/ 1031572 h 1701544"/>
                <a:gd name="connsiteX104" fmla="*/ 6308923 w 10575647"/>
                <a:gd name="connsiteY104" fmla="*/ 971517 h 1701544"/>
                <a:gd name="connsiteX105" fmla="*/ 6300559 w 10575647"/>
                <a:gd name="connsiteY105" fmla="*/ 986689 h 1701544"/>
                <a:gd name="connsiteX106" fmla="*/ 6063495 w 10575647"/>
                <a:gd name="connsiteY106" fmla="*/ 1122077 h 1701544"/>
                <a:gd name="connsiteX107" fmla="*/ 5850784 w 10575647"/>
                <a:gd name="connsiteY107" fmla="*/ 1013832 h 1701544"/>
                <a:gd name="connsiteX108" fmla="*/ 5802132 w 10575647"/>
                <a:gd name="connsiteY108" fmla="*/ 891377 h 1701544"/>
                <a:gd name="connsiteX109" fmla="*/ 6506547 w 10575647"/>
                <a:gd name="connsiteY109" fmla="*/ 891377 h 1701544"/>
                <a:gd name="connsiteX110" fmla="*/ 6508188 w 10575647"/>
                <a:gd name="connsiteY110" fmla="*/ 872890 h 1701544"/>
                <a:gd name="connsiteX111" fmla="*/ 7205139 w 10575647"/>
                <a:gd name="connsiteY111" fmla="*/ 1271563 h 1701544"/>
                <a:gd name="connsiteX112" fmla="*/ 7385928 w 10575647"/>
                <a:gd name="connsiteY112" fmla="*/ 1271563 h 1701544"/>
                <a:gd name="connsiteX113" fmla="*/ 7385928 w 10575647"/>
                <a:gd name="connsiteY113" fmla="*/ 677294 h 1701544"/>
                <a:gd name="connsiteX114" fmla="*/ 7307154 w 10575647"/>
                <a:gd name="connsiteY114" fmla="*/ 435163 h 1701544"/>
                <a:gd name="connsiteX115" fmla="*/ 7096189 w 10575647"/>
                <a:gd name="connsiteY115" fmla="*/ 359885 h 1701544"/>
                <a:gd name="connsiteX116" fmla="*/ 6863625 w 10575647"/>
                <a:gd name="connsiteY116" fmla="*/ 463694 h 1701544"/>
                <a:gd name="connsiteX117" fmla="*/ 6863625 w 10575647"/>
                <a:gd name="connsiteY117" fmla="*/ 380187 h 1701544"/>
                <a:gd name="connsiteX118" fmla="*/ 6682836 w 10575647"/>
                <a:gd name="connsiteY118" fmla="*/ 380187 h 1701544"/>
                <a:gd name="connsiteX119" fmla="*/ 6682836 w 10575647"/>
                <a:gd name="connsiteY119" fmla="*/ 1271563 h 1701544"/>
                <a:gd name="connsiteX120" fmla="*/ 6863625 w 10575647"/>
                <a:gd name="connsiteY120" fmla="*/ 1271563 h 1701544"/>
                <a:gd name="connsiteX121" fmla="*/ 6863625 w 10575647"/>
                <a:gd name="connsiteY121" fmla="*/ 732701 h 1701544"/>
                <a:gd name="connsiteX122" fmla="*/ 6913971 w 10575647"/>
                <a:gd name="connsiteY122" fmla="*/ 591066 h 1701544"/>
                <a:gd name="connsiteX123" fmla="*/ 7061143 w 10575647"/>
                <a:gd name="connsiteY123" fmla="*/ 525990 h 1701544"/>
                <a:gd name="connsiteX124" fmla="*/ 7177769 w 10575647"/>
                <a:gd name="connsiteY124" fmla="*/ 575089 h 1701544"/>
                <a:gd name="connsiteX125" fmla="*/ 7205139 w 10575647"/>
                <a:gd name="connsiteY125" fmla="*/ 708709 h 1701544"/>
                <a:gd name="connsiteX126" fmla="*/ 7205139 w 10575647"/>
                <a:gd name="connsiteY126" fmla="*/ 1271563 h 1701544"/>
                <a:gd name="connsiteX127" fmla="*/ 7822309 w 10575647"/>
                <a:gd name="connsiteY127" fmla="*/ 162418 h 1701544"/>
                <a:gd name="connsiteX128" fmla="*/ 7713412 w 10575647"/>
                <a:gd name="connsiteY128" fmla="*/ 49847 h 1701544"/>
                <a:gd name="connsiteX129" fmla="*/ 7602662 w 10575647"/>
                <a:gd name="connsiteY129" fmla="*/ 160549 h 1701544"/>
                <a:gd name="connsiteX130" fmla="*/ 7711560 w 10575647"/>
                <a:gd name="connsiteY130" fmla="*/ 271303 h 1701544"/>
                <a:gd name="connsiteX131" fmla="*/ 7822309 w 10575647"/>
                <a:gd name="connsiteY131" fmla="*/ 162418 h 1701544"/>
                <a:gd name="connsiteX132" fmla="*/ 8704760 w 10575647"/>
                <a:gd name="connsiteY132" fmla="*/ 826838 h 1701544"/>
                <a:gd name="connsiteX133" fmla="*/ 8437150 w 10575647"/>
                <a:gd name="connsiteY133" fmla="*/ 1122077 h 1701544"/>
                <a:gd name="connsiteX134" fmla="*/ 8167740 w 10575647"/>
                <a:gd name="connsiteY134" fmla="*/ 826838 h 1701544"/>
                <a:gd name="connsiteX135" fmla="*/ 8439003 w 10575647"/>
                <a:gd name="connsiteY135" fmla="*/ 529677 h 1701544"/>
                <a:gd name="connsiteX136" fmla="*/ 8704760 w 10575647"/>
                <a:gd name="connsiteY136" fmla="*/ 826838 h 1701544"/>
                <a:gd name="connsiteX137" fmla="*/ 8889307 w 10575647"/>
                <a:gd name="connsiteY137" fmla="*/ 828654 h 1701544"/>
                <a:gd name="connsiteX138" fmla="*/ 8439003 w 10575647"/>
                <a:gd name="connsiteY138" fmla="*/ 359885 h 1701544"/>
                <a:gd name="connsiteX139" fmla="*/ 7983193 w 10575647"/>
                <a:gd name="connsiteY139" fmla="*/ 824916 h 1701544"/>
                <a:gd name="connsiteX140" fmla="*/ 8433444 w 10575647"/>
                <a:gd name="connsiteY140" fmla="*/ 1291865 h 1701544"/>
                <a:gd name="connsiteX141" fmla="*/ 8889307 w 10575647"/>
                <a:gd name="connsiteY141" fmla="*/ 828654 h 1701544"/>
                <a:gd name="connsiteX142" fmla="*/ 9658150 w 10575647"/>
                <a:gd name="connsiteY142" fmla="*/ 1197940 h 1701544"/>
                <a:gd name="connsiteX143" fmla="*/ 9749630 w 10575647"/>
                <a:gd name="connsiteY143" fmla="*/ 944968 h 1701544"/>
                <a:gd name="connsiteX144" fmla="*/ 9749630 w 10575647"/>
                <a:gd name="connsiteY144" fmla="*/ 380187 h 1701544"/>
                <a:gd name="connsiteX145" fmla="*/ 9566988 w 10575647"/>
                <a:gd name="connsiteY145" fmla="*/ 380187 h 1701544"/>
                <a:gd name="connsiteX146" fmla="*/ 9566988 w 10575647"/>
                <a:gd name="connsiteY146" fmla="*/ 944968 h 1701544"/>
                <a:gd name="connsiteX147" fmla="*/ 9535012 w 10575647"/>
                <a:gd name="connsiteY147" fmla="*/ 1068222 h 1701544"/>
                <a:gd name="connsiteX148" fmla="*/ 9399010 w 10575647"/>
                <a:gd name="connsiteY148" fmla="*/ 1125815 h 1701544"/>
                <a:gd name="connsiteX149" fmla="*/ 9229233 w 10575647"/>
                <a:gd name="connsiteY149" fmla="*/ 941225 h 1701544"/>
                <a:gd name="connsiteX150" fmla="*/ 9229233 w 10575647"/>
                <a:gd name="connsiteY150" fmla="*/ 380187 h 1701544"/>
                <a:gd name="connsiteX151" fmla="*/ 9048391 w 10575647"/>
                <a:gd name="connsiteY151" fmla="*/ 380187 h 1701544"/>
                <a:gd name="connsiteX152" fmla="*/ 9048391 w 10575647"/>
                <a:gd name="connsiteY152" fmla="*/ 944968 h 1701544"/>
                <a:gd name="connsiteX153" fmla="*/ 9139659 w 10575647"/>
                <a:gd name="connsiteY153" fmla="*/ 1195965 h 1701544"/>
                <a:gd name="connsiteX154" fmla="*/ 9399010 w 10575647"/>
                <a:gd name="connsiteY154" fmla="*/ 1291865 h 1701544"/>
                <a:gd name="connsiteX155" fmla="*/ 9658150 w 10575647"/>
                <a:gd name="connsiteY155" fmla="*/ 1197945 h 1701544"/>
                <a:gd name="connsiteX156" fmla="*/ 10385594 w 10575647"/>
                <a:gd name="connsiteY156" fmla="*/ 653307 h 1701544"/>
                <a:gd name="connsiteX157" fmla="*/ 10567335 w 10575647"/>
                <a:gd name="connsiteY157" fmla="*/ 653307 h 1701544"/>
                <a:gd name="connsiteX158" fmla="*/ 10566383 w 10575647"/>
                <a:gd name="connsiteY158" fmla="*/ 632041 h 1701544"/>
                <a:gd name="connsiteX159" fmla="*/ 10249009 w 10575647"/>
                <a:gd name="connsiteY159" fmla="*/ 359885 h 1701544"/>
                <a:gd name="connsiteX160" fmla="*/ 9929730 w 10575647"/>
                <a:gd name="connsiteY160" fmla="*/ 627446 h 1701544"/>
                <a:gd name="connsiteX161" fmla="*/ 10212587 w 10575647"/>
                <a:gd name="connsiteY161" fmla="*/ 903611 h 1701544"/>
                <a:gd name="connsiteX162" fmla="*/ 10391099 w 10575647"/>
                <a:gd name="connsiteY162" fmla="*/ 1031625 h 1701544"/>
                <a:gd name="connsiteX163" fmla="*/ 10252715 w 10575647"/>
                <a:gd name="connsiteY163" fmla="*/ 1136874 h 1701544"/>
                <a:gd name="connsiteX164" fmla="*/ 10093843 w 10575647"/>
                <a:gd name="connsiteY164" fmla="*/ 1007579 h 1701544"/>
                <a:gd name="connsiteX165" fmla="*/ 10092096 w 10575647"/>
                <a:gd name="connsiteY165" fmla="*/ 989257 h 1701544"/>
                <a:gd name="connsiteX166" fmla="*/ 9913054 w 10575647"/>
                <a:gd name="connsiteY166" fmla="*/ 989257 h 1701544"/>
                <a:gd name="connsiteX167" fmla="*/ 9915066 w 10575647"/>
                <a:gd name="connsiteY167" fmla="*/ 1011216 h 1701544"/>
                <a:gd name="connsiteX168" fmla="*/ 10252715 w 10575647"/>
                <a:gd name="connsiteY168" fmla="*/ 1291865 h 1701544"/>
                <a:gd name="connsiteX169" fmla="*/ 10575647 w 10575647"/>
                <a:gd name="connsiteY169" fmla="*/ 1024303 h 1701544"/>
                <a:gd name="connsiteX170" fmla="*/ 10501426 w 10575647"/>
                <a:gd name="connsiteY170" fmla="*/ 843879 h 1701544"/>
                <a:gd name="connsiteX171" fmla="*/ 10285750 w 10575647"/>
                <a:gd name="connsiteY171" fmla="*/ 740769 h 1701544"/>
                <a:gd name="connsiteX172" fmla="*/ 10110519 w 10575647"/>
                <a:gd name="connsiteY172" fmla="*/ 616440 h 1701544"/>
                <a:gd name="connsiteX173" fmla="*/ 10243398 w 10575647"/>
                <a:gd name="connsiteY173" fmla="*/ 514877 h 1701544"/>
                <a:gd name="connsiteX174" fmla="*/ 10385594 w 10575647"/>
                <a:gd name="connsiteY174" fmla="*/ 623762 h 1701544"/>
                <a:gd name="connsiteX175" fmla="*/ 10385594 w 10575647"/>
                <a:gd name="connsiteY175" fmla="*/ 653307 h 170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10575647" h="1701544">
                  <a:moveTo>
                    <a:pt x="7802033" y="380187"/>
                  </a:moveTo>
                  <a:lnTo>
                    <a:pt x="7621138" y="380187"/>
                  </a:lnTo>
                  <a:lnTo>
                    <a:pt x="7621138" y="1271563"/>
                  </a:lnTo>
                  <a:lnTo>
                    <a:pt x="7802033" y="1271563"/>
                  </a:lnTo>
                  <a:lnTo>
                    <a:pt x="7802033" y="380187"/>
                  </a:lnTo>
                  <a:close/>
                  <a:moveTo>
                    <a:pt x="706522" y="1271563"/>
                  </a:moveTo>
                  <a:lnTo>
                    <a:pt x="902065" y="1271563"/>
                  </a:lnTo>
                  <a:lnTo>
                    <a:pt x="902065" y="0"/>
                  </a:lnTo>
                  <a:lnTo>
                    <a:pt x="706522" y="0"/>
                  </a:lnTo>
                  <a:lnTo>
                    <a:pt x="706522" y="553717"/>
                  </a:lnTo>
                  <a:lnTo>
                    <a:pt x="195543" y="553717"/>
                  </a:lnTo>
                  <a:lnTo>
                    <a:pt x="195543" y="0"/>
                  </a:lnTo>
                  <a:lnTo>
                    <a:pt x="0" y="0"/>
                  </a:lnTo>
                  <a:lnTo>
                    <a:pt x="0" y="1271563"/>
                  </a:lnTo>
                  <a:lnTo>
                    <a:pt x="195543" y="1271563"/>
                  </a:lnTo>
                  <a:lnTo>
                    <a:pt x="195543" y="727142"/>
                  </a:lnTo>
                  <a:lnTo>
                    <a:pt x="706522" y="727142"/>
                  </a:lnTo>
                  <a:lnTo>
                    <a:pt x="706522" y="1271563"/>
                  </a:lnTo>
                  <a:close/>
                  <a:moveTo>
                    <a:pt x="1306185" y="1690649"/>
                  </a:moveTo>
                  <a:lnTo>
                    <a:pt x="1654904" y="1036061"/>
                  </a:lnTo>
                  <a:lnTo>
                    <a:pt x="1306185" y="381469"/>
                  </a:lnTo>
                  <a:lnTo>
                    <a:pt x="1090234" y="381469"/>
                  </a:lnTo>
                  <a:lnTo>
                    <a:pt x="1438900" y="1036061"/>
                  </a:lnTo>
                  <a:lnTo>
                    <a:pt x="1090234" y="1690649"/>
                  </a:lnTo>
                  <a:lnTo>
                    <a:pt x="1306185" y="1690649"/>
                  </a:lnTo>
                  <a:close/>
                  <a:moveTo>
                    <a:pt x="2581808" y="828654"/>
                  </a:moveTo>
                  <a:cubicBezTo>
                    <a:pt x="2581808" y="1002989"/>
                    <a:pt x="2470789" y="1129505"/>
                    <a:pt x="2317883" y="1129505"/>
                  </a:cubicBezTo>
                  <a:cubicBezTo>
                    <a:pt x="2168980" y="1129505"/>
                    <a:pt x="2065011" y="1007262"/>
                    <a:pt x="2065011" y="832338"/>
                  </a:cubicBezTo>
                  <a:cubicBezTo>
                    <a:pt x="2065011" y="649088"/>
                    <a:pt x="2170314" y="525990"/>
                    <a:pt x="2327068" y="525990"/>
                  </a:cubicBezTo>
                  <a:cubicBezTo>
                    <a:pt x="2479444" y="525990"/>
                    <a:pt x="2581808" y="647590"/>
                    <a:pt x="2581808" y="828654"/>
                  </a:cubicBezTo>
                  <a:moveTo>
                    <a:pt x="2581808" y="1271563"/>
                  </a:moveTo>
                  <a:lnTo>
                    <a:pt x="2762608" y="1271563"/>
                  </a:lnTo>
                  <a:lnTo>
                    <a:pt x="2762608" y="0"/>
                  </a:lnTo>
                  <a:lnTo>
                    <a:pt x="2581808" y="0"/>
                  </a:lnTo>
                  <a:lnTo>
                    <a:pt x="2581808" y="476356"/>
                  </a:lnTo>
                  <a:cubicBezTo>
                    <a:pt x="2503431" y="397017"/>
                    <a:pt x="2412449" y="359885"/>
                    <a:pt x="2297581" y="359885"/>
                  </a:cubicBezTo>
                  <a:cubicBezTo>
                    <a:pt x="2057690" y="359885"/>
                    <a:pt x="1876785" y="562214"/>
                    <a:pt x="1876785" y="830470"/>
                  </a:cubicBezTo>
                  <a:cubicBezTo>
                    <a:pt x="1876785" y="1102145"/>
                    <a:pt x="2049839" y="1291865"/>
                    <a:pt x="2297581" y="1291865"/>
                  </a:cubicBezTo>
                  <a:cubicBezTo>
                    <a:pt x="2414371" y="1291865"/>
                    <a:pt x="2503061" y="1251959"/>
                    <a:pt x="2581808" y="1163217"/>
                  </a:cubicBezTo>
                  <a:lnTo>
                    <a:pt x="2581808" y="1271563"/>
                  </a:lnTo>
                  <a:close/>
                  <a:moveTo>
                    <a:pt x="3437445" y="542393"/>
                  </a:moveTo>
                  <a:lnTo>
                    <a:pt x="3460310" y="545331"/>
                  </a:lnTo>
                  <a:lnTo>
                    <a:pt x="3460310" y="359885"/>
                  </a:lnTo>
                  <a:lnTo>
                    <a:pt x="3406830" y="359885"/>
                  </a:lnTo>
                  <a:cubicBezTo>
                    <a:pt x="3341169" y="359885"/>
                    <a:pt x="3277430" y="380294"/>
                    <a:pt x="3231965" y="415877"/>
                  </a:cubicBezTo>
                  <a:cubicBezTo>
                    <a:pt x="3213690" y="430035"/>
                    <a:pt x="3199693" y="444353"/>
                    <a:pt x="3187194" y="462091"/>
                  </a:cubicBezTo>
                  <a:lnTo>
                    <a:pt x="3187194" y="380187"/>
                  </a:lnTo>
                  <a:lnTo>
                    <a:pt x="3006395" y="380187"/>
                  </a:lnTo>
                  <a:lnTo>
                    <a:pt x="3006395" y="1271563"/>
                  </a:lnTo>
                  <a:lnTo>
                    <a:pt x="3187194" y="1271563"/>
                  </a:lnTo>
                  <a:lnTo>
                    <a:pt x="3187194" y="819411"/>
                  </a:lnTo>
                  <a:cubicBezTo>
                    <a:pt x="3187194" y="727783"/>
                    <a:pt x="3198894" y="679915"/>
                    <a:pt x="3233517" y="629638"/>
                  </a:cubicBezTo>
                  <a:cubicBezTo>
                    <a:pt x="3272300" y="572310"/>
                    <a:pt x="3331926" y="540683"/>
                    <a:pt x="3401277" y="540683"/>
                  </a:cubicBezTo>
                  <a:cubicBezTo>
                    <a:pt x="3410356" y="540683"/>
                    <a:pt x="3423983" y="540683"/>
                    <a:pt x="3437445" y="542393"/>
                  </a:cubicBezTo>
                  <a:moveTo>
                    <a:pt x="4250980" y="826838"/>
                  </a:moveTo>
                  <a:cubicBezTo>
                    <a:pt x="4250980" y="1000692"/>
                    <a:pt x="4140918" y="1122077"/>
                    <a:pt x="3983364" y="1122077"/>
                  </a:cubicBezTo>
                  <a:cubicBezTo>
                    <a:pt x="3822174" y="1122077"/>
                    <a:pt x="3713875" y="1003466"/>
                    <a:pt x="3713875" y="826838"/>
                  </a:cubicBezTo>
                  <a:cubicBezTo>
                    <a:pt x="3713875" y="649088"/>
                    <a:pt x="3822920" y="529677"/>
                    <a:pt x="3985180" y="529677"/>
                  </a:cubicBezTo>
                  <a:cubicBezTo>
                    <a:pt x="4144179" y="529677"/>
                    <a:pt x="4250980" y="649088"/>
                    <a:pt x="4250980" y="826838"/>
                  </a:cubicBezTo>
                  <a:moveTo>
                    <a:pt x="4435464" y="828654"/>
                  </a:moveTo>
                  <a:cubicBezTo>
                    <a:pt x="4435464" y="557084"/>
                    <a:pt x="4246120" y="359885"/>
                    <a:pt x="3985180" y="359885"/>
                  </a:cubicBezTo>
                  <a:cubicBezTo>
                    <a:pt x="3716818" y="359885"/>
                    <a:pt x="3529338" y="551155"/>
                    <a:pt x="3529338" y="824916"/>
                  </a:cubicBezTo>
                  <a:cubicBezTo>
                    <a:pt x="3529338" y="1099848"/>
                    <a:pt x="3714521" y="1291865"/>
                    <a:pt x="3979622" y="1291865"/>
                  </a:cubicBezTo>
                  <a:cubicBezTo>
                    <a:pt x="4235272" y="1291865"/>
                    <a:pt x="4435464" y="1088418"/>
                    <a:pt x="4435464" y="828654"/>
                  </a:cubicBezTo>
                  <a:moveTo>
                    <a:pt x="5261608" y="828654"/>
                  </a:moveTo>
                  <a:cubicBezTo>
                    <a:pt x="5261608" y="909382"/>
                    <a:pt x="5239596" y="986748"/>
                    <a:pt x="5205508" y="1025854"/>
                  </a:cubicBezTo>
                  <a:cubicBezTo>
                    <a:pt x="5153150" y="1087026"/>
                    <a:pt x="5080062" y="1122077"/>
                    <a:pt x="5005052" y="1122077"/>
                  </a:cubicBezTo>
                  <a:cubicBezTo>
                    <a:pt x="4855296" y="1122077"/>
                    <a:pt x="4746675" y="996361"/>
                    <a:pt x="4746675" y="823153"/>
                  </a:cubicBezTo>
                  <a:cubicBezTo>
                    <a:pt x="4746675" y="650316"/>
                    <a:pt x="4854386" y="529677"/>
                    <a:pt x="5008683" y="529677"/>
                  </a:cubicBezTo>
                  <a:cubicBezTo>
                    <a:pt x="5078193" y="529677"/>
                    <a:pt x="5151652" y="563177"/>
                    <a:pt x="5200378" y="617081"/>
                  </a:cubicBezTo>
                  <a:cubicBezTo>
                    <a:pt x="5246112" y="667892"/>
                    <a:pt x="5261608" y="721266"/>
                    <a:pt x="5261608" y="828654"/>
                  </a:cubicBezTo>
                  <a:moveTo>
                    <a:pt x="5327264" y="1583314"/>
                  </a:moveTo>
                  <a:cubicBezTo>
                    <a:pt x="5409426" y="1504990"/>
                    <a:pt x="5446113" y="1404277"/>
                    <a:pt x="5446113" y="1256819"/>
                  </a:cubicBezTo>
                  <a:lnTo>
                    <a:pt x="5446113" y="380187"/>
                  </a:lnTo>
                  <a:lnTo>
                    <a:pt x="5265239" y="380187"/>
                  </a:lnTo>
                  <a:lnTo>
                    <a:pt x="5265239" y="488537"/>
                  </a:lnTo>
                  <a:cubicBezTo>
                    <a:pt x="5186005" y="398673"/>
                    <a:pt x="5100153" y="359885"/>
                    <a:pt x="4982875" y="359885"/>
                  </a:cubicBezTo>
                  <a:cubicBezTo>
                    <a:pt x="4866567" y="359885"/>
                    <a:pt x="4771201" y="395361"/>
                    <a:pt x="4699394" y="465190"/>
                  </a:cubicBezTo>
                  <a:cubicBezTo>
                    <a:pt x="4611080" y="549710"/>
                    <a:pt x="4558400" y="685574"/>
                    <a:pt x="4558400" y="828654"/>
                  </a:cubicBezTo>
                  <a:cubicBezTo>
                    <a:pt x="4558400" y="1092743"/>
                    <a:pt x="4736097" y="1291865"/>
                    <a:pt x="4971816" y="1291865"/>
                  </a:cubicBezTo>
                  <a:cubicBezTo>
                    <a:pt x="5092032" y="1291865"/>
                    <a:pt x="5185952" y="1246830"/>
                    <a:pt x="5265239" y="1150553"/>
                  </a:cubicBezTo>
                  <a:lnTo>
                    <a:pt x="5265239" y="1267931"/>
                  </a:lnTo>
                  <a:cubicBezTo>
                    <a:pt x="5265239" y="1350745"/>
                    <a:pt x="5245313" y="1414431"/>
                    <a:pt x="5206095" y="1457116"/>
                  </a:cubicBezTo>
                  <a:cubicBezTo>
                    <a:pt x="5162288" y="1504291"/>
                    <a:pt x="5083159" y="1533625"/>
                    <a:pt x="4999546" y="1533625"/>
                  </a:cubicBezTo>
                  <a:cubicBezTo>
                    <a:pt x="4932122" y="1533625"/>
                    <a:pt x="4856471" y="1514979"/>
                    <a:pt x="4811695" y="1487409"/>
                  </a:cubicBezTo>
                  <a:cubicBezTo>
                    <a:pt x="4788777" y="1471596"/>
                    <a:pt x="4771254" y="1455624"/>
                    <a:pt x="4733588" y="1416300"/>
                  </a:cubicBezTo>
                  <a:lnTo>
                    <a:pt x="4719215" y="1401339"/>
                  </a:lnTo>
                  <a:lnTo>
                    <a:pt x="4595103" y="1525451"/>
                  </a:lnTo>
                  <a:lnTo>
                    <a:pt x="4607819" y="1539824"/>
                  </a:lnTo>
                  <a:cubicBezTo>
                    <a:pt x="4703719" y="1647106"/>
                    <a:pt x="4835528" y="1701544"/>
                    <a:pt x="4999546" y="1701544"/>
                  </a:cubicBezTo>
                  <a:cubicBezTo>
                    <a:pt x="5134664" y="1701544"/>
                    <a:pt x="5247981" y="1660675"/>
                    <a:pt x="5327264" y="1583314"/>
                  </a:cubicBezTo>
                  <a:moveTo>
                    <a:pt x="6317923" y="747497"/>
                  </a:moveTo>
                  <a:lnTo>
                    <a:pt x="5805203" y="747497"/>
                  </a:lnTo>
                  <a:cubicBezTo>
                    <a:pt x="5814785" y="696051"/>
                    <a:pt x="5825267" y="667627"/>
                    <a:pt x="5845913" y="635144"/>
                  </a:cubicBezTo>
                  <a:cubicBezTo>
                    <a:pt x="5892024" y="566756"/>
                    <a:pt x="5971327" y="525990"/>
                    <a:pt x="6057989" y="525990"/>
                  </a:cubicBezTo>
                  <a:cubicBezTo>
                    <a:pt x="6144228" y="525990"/>
                    <a:pt x="6225702" y="566274"/>
                    <a:pt x="6275730" y="633487"/>
                  </a:cubicBezTo>
                  <a:cubicBezTo>
                    <a:pt x="6300453" y="669067"/>
                    <a:pt x="6312047" y="699841"/>
                    <a:pt x="6317923" y="747497"/>
                  </a:cubicBezTo>
                  <a:moveTo>
                    <a:pt x="6508188" y="872890"/>
                  </a:moveTo>
                  <a:cubicBezTo>
                    <a:pt x="6510094" y="851683"/>
                    <a:pt x="6510094" y="827426"/>
                    <a:pt x="6510094" y="815779"/>
                  </a:cubicBezTo>
                  <a:cubicBezTo>
                    <a:pt x="6510094" y="555909"/>
                    <a:pt x="6315700" y="359885"/>
                    <a:pt x="6057989" y="359885"/>
                  </a:cubicBezTo>
                  <a:cubicBezTo>
                    <a:pt x="5798109" y="359885"/>
                    <a:pt x="5609538" y="557084"/>
                    <a:pt x="5609538" y="828654"/>
                  </a:cubicBezTo>
                  <a:cubicBezTo>
                    <a:pt x="5609538" y="1097074"/>
                    <a:pt x="5800491" y="1291865"/>
                    <a:pt x="6063495" y="1291865"/>
                  </a:cubicBezTo>
                  <a:cubicBezTo>
                    <a:pt x="6235020" y="1291865"/>
                    <a:pt x="6386956" y="1199867"/>
                    <a:pt x="6460066" y="1051710"/>
                  </a:cubicBezTo>
                  <a:lnTo>
                    <a:pt x="6469966" y="1031572"/>
                  </a:lnTo>
                  <a:lnTo>
                    <a:pt x="6308923" y="971517"/>
                  </a:lnTo>
                  <a:lnTo>
                    <a:pt x="6300559" y="986689"/>
                  </a:lnTo>
                  <a:cubicBezTo>
                    <a:pt x="6254237" y="1068968"/>
                    <a:pt x="6161169" y="1122077"/>
                    <a:pt x="6063495" y="1122077"/>
                  </a:cubicBezTo>
                  <a:cubicBezTo>
                    <a:pt x="5977415" y="1122077"/>
                    <a:pt x="5901923" y="1083664"/>
                    <a:pt x="5850784" y="1013832"/>
                  </a:cubicBezTo>
                  <a:cubicBezTo>
                    <a:pt x="5821932" y="975900"/>
                    <a:pt x="5809438" y="945021"/>
                    <a:pt x="5802132" y="891377"/>
                  </a:cubicBezTo>
                  <a:lnTo>
                    <a:pt x="6506547" y="891377"/>
                  </a:lnTo>
                  <a:lnTo>
                    <a:pt x="6508188" y="872890"/>
                  </a:lnTo>
                  <a:close/>
                  <a:moveTo>
                    <a:pt x="7205139" y="1271563"/>
                  </a:moveTo>
                  <a:lnTo>
                    <a:pt x="7385928" y="1271563"/>
                  </a:lnTo>
                  <a:lnTo>
                    <a:pt x="7385928" y="677294"/>
                  </a:lnTo>
                  <a:cubicBezTo>
                    <a:pt x="7385928" y="554734"/>
                    <a:pt x="7365387" y="491422"/>
                    <a:pt x="7307154" y="435163"/>
                  </a:cubicBezTo>
                  <a:cubicBezTo>
                    <a:pt x="7252520" y="386599"/>
                    <a:pt x="7177557" y="359885"/>
                    <a:pt x="7096189" y="359885"/>
                  </a:cubicBezTo>
                  <a:cubicBezTo>
                    <a:pt x="7000739" y="359885"/>
                    <a:pt x="6929853" y="391193"/>
                    <a:pt x="6863625" y="463694"/>
                  </a:cubicBezTo>
                  <a:lnTo>
                    <a:pt x="6863625" y="380187"/>
                  </a:lnTo>
                  <a:lnTo>
                    <a:pt x="6682836" y="380187"/>
                  </a:lnTo>
                  <a:lnTo>
                    <a:pt x="6682836" y="1271563"/>
                  </a:lnTo>
                  <a:lnTo>
                    <a:pt x="6863625" y="1271563"/>
                  </a:lnTo>
                  <a:lnTo>
                    <a:pt x="6863625" y="732701"/>
                  </a:lnTo>
                  <a:cubicBezTo>
                    <a:pt x="6863625" y="667839"/>
                    <a:pt x="6876278" y="632147"/>
                    <a:pt x="6913971" y="591066"/>
                  </a:cubicBezTo>
                  <a:cubicBezTo>
                    <a:pt x="6951505" y="548481"/>
                    <a:pt x="7002433" y="525990"/>
                    <a:pt x="7061143" y="525990"/>
                  </a:cubicBezTo>
                  <a:cubicBezTo>
                    <a:pt x="7110748" y="525990"/>
                    <a:pt x="7155428" y="544744"/>
                    <a:pt x="7177769" y="575089"/>
                  </a:cubicBezTo>
                  <a:cubicBezTo>
                    <a:pt x="7197410" y="601215"/>
                    <a:pt x="7205139" y="638722"/>
                    <a:pt x="7205139" y="708709"/>
                  </a:cubicBezTo>
                  <a:lnTo>
                    <a:pt x="7205139" y="1271563"/>
                  </a:lnTo>
                  <a:close/>
                  <a:moveTo>
                    <a:pt x="7822309" y="162418"/>
                  </a:moveTo>
                  <a:cubicBezTo>
                    <a:pt x="7822309" y="99268"/>
                    <a:pt x="7774452" y="49847"/>
                    <a:pt x="7713412" y="49847"/>
                  </a:cubicBezTo>
                  <a:cubicBezTo>
                    <a:pt x="7650255" y="49847"/>
                    <a:pt x="7602662" y="97451"/>
                    <a:pt x="7602662" y="160549"/>
                  </a:cubicBezTo>
                  <a:cubicBezTo>
                    <a:pt x="7602662" y="223699"/>
                    <a:pt x="7649514" y="271303"/>
                    <a:pt x="7711560" y="271303"/>
                  </a:cubicBezTo>
                  <a:cubicBezTo>
                    <a:pt x="7773711" y="271303"/>
                    <a:pt x="7822309" y="223432"/>
                    <a:pt x="7822309" y="162418"/>
                  </a:cubicBezTo>
                  <a:moveTo>
                    <a:pt x="8704760" y="826838"/>
                  </a:moveTo>
                  <a:cubicBezTo>
                    <a:pt x="8704760" y="1000692"/>
                    <a:pt x="8594751" y="1122077"/>
                    <a:pt x="8437150" y="1122077"/>
                  </a:cubicBezTo>
                  <a:cubicBezTo>
                    <a:pt x="8276002" y="1122077"/>
                    <a:pt x="8167740" y="1003466"/>
                    <a:pt x="8167740" y="826838"/>
                  </a:cubicBezTo>
                  <a:cubicBezTo>
                    <a:pt x="8167740" y="649088"/>
                    <a:pt x="8276743" y="529677"/>
                    <a:pt x="8439003" y="529677"/>
                  </a:cubicBezTo>
                  <a:cubicBezTo>
                    <a:pt x="8597980" y="529677"/>
                    <a:pt x="8704760" y="649088"/>
                    <a:pt x="8704760" y="826838"/>
                  </a:cubicBezTo>
                  <a:moveTo>
                    <a:pt x="8889307" y="828654"/>
                  </a:moveTo>
                  <a:cubicBezTo>
                    <a:pt x="8889307" y="557084"/>
                    <a:pt x="8699942" y="359885"/>
                    <a:pt x="8439003" y="359885"/>
                  </a:cubicBezTo>
                  <a:cubicBezTo>
                    <a:pt x="8170652" y="359885"/>
                    <a:pt x="7983193" y="551155"/>
                    <a:pt x="7983193" y="824916"/>
                  </a:cubicBezTo>
                  <a:cubicBezTo>
                    <a:pt x="7983193" y="1099848"/>
                    <a:pt x="8168375" y="1291865"/>
                    <a:pt x="8433444" y="1291865"/>
                  </a:cubicBezTo>
                  <a:cubicBezTo>
                    <a:pt x="8689089" y="1291865"/>
                    <a:pt x="8889307" y="1088418"/>
                    <a:pt x="8889307" y="828654"/>
                  </a:cubicBezTo>
                  <a:moveTo>
                    <a:pt x="9658150" y="1197940"/>
                  </a:moveTo>
                  <a:cubicBezTo>
                    <a:pt x="9724854" y="1137144"/>
                    <a:pt x="9749630" y="1068539"/>
                    <a:pt x="9749630" y="944968"/>
                  </a:cubicBezTo>
                  <a:lnTo>
                    <a:pt x="9749630" y="380187"/>
                  </a:lnTo>
                  <a:lnTo>
                    <a:pt x="9566988" y="380187"/>
                  </a:lnTo>
                  <a:lnTo>
                    <a:pt x="9566988" y="944968"/>
                  </a:lnTo>
                  <a:cubicBezTo>
                    <a:pt x="9566988" y="1008437"/>
                    <a:pt x="9558835" y="1039587"/>
                    <a:pt x="9535012" y="1068222"/>
                  </a:cubicBezTo>
                  <a:cubicBezTo>
                    <a:pt x="9503831" y="1104284"/>
                    <a:pt x="9453009" y="1125815"/>
                    <a:pt x="9399010" y="1125815"/>
                  </a:cubicBezTo>
                  <a:cubicBezTo>
                    <a:pt x="9299060" y="1125815"/>
                    <a:pt x="9229233" y="1049947"/>
                    <a:pt x="9229233" y="941225"/>
                  </a:cubicBezTo>
                  <a:lnTo>
                    <a:pt x="9229233" y="380187"/>
                  </a:lnTo>
                  <a:lnTo>
                    <a:pt x="9048391" y="380187"/>
                  </a:lnTo>
                  <a:lnTo>
                    <a:pt x="9048391" y="944968"/>
                  </a:lnTo>
                  <a:cubicBezTo>
                    <a:pt x="9048391" y="1054330"/>
                    <a:pt x="9078249" y="1136392"/>
                    <a:pt x="9139659" y="1195965"/>
                  </a:cubicBezTo>
                  <a:cubicBezTo>
                    <a:pt x="9204563" y="1256925"/>
                    <a:pt x="9299113" y="1291865"/>
                    <a:pt x="9399010" y="1291865"/>
                  </a:cubicBezTo>
                  <a:cubicBezTo>
                    <a:pt x="9499701" y="1291865"/>
                    <a:pt x="9591763" y="1258529"/>
                    <a:pt x="9658150" y="1197945"/>
                  </a:cubicBezTo>
                  <a:moveTo>
                    <a:pt x="10385594" y="653307"/>
                  </a:moveTo>
                  <a:lnTo>
                    <a:pt x="10567335" y="653307"/>
                  </a:lnTo>
                  <a:lnTo>
                    <a:pt x="10566383" y="632041"/>
                  </a:lnTo>
                  <a:cubicBezTo>
                    <a:pt x="10558442" y="459099"/>
                    <a:pt x="10442768" y="359885"/>
                    <a:pt x="10249009" y="359885"/>
                  </a:cubicBezTo>
                  <a:cubicBezTo>
                    <a:pt x="10058003" y="359885"/>
                    <a:pt x="9929730" y="467434"/>
                    <a:pt x="9929730" y="627446"/>
                  </a:cubicBezTo>
                  <a:cubicBezTo>
                    <a:pt x="9929730" y="765666"/>
                    <a:pt x="10016922" y="850825"/>
                    <a:pt x="10212587" y="903611"/>
                  </a:cubicBezTo>
                  <a:cubicBezTo>
                    <a:pt x="10347689" y="937858"/>
                    <a:pt x="10391099" y="968955"/>
                    <a:pt x="10391099" y="1031625"/>
                  </a:cubicBezTo>
                  <a:cubicBezTo>
                    <a:pt x="10391099" y="1095576"/>
                    <a:pt x="10336730" y="1136874"/>
                    <a:pt x="10252715" y="1136874"/>
                  </a:cubicBezTo>
                  <a:cubicBezTo>
                    <a:pt x="10155517" y="1136874"/>
                    <a:pt x="10102102" y="1093384"/>
                    <a:pt x="10093843" y="1007579"/>
                  </a:cubicBezTo>
                  <a:lnTo>
                    <a:pt x="10092096" y="989257"/>
                  </a:lnTo>
                  <a:lnTo>
                    <a:pt x="9913054" y="989257"/>
                  </a:lnTo>
                  <a:lnTo>
                    <a:pt x="9915066" y="1011216"/>
                  </a:lnTo>
                  <a:cubicBezTo>
                    <a:pt x="9930789" y="1194843"/>
                    <a:pt x="10047626" y="1291865"/>
                    <a:pt x="10252715" y="1291865"/>
                  </a:cubicBezTo>
                  <a:cubicBezTo>
                    <a:pt x="10445839" y="1291865"/>
                    <a:pt x="10575647" y="1184371"/>
                    <a:pt x="10575647" y="1024303"/>
                  </a:cubicBezTo>
                  <a:cubicBezTo>
                    <a:pt x="10575647" y="956667"/>
                    <a:pt x="10548542" y="890948"/>
                    <a:pt x="10501426" y="843879"/>
                  </a:cubicBezTo>
                  <a:cubicBezTo>
                    <a:pt x="10457485" y="799913"/>
                    <a:pt x="10397028" y="770955"/>
                    <a:pt x="10285750" y="740769"/>
                  </a:cubicBezTo>
                  <a:cubicBezTo>
                    <a:pt x="10125660" y="696474"/>
                    <a:pt x="10110519" y="671471"/>
                    <a:pt x="10110519" y="616440"/>
                  </a:cubicBezTo>
                  <a:cubicBezTo>
                    <a:pt x="10110519" y="553823"/>
                    <a:pt x="10161447" y="514877"/>
                    <a:pt x="10243398" y="514877"/>
                  </a:cubicBezTo>
                  <a:cubicBezTo>
                    <a:pt x="10329795" y="514877"/>
                    <a:pt x="10385594" y="557672"/>
                    <a:pt x="10385594" y="623762"/>
                  </a:cubicBezTo>
                  <a:lnTo>
                    <a:pt x="10385594" y="653307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</p:grp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1FC59C22-0791-5147-3D3F-729D8B2992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C9112154-03DE-D84A-E7CB-3B8D72A79052}"/>
              </a:ext>
            </a:extLst>
          </p:cNvPr>
          <p:cNvGrpSpPr/>
          <p:nvPr userDrawn="1"/>
        </p:nvGrpSpPr>
        <p:grpSpPr>
          <a:xfrm rot="5400000">
            <a:off x="-3617983" y="3323777"/>
            <a:ext cx="6854690" cy="213756"/>
            <a:chOff x="-1" y="-286346"/>
            <a:chExt cx="5820565" cy="181508"/>
          </a:xfrm>
        </p:grpSpPr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A89D6A26-FD1E-1FBC-09CE-18C47DEB3F3F}"/>
                </a:ext>
              </a:extLst>
            </p:cNvPr>
            <p:cNvGrpSpPr/>
            <p:nvPr userDrawn="1"/>
          </p:nvGrpSpPr>
          <p:grpSpPr>
            <a:xfrm rot="16200000">
              <a:off x="363007" y="-649354"/>
              <a:ext cx="181503" cy="907520"/>
              <a:chOff x="1319213" y="-1663170"/>
              <a:chExt cx="181503" cy="907520"/>
            </a:xfrm>
          </p:grpSpPr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C4F3DF54-4835-C4C0-8C0C-A95BE9E71D19}"/>
                  </a:ext>
                </a:extLst>
              </p:cNvPr>
              <p:cNvSpPr/>
              <p:nvPr/>
            </p:nvSpPr>
            <p:spPr>
              <a:xfrm>
                <a:off x="1319213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44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CC4A1CCB-A135-5061-2E2A-6702C2701A11}"/>
                  </a:ext>
                </a:extLst>
              </p:cNvPr>
              <p:cNvSpPr/>
              <p:nvPr/>
            </p:nvSpPr>
            <p:spPr>
              <a:xfrm>
                <a:off x="1319213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69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EE60F4A1-F06E-671E-0215-4BFC8A4CCB19}"/>
                  </a:ext>
                </a:extLst>
              </p:cNvPr>
              <p:cNvSpPr/>
              <p:nvPr/>
            </p:nvSpPr>
            <p:spPr>
              <a:xfrm>
                <a:off x="1319213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FE8F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DC675BF0-7A91-17F4-A0A6-14714484DA8C}"/>
                  </a:ext>
                </a:extLst>
              </p:cNvPr>
              <p:cNvSpPr/>
              <p:nvPr/>
            </p:nvSpPr>
            <p:spPr>
              <a:xfrm>
                <a:off x="1319213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B4B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3B9AA4F5-99CF-B074-98DB-69C6BD47CEC2}"/>
                  </a:ext>
                </a:extLst>
              </p:cNvPr>
              <p:cNvSpPr/>
              <p:nvPr/>
            </p:nvSpPr>
            <p:spPr>
              <a:xfrm>
                <a:off x="1319213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D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5731F7C7-1B6E-DEE1-45CF-71FE578D134F}"/>
                </a:ext>
              </a:extLst>
            </p:cNvPr>
            <p:cNvGrpSpPr/>
            <p:nvPr userDrawn="1"/>
          </p:nvGrpSpPr>
          <p:grpSpPr>
            <a:xfrm rot="16200000">
              <a:off x="1345616" y="-649354"/>
              <a:ext cx="181503" cy="907520"/>
              <a:chOff x="1319213" y="-664912"/>
              <a:chExt cx="181503" cy="907520"/>
            </a:xfrm>
          </p:grpSpPr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AE642F75-CFE1-CBD1-2E6D-9AB4E83531C1}"/>
                  </a:ext>
                </a:extLst>
              </p:cNvPr>
              <p:cNvSpPr/>
              <p:nvPr/>
            </p:nvSpPr>
            <p:spPr>
              <a:xfrm>
                <a:off x="1319213" y="-66491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6400A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CDF0361F-F35D-85EB-5658-C80F2734BB55}"/>
                  </a:ext>
                </a:extLst>
              </p:cNvPr>
              <p:cNvSpPr/>
              <p:nvPr/>
            </p:nvSpPr>
            <p:spPr>
              <a:xfrm>
                <a:off x="1319213" y="-483404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33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7DA48EE1-841F-67E1-E390-CA047F9AA23B}"/>
                  </a:ext>
                </a:extLst>
              </p:cNvPr>
              <p:cNvSpPr/>
              <p:nvPr/>
            </p:nvSpPr>
            <p:spPr>
              <a:xfrm>
                <a:off x="1319213" y="-30189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266C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948DF6ED-E4A2-83F4-6423-7E9451BAB9F1}"/>
                  </a:ext>
                </a:extLst>
              </p:cNvPr>
              <p:cNvSpPr/>
              <p:nvPr/>
            </p:nvSpPr>
            <p:spPr>
              <a:xfrm>
                <a:off x="1319213" y="-120387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199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D2A4716C-FB21-5EB3-E76A-3CD80EA6A1D2}"/>
                  </a:ext>
                </a:extLst>
              </p:cNvPr>
              <p:cNvSpPr/>
              <p:nvPr/>
            </p:nvSpPr>
            <p:spPr>
              <a:xfrm>
                <a:off x="1319213" y="6110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0CC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B3F42D2B-2EAA-A34C-EAA9-1070EEF26C8E}"/>
                </a:ext>
              </a:extLst>
            </p:cNvPr>
            <p:cNvGrpSpPr/>
            <p:nvPr userDrawn="1"/>
          </p:nvGrpSpPr>
          <p:grpSpPr>
            <a:xfrm rot="16200000">
              <a:off x="2328223" y="-649352"/>
              <a:ext cx="181508" cy="907520"/>
              <a:chOff x="1682219" y="-1663170"/>
              <a:chExt cx="181508" cy="907520"/>
            </a:xfrm>
          </p:grpSpPr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472FA9EA-48F2-E99D-1E07-6DFBA8EDA2DD}"/>
                  </a:ext>
                </a:extLst>
              </p:cNvPr>
              <p:cNvSpPr/>
              <p:nvPr/>
            </p:nvSpPr>
            <p:spPr>
              <a:xfrm>
                <a:off x="1682219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CC8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CD06EC6F-B0E5-2753-A98C-A15D05D08AF5}"/>
                  </a:ext>
                </a:extLst>
              </p:cNvPr>
              <p:cNvSpPr/>
              <p:nvPr/>
            </p:nvSpPr>
            <p:spPr>
              <a:xfrm>
                <a:off x="1682224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3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28D2B2B2-85D6-788E-7D07-F0C3FB50F7EA}"/>
                  </a:ext>
                </a:extLst>
              </p:cNvPr>
              <p:cNvSpPr/>
              <p:nvPr/>
            </p:nvSpPr>
            <p:spPr>
              <a:xfrm>
                <a:off x="1682224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ADE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F48FF942-66AC-3C3D-F22D-D21E6D032C27}"/>
                  </a:ext>
                </a:extLst>
              </p:cNvPr>
              <p:cNvSpPr/>
              <p:nvPr/>
            </p:nvSpPr>
            <p:spPr>
              <a:xfrm>
                <a:off x="1682224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E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5B11521F-CAA9-9DE2-B572-2518CD4FFE8F}"/>
                  </a:ext>
                </a:extLst>
              </p:cNvPr>
              <p:cNvSpPr/>
              <p:nvPr/>
            </p:nvSpPr>
            <p:spPr>
              <a:xfrm>
                <a:off x="1682219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8F4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090044C7-B813-4606-252A-A63C2ED3DA9A}"/>
                </a:ext>
              </a:extLst>
            </p:cNvPr>
            <p:cNvGrpSpPr/>
            <p:nvPr userDrawn="1"/>
          </p:nvGrpSpPr>
          <p:grpSpPr>
            <a:xfrm rot="16200000">
              <a:off x="5276052" y="-649354"/>
              <a:ext cx="181503" cy="907520"/>
              <a:chOff x="2226738" y="-1663170"/>
              <a:chExt cx="181503" cy="907520"/>
            </a:xfrm>
          </p:grpSpPr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D6E82FE0-6CB2-11CE-D488-C07925777473}"/>
                  </a:ext>
                </a:extLst>
              </p:cNvPr>
              <p:cNvSpPr/>
              <p:nvPr/>
            </p:nvSpPr>
            <p:spPr>
              <a:xfrm>
                <a:off x="2226738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BA74A2FB-5FB6-B2C7-4DD1-C8BCF2D1FC3F}"/>
                  </a:ext>
                </a:extLst>
              </p:cNvPr>
              <p:cNvSpPr/>
              <p:nvPr/>
            </p:nvSpPr>
            <p:spPr>
              <a:xfrm>
                <a:off x="2226738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5757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B74AC722-DC07-5FA5-D169-B1ABE462CC30}"/>
                  </a:ext>
                </a:extLst>
              </p:cNvPr>
              <p:cNvSpPr/>
              <p:nvPr/>
            </p:nvSpPr>
            <p:spPr>
              <a:xfrm>
                <a:off x="2226738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8787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E859B0AC-5A4E-B7FF-1965-9ADF565BB428}"/>
                  </a:ext>
                </a:extLst>
              </p:cNvPr>
              <p:cNvSpPr/>
              <p:nvPr/>
            </p:nvSpPr>
            <p:spPr>
              <a:xfrm>
                <a:off x="2226738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2B2B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5A66798B-7E0F-7E2A-9E2A-7CF91381E9F8}"/>
                  </a:ext>
                </a:extLst>
              </p:cNvPr>
              <p:cNvSpPr/>
              <p:nvPr/>
            </p:nvSpPr>
            <p:spPr>
              <a:xfrm>
                <a:off x="2226738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DA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ECCCDA6E-B333-8FD6-8342-0E38E809ED65}"/>
                </a:ext>
              </a:extLst>
            </p:cNvPr>
            <p:cNvGrpSpPr/>
            <p:nvPr userDrawn="1"/>
          </p:nvGrpSpPr>
          <p:grpSpPr>
            <a:xfrm rot="16200000">
              <a:off x="3310834" y="-649354"/>
              <a:ext cx="181503" cy="907520"/>
              <a:chOff x="1863727" y="-1663170"/>
              <a:chExt cx="181503" cy="907520"/>
            </a:xfrm>
          </p:grpSpPr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4C58FBB6-F77E-C7F4-EAD6-5A550B625953}"/>
                  </a:ext>
                </a:extLst>
              </p:cNvPr>
              <p:cNvSpPr/>
              <p:nvPr/>
            </p:nvSpPr>
            <p:spPr>
              <a:xfrm>
                <a:off x="1863727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2A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D9BC77A8-D367-A253-3601-368101FB5581}"/>
                  </a:ext>
                </a:extLst>
              </p:cNvPr>
              <p:cNvSpPr/>
              <p:nvPr/>
            </p:nvSpPr>
            <p:spPr>
              <a:xfrm>
                <a:off x="1863727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5DB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8F26378C-81F4-A470-4D6D-99B4201A7B81}"/>
                  </a:ext>
                </a:extLst>
              </p:cNvPr>
              <p:cNvSpPr/>
              <p:nvPr/>
            </p:nvSpPr>
            <p:spPr>
              <a:xfrm>
                <a:off x="1863727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8E4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944D7EC8-3077-F89A-54D2-D2E643B76E65}"/>
                  </a:ext>
                </a:extLst>
              </p:cNvPr>
              <p:cNvSpPr/>
              <p:nvPr/>
            </p:nvSpPr>
            <p:spPr>
              <a:xfrm>
                <a:off x="1863727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ED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F9C67761-228C-DBB6-E1BA-F31187C3032D}"/>
                  </a:ext>
                </a:extLst>
              </p:cNvPr>
              <p:cNvSpPr/>
              <p:nvPr/>
            </p:nvSpPr>
            <p:spPr>
              <a:xfrm>
                <a:off x="1863727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DF6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96F29F2A-F02A-6E30-BA83-765AA19AC4BB}"/>
                </a:ext>
              </a:extLst>
            </p:cNvPr>
            <p:cNvGrpSpPr/>
            <p:nvPr userDrawn="1"/>
          </p:nvGrpSpPr>
          <p:grpSpPr>
            <a:xfrm rot="16200000">
              <a:off x="4293441" y="-649352"/>
              <a:ext cx="181508" cy="907520"/>
              <a:chOff x="2045230" y="-1663170"/>
              <a:chExt cx="181508" cy="907520"/>
            </a:xfrm>
          </p:grpSpPr>
          <p:sp>
            <p:nvSpPr>
              <p:cNvPr id="17" name="Freihandform: Form 16">
                <a:extLst>
                  <a:ext uri="{FF2B5EF4-FFF2-40B4-BE49-F238E27FC236}">
                    <a16:creationId xmlns:a16="http://schemas.microsoft.com/office/drawing/2014/main" id="{42552742-EF97-2BB4-C98C-C22DD0E42D15}"/>
                  </a:ext>
                </a:extLst>
              </p:cNvPr>
              <p:cNvSpPr/>
              <p:nvPr/>
            </p:nvSpPr>
            <p:spPr>
              <a:xfrm>
                <a:off x="2045230" y="-937158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9F7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3185702D-5B3E-4CE8-8959-FA58BC2DEBD2}"/>
                  </a:ext>
                </a:extLst>
              </p:cNvPr>
              <p:cNvSpPr/>
              <p:nvPr/>
            </p:nvSpPr>
            <p:spPr>
              <a:xfrm>
                <a:off x="2045230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FED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8043589A-1F9B-AB4F-9B05-009050703F5E}"/>
                  </a:ext>
                </a:extLst>
              </p:cNvPr>
              <p:cNvSpPr/>
              <p:nvPr/>
            </p:nvSpPr>
            <p:spPr>
              <a:xfrm>
                <a:off x="2045230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5E3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078DB012-3B00-E0F6-A56A-9868A5528BCA}"/>
                  </a:ext>
                </a:extLst>
              </p:cNvPr>
              <p:cNvSpPr/>
              <p:nvPr/>
            </p:nvSpPr>
            <p:spPr>
              <a:xfrm>
                <a:off x="2045230" y="-1663170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CFC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E7BBCA27-4E90-BC71-87DB-2E4521F87615}"/>
                  </a:ext>
                </a:extLst>
              </p:cNvPr>
              <p:cNvSpPr/>
              <p:nvPr/>
            </p:nvSpPr>
            <p:spPr>
              <a:xfrm>
                <a:off x="2045230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BD9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573382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centered (sand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2" y="1569720"/>
            <a:ext cx="10874373" cy="3481070"/>
          </a:xfrm>
        </p:spPr>
        <p:txBody>
          <a:bodyPr anchor="ctr"/>
          <a:lstStyle>
            <a:lvl1pPr algn="ctr">
              <a:lnSpc>
                <a:spcPct val="95000"/>
              </a:lnSpc>
              <a:spcAft>
                <a:spcPts val="2400"/>
              </a:spcAft>
              <a:defRPr sz="4000"/>
            </a:lvl1pPr>
            <a:lvl2pPr algn="ctr">
              <a:defRPr sz="20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</a:lstStyle>
          <a:p>
            <a:pPr lvl="0"/>
            <a:r>
              <a:rPr lang="en-GB" noProof="0"/>
              <a:t>Level 1 (Big Text)</a:t>
            </a:r>
          </a:p>
          <a:p>
            <a:pPr lvl="1"/>
            <a:r>
              <a:rPr lang="en-GB" noProof="0"/>
              <a:t>Level 2 (Subline or Source)</a:t>
            </a:r>
          </a:p>
          <a:p>
            <a:pPr lvl="2"/>
            <a:r>
              <a:rPr lang="en-GB" noProof="0"/>
              <a:t>Level 3 (Copy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F1A3C9D6-EFDA-B5AF-EE49-D185E96931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</p:spTree>
    <p:extLst>
      <p:ext uri="{BB962C8B-B14F-4D97-AF65-F5344CB8AC3E}">
        <p14:creationId xmlns:p14="http://schemas.microsoft.com/office/powerpoint/2010/main" val="28986377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centere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2" y="1569720"/>
            <a:ext cx="10874373" cy="3481070"/>
          </a:xfrm>
        </p:spPr>
        <p:txBody>
          <a:bodyPr anchor="ctr"/>
          <a:lstStyle>
            <a:lvl1pPr algn="ctr">
              <a:lnSpc>
                <a:spcPct val="95000"/>
              </a:lnSpc>
              <a:spcAft>
                <a:spcPts val="2400"/>
              </a:spcAft>
              <a:defRPr sz="4000"/>
            </a:lvl1pPr>
            <a:lvl2pPr algn="ctr">
              <a:defRPr sz="2000"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</a:lstStyle>
          <a:p>
            <a:pPr lvl="0"/>
            <a:r>
              <a:rPr lang="en-GB" noProof="0"/>
              <a:t>Level 1 (Big Text)</a:t>
            </a:r>
          </a:p>
          <a:p>
            <a:pPr lvl="1"/>
            <a:r>
              <a:rPr lang="en-GB" noProof="0"/>
              <a:t>Level 2 (Subline or Source)</a:t>
            </a:r>
          </a:p>
          <a:p>
            <a:pPr lvl="2"/>
            <a:r>
              <a:rPr lang="en-GB" noProof="0"/>
              <a:t>Level 3 (Copy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F1A3C9D6-EFDA-B5AF-EE49-D185E96931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</p:spTree>
    <p:extLst>
      <p:ext uri="{BB962C8B-B14F-4D97-AF65-F5344CB8AC3E}">
        <p14:creationId xmlns:p14="http://schemas.microsoft.com/office/powerpoint/2010/main" val="203998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red) and Content 1/3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73236799-8186-158A-F3A4-9E2D432B77EB}"/>
              </a:ext>
            </a:extLst>
          </p:cNvPr>
          <p:cNvSpPr/>
          <p:nvPr userDrawn="1"/>
        </p:nvSpPr>
        <p:spPr>
          <a:xfrm>
            <a:off x="0" y="0"/>
            <a:ext cx="813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3" y="1304925"/>
            <a:ext cx="6806215" cy="50514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FDC01C9A-5B99-87F0-F647-71E0D7C324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397755"/>
            <a:ext cx="6806215" cy="753386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6735326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(red) and Content 1/3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34829F15-B616-90C6-D303-D9DBC42104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8136000" cy="6857999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3" y="1304925"/>
            <a:ext cx="6806215" cy="50514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FDC01C9A-5B99-87F0-F647-71E0D7C324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397755"/>
            <a:ext cx="6806215" cy="753386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012604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sand) and Content 1/3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73236799-8186-158A-F3A4-9E2D432B77EB}"/>
              </a:ext>
            </a:extLst>
          </p:cNvPr>
          <p:cNvSpPr/>
          <p:nvPr userDrawn="1"/>
        </p:nvSpPr>
        <p:spPr>
          <a:xfrm>
            <a:off x="0" y="0"/>
            <a:ext cx="813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3" y="1304925"/>
            <a:ext cx="6806215" cy="50514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FDC01C9A-5B99-87F0-F647-71E0D7C324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397755"/>
            <a:ext cx="6806215" cy="753386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GB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5846562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red) and Text 1/3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73236799-8186-158A-F3A4-9E2D432B77EB}"/>
              </a:ext>
            </a:extLst>
          </p:cNvPr>
          <p:cNvSpPr/>
          <p:nvPr userDrawn="1"/>
        </p:nvSpPr>
        <p:spPr>
          <a:xfrm>
            <a:off x="0" y="0"/>
            <a:ext cx="813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3" y="843892"/>
            <a:ext cx="6806215" cy="55117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7" name="Textplatzhalter 10">
            <a:extLst>
              <a:ext uri="{FF2B5EF4-FFF2-40B4-BE49-F238E27FC236}">
                <a16:creationId xmlns:a16="http://schemas.microsoft.com/office/drawing/2014/main" id="{49AC896B-B1EB-15CF-7EC1-92B7819943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794813" y="843892"/>
            <a:ext cx="2738373" cy="5512458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8CA85BD3-7615-9511-4111-82D50FC995D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</p:spTree>
    <p:extLst>
      <p:ext uri="{BB962C8B-B14F-4D97-AF65-F5344CB8AC3E}">
        <p14:creationId xmlns:p14="http://schemas.microsoft.com/office/powerpoint/2010/main" val="20770254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(red) and Text 1/3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85C0DB6D-CD69-DFFB-6EC9-A4884952D5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8136000" cy="6857999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3" y="843892"/>
            <a:ext cx="6806215" cy="55117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7" name="Textplatzhalter 10">
            <a:extLst>
              <a:ext uri="{FF2B5EF4-FFF2-40B4-BE49-F238E27FC236}">
                <a16:creationId xmlns:a16="http://schemas.microsoft.com/office/drawing/2014/main" id="{49AC896B-B1EB-15CF-7EC1-92B7819943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794813" y="843892"/>
            <a:ext cx="2738373" cy="5512458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8CA85BD3-7615-9511-4111-82D50FC995D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</p:spTree>
    <p:extLst>
      <p:ext uri="{BB962C8B-B14F-4D97-AF65-F5344CB8AC3E}">
        <p14:creationId xmlns:p14="http://schemas.microsoft.com/office/powerpoint/2010/main" val="17651550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sand) and Text 1/3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73236799-8186-158A-F3A4-9E2D432B77EB}"/>
              </a:ext>
            </a:extLst>
          </p:cNvPr>
          <p:cNvSpPr/>
          <p:nvPr userDrawn="1"/>
        </p:nvSpPr>
        <p:spPr>
          <a:xfrm>
            <a:off x="0" y="0"/>
            <a:ext cx="813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3" y="843892"/>
            <a:ext cx="6806215" cy="551174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7" name="Textplatzhalter 10">
            <a:extLst>
              <a:ext uri="{FF2B5EF4-FFF2-40B4-BE49-F238E27FC236}">
                <a16:creationId xmlns:a16="http://schemas.microsoft.com/office/drawing/2014/main" id="{49AC896B-B1EB-15CF-7EC1-92B7819943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794813" y="843892"/>
            <a:ext cx="2738373" cy="5512458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8CA85BD3-7615-9511-4111-82D50FC995D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</p:spTree>
    <p:extLst>
      <p:ext uri="{BB962C8B-B14F-4D97-AF65-F5344CB8AC3E}">
        <p14:creationId xmlns:p14="http://schemas.microsoft.com/office/powerpoint/2010/main" val="5739823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16B8B84B-27E6-3A42-99FA-F41EF28203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808CAAD2-8D34-9B60-193B-929DAF5CDA44}"/>
              </a:ext>
            </a:extLst>
          </p:cNvPr>
          <p:cNvGrpSpPr/>
          <p:nvPr userDrawn="1"/>
        </p:nvGrpSpPr>
        <p:grpSpPr>
          <a:xfrm>
            <a:off x="661988" y="505156"/>
            <a:ext cx="2900362" cy="404728"/>
            <a:chOff x="-161925" y="-1630732"/>
            <a:chExt cx="12193587" cy="1701544"/>
          </a:xfrm>
          <a:solidFill>
            <a:schemeClr val="bg1"/>
          </a:solidFill>
        </p:grpSpPr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A9DB91B9-B210-C320-6926-129B72C0E576}"/>
                </a:ext>
              </a:extLst>
            </p:cNvPr>
            <p:cNvSpPr/>
            <p:nvPr/>
          </p:nvSpPr>
          <p:spPr>
            <a:xfrm>
              <a:off x="10774928" y="-1247713"/>
              <a:ext cx="1256734" cy="356304"/>
            </a:xfrm>
            <a:custGeom>
              <a:avLst/>
              <a:gdLst>
                <a:gd name="connsiteX0" fmla="*/ 1226823 w 1256734"/>
                <a:gd name="connsiteY0" fmla="*/ 269166 h 356304"/>
                <a:gd name="connsiteX1" fmla="*/ 1133491 w 1256734"/>
                <a:gd name="connsiteY1" fmla="*/ 316610 h 356304"/>
                <a:gd name="connsiteX2" fmla="*/ 1010248 w 1256734"/>
                <a:gd name="connsiteY2" fmla="*/ 178448 h 356304"/>
                <a:gd name="connsiteX3" fmla="*/ 1131426 w 1256734"/>
                <a:gd name="connsiteY3" fmla="*/ 39696 h 356304"/>
                <a:gd name="connsiteX4" fmla="*/ 1226823 w 1256734"/>
                <a:gd name="connsiteY4" fmla="*/ 86659 h 356304"/>
                <a:gd name="connsiteX5" fmla="*/ 1256735 w 1256734"/>
                <a:gd name="connsiteY5" fmla="*/ 58823 h 356304"/>
                <a:gd name="connsiteX6" fmla="*/ 1216553 w 1256734"/>
                <a:gd name="connsiteY6" fmla="*/ 23241 h 356304"/>
                <a:gd name="connsiteX7" fmla="*/ 1130420 w 1256734"/>
                <a:gd name="connsiteY7" fmla="*/ 0 h 356304"/>
                <a:gd name="connsiteX8" fmla="*/ 965885 w 1256734"/>
                <a:gd name="connsiteY8" fmla="*/ 178448 h 356304"/>
                <a:gd name="connsiteX9" fmla="*/ 1011783 w 1256734"/>
                <a:gd name="connsiteY9" fmla="*/ 305763 h 356304"/>
                <a:gd name="connsiteX10" fmla="*/ 1129892 w 1256734"/>
                <a:gd name="connsiteY10" fmla="*/ 356305 h 356304"/>
                <a:gd name="connsiteX11" fmla="*/ 1255676 w 1256734"/>
                <a:gd name="connsiteY11" fmla="*/ 298071 h 356304"/>
                <a:gd name="connsiteX12" fmla="*/ 1226823 w 1256734"/>
                <a:gd name="connsiteY12" fmla="*/ 269166 h 356304"/>
                <a:gd name="connsiteX13" fmla="*/ 679216 w 1256734"/>
                <a:gd name="connsiteY13" fmla="*/ 197999 h 356304"/>
                <a:gd name="connsiteX14" fmla="*/ 846824 w 1256734"/>
                <a:gd name="connsiteY14" fmla="*/ 197999 h 356304"/>
                <a:gd name="connsiteX15" fmla="*/ 846824 w 1256734"/>
                <a:gd name="connsiteY15" fmla="*/ 350105 h 356304"/>
                <a:gd name="connsiteX16" fmla="*/ 890075 w 1256734"/>
                <a:gd name="connsiteY16" fmla="*/ 350105 h 356304"/>
                <a:gd name="connsiteX17" fmla="*/ 890075 w 1256734"/>
                <a:gd name="connsiteY17" fmla="*/ 6198 h 356304"/>
                <a:gd name="connsiteX18" fmla="*/ 846824 w 1256734"/>
                <a:gd name="connsiteY18" fmla="*/ 6198 h 356304"/>
                <a:gd name="connsiteX19" fmla="*/ 846824 w 1256734"/>
                <a:gd name="connsiteY19" fmla="*/ 160920 h 356304"/>
                <a:gd name="connsiteX20" fmla="*/ 679216 w 1256734"/>
                <a:gd name="connsiteY20" fmla="*/ 160920 h 356304"/>
                <a:gd name="connsiteX21" fmla="*/ 679216 w 1256734"/>
                <a:gd name="connsiteY21" fmla="*/ 6198 h 356304"/>
                <a:gd name="connsiteX22" fmla="*/ 635912 w 1256734"/>
                <a:gd name="connsiteY22" fmla="*/ 6198 h 356304"/>
                <a:gd name="connsiteX23" fmla="*/ 635912 w 1256734"/>
                <a:gd name="connsiteY23" fmla="*/ 350105 h 356304"/>
                <a:gd name="connsiteX24" fmla="*/ 679216 w 1256734"/>
                <a:gd name="connsiteY24" fmla="*/ 350105 h 356304"/>
                <a:gd name="connsiteX25" fmla="*/ 679216 w 1256734"/>
                <a:gd name="connsiteY25" fmla="*/ 197999 h 356304"/>
                <a:gd name="connsiteX26" fmla="*/ 392018 w 1256734"/>
                <a:gd name="connsiteY26" fmla="*/ 40230 h 356304"/>
                <a:gd name="connsiteX27" fmla="*/ 476563 w 1256734"/>
                <a:gd name="connsiteY27" fmla="*/ 75813 h 356304"/>
                <a:gd name="connsiteX28" fmla="*/ 515792 w 1256734"/>
                <a:gd name="connsiteY28" fmla="*/ 181011 h 356304"/>
                <a:gd name="connsiteX29" fmla="*/ 482758 w 1256734"/>
                <a:gd name="connsiteY29" fmla="*/ 275365 h 356304"/>
                <a:gd name="connsiteX30" fmla="*/ 390960 w 1256734"/>
                <a:gd name="connsiteY30" fmla="*/ 316610 h 356304"/>
                <a:gd name="connsiteX31" fmla="*/ 267239 w 1256734"/>
                <a:gd name="connsiteY31" fmla="*/ 178448 h 356304"/>
                <a:gd name="connsiteX32" fmla="*/ 392018 w 1256734"/>
                <a:gd name="connsiteY32" fmla="*/ 40230 h 356304"/>
                <a:gd name="connsiteX33" fmla="*/ 393077 w 1256734"/>
                <a:gd name="connsiteY33" fmla="*/ 0 h 356304"/>
                <a:gd name="connsiteX34" fmla="*/ 222876 w 1256734"/>
                <a:gd name="connsiteY34" fmla="*/ 179994 h 356304"/>
                <a:gd name="connsiteX35" fmla="*/ 258982 w 1256734"/>
                <a:gd name="connsiteY35" fmla="*/ 291872 h 356304"/>
                <a:gd name="connsiteX36" fmla="*/ 392018 w 1256734"/>
                <a:gd name="connsiteY36" fmla="*/ 356305 h 356304"/>
                <a:gd name="connsiteX37" fmla="*/ 501868 w 1256734"/>
                <a:gd name="connsiteY37" fmla="*/ 315059 h 356304"/>
                <a:gd name="connsiteX38" fmla="*/ 560155 w 1256734"/>
                <a:gd name="connsiteY38" fmla="*/ 181545 h 356304"/>
                <a:gd name="connsiteX39" fmla="*/ 519921 w 1256734"/>
                <a:gd name="connsiteY39" fmla="*/ 59304 h 356304"/>
                <a:gd name="connsiteX40" fmla="*/ 393077 w 1256734"/>
                <a:gd name="connsiteY40" fmla="*/ 0 h 356304"/>
                <a:gd name="connsiteX41" fmla="*/ 43306 w 1256734"/>
                <a:gd name="connsiteY41" fmla="*/ 310946 h 356304"/>
                <a:gd name="connsiteX42" fmla="*/ 43306 w 1256734"/>
                <a:gd name="connsiteY42" fmla="*/ 6198 h 356304"/>
                <a:gd name="connsiteX43" fmla="*/ 0 w 1256734"/>
                <a:gd name="connsiteY43" fmla="*/ 6198 h 356304"/>
                <a:gd name="connsiteX44" fmla="*/ 0 w 1256734"/>
                <a:gd name="connsiteY44" fmla="*/ 350105 h 356304"/>
                <a:gd name="connsiteX45" fmla="*/ 194237 w 1256734"/>
                <a:gd name="connsiteY45" fmla="*/ 350105 h 356304"/>
                <a:gd name="connsiteX46" fmla="*/ 194237 w 1256734"/>
                <a:gd name="connsiteY46" fmla="*/ 310946 h 356304"/>
                <a:gd name="connsiteX47" fmla="*/ 43306 w 1256734"/>
                <a:gd name="connsiteY47" fmla="*/ 310946 h 35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256734" h="356304">
                  <a:moveTo>
                    <a:pt x="1226823" y="269166"/>
                  </a:moveTo>
                  <a:cubicBezTo>
                    <a:pt x="1200037" y="301650"/>
                    <a:pt x="1171131" y="316610"/>
                    <a:pt x="1133491" y="316610"/>
                  </a:cubicBezTo>
                  <a:cubicBezTo>
                    <a:pt x="1062341" y="316610"/>
                    <a:pt x="1010248" y="258371"/>
                    <a:pt x="1010248" y="178448"/>
                  </a:cubicBezTo>
                  <a:cubicBezTo>
                    <a:pt x="1010248" y="97985"/>
                    <a:pt x="1061334" y="39696"/>
                    <a:pt x="1131426" y="39696"/>
                  </a:cubicBezTo>
                  <a:cubicBezTo>
                    <a:pt x="1168008" y="39696"/>
                    <a:pt x="1193313" y="52092"/>
                    <a:pt x="1226823" y="86659"/>
                  </a:cubicBezTo>
                  <a:lnTo>
                    <a:pt x="1256735" y="58823"/>
                  </a:lnTo>
                  <a:cubicBezTo>
                    <a:pt x="1239742" y="40230"/>
                    <a:pt x="1230424" y="32003"/>
                    <a:pt x="1216553" y="23241"/>
                  </a:cubicBezTo>
                  <a:cubicBezTo>
                    <a:pt x="1191725" y="8281"/>
                    <a:pt x="1161338" y="0"/>
                    <a:pt x="1130420" y="0"/>
                  </a:cubicBezTo>
                  <a:cubicBezTo>
                    <a:pt x="1035500" y="0"/>
                    <a:pt x="965885" y="75279"/>
                    <a:pt x="965885" y="178448"/>
                  </a:cubicBezTo>
                  <a:cubicBezTo>
                    <a:pt x="965885" y="226369"/>
                    <a:pt x="982931" y="273279"/>
                    <a:pt x="1011783" y="305763"/>
                  </a:cubicBezTo>
                  <a:cubicBezTo>
                    <a:pt x="1041165" y="338782"/>
                    <a:pt x="1081928" y="356305"/>
                    <a:pt x="1129892" y="356305"/>
                  </a:cubicBezTo>
                  <a:cubicBezTo>
                    <a:pt x="1182990" y="356305"/>
                    <a:pt x="1221107" y="338782"/>
                    <a:pt x="1255676" y="298071"/>
                  </a:cubicBezTo>
                  <a:lnTo>
                    <a:pt x="1226823" y="269166"/>
                  </a:lnTo>
                  <a:close/>
                  <a:moveTo>
                    <a:pt x="679216" y="197999"/>
                  </a:moveTo>
                  <a:lnTo>
                    <a:pt x="846824" y="197999"/>
                  </a:lnTo>
                  <a:lnTo>
                    <a:pt x="846824" y="350105"/>
                  </a:lnTo>
                  <a:lnTo>
                    <a:pt x="890075" y="350105"/>
                  </a:lnTo>
                  <a:lnTo>
                    <a:pt x="890075" y="6198"/>
                  </a:lnTo>
                  <a:lnTo>
                    <a:pt x="846824" y="6198"/>
                  </a:lnTo>
                  <a:lnTo>
                    <a:pt x="846824" y="160920"/>
                  </a:lnTo>
                  <a:lnTo>
                    <a:pt x="679216" y="160920"/>
                  </a:lnTo>
                  <a:lnTo>
                    <a:pt x="679216" y="6198"/>
                  </a:lnTo>
                  <a:lnTo>
                    <a:pt x="635912" y="6198"/>
                  </a:lnTo>
                  <a:lnTo>
                    <a:pt x="635912" y="350105"/>
                  </a:lnTo>
                  <a:lnTo>
                    <a:pt x="679216" y="350105"/>
                  </a:lnTo>
                  <a:lnTo>
                    <a:pt x="679216" y="197999"/>
                  </a:lnTo>
                  <a:close/>
                  <a:moveTo>
                    <a:pt x="392018" y="40230"/>
                  </a:moveTo>
                  <a:cubicBezTo>
                    <a:pt x="422459" y="40230"/>
                    <a:pt x="453904" y="53641"/>
                    <a:pt x="476563" y="75813"/>
                  </a:cubicBezTo>
                  <a:cubicBezTo>
                    <a:pt x="503404" y="101618"/>
                    <a:pt x="515792" y="135117"/>
                    <a:pt x="515792" y="181011"/>
                  </a:cubicBezTo>
                  <a:cubicBezTo>
                    <a:pt x="515792" y="216057"/>
                    <a:pt x="502874" y="253189"/>
                    <a:pt x="482758" y="275365"/>
                  </a:cubicBezTo>
                  <a:cubicBezTo>
                    <a:pt x="459569" y="301650"/>
                    <a:pt x="425530" y="316610"/>
                    <a:pt x="390960" y="316610"/>
                  </a:cubicBezTo>
                  <a:cubicBezTo>
                    <a:pt x="319809" y="316610"/>
                    <a:pt x="267239" y="258371"/>
                    <a:pt x="267239" y="178448"/>
                  </a:cubicBezTo>
                  <a:cubicBezTo>
                    <a:pt x="267239" y="99000"/>
                    <a:pt x="320338" y="40230"/>
                    <a:pt x="392018" y="40230"/>
                  </a:cubicBezTo>
                  <a:moveTo>
                    <a:pt x="393077" y="0"/>
                  </a:moveTo>
                  <a:cubicBezTo>
                    <a:pt x="295615" y="0"/>
                    <a:pt x="222876" y="77362"/>
                    <a:pt x="222876" y="179994"/>
                  </a:cubicBezTo>
                  <a:cubicBezTo>
                    <a:pt x="222876" y="223273"/>
                    <a:pt x="235318" y="261956"/>
                    <a:pt x="258982" y="291872"/>
                  </a:cubicBezTo>
                  <a:cubicBezTo>
                    <a:pt x="290957" y="332101"/>
                    <a:pt x="340985" y="356305"/>
                    <a:pt x="392018" y="356305"/>
                  </a:cubicBezTo>
                  <a:cubicBezTo>
                    <a:pt x="431723" y="356305"/>
                    <a:pt x="470899" y="341879"/>
                    <a:pt x="501868" y="315059"/>
                  </a:cubicBezTo>
                  <a:cubicBezTo>
                    <a:pt x="539509" y="283110"/>
                    <a:pt x="560155" y="235131"/>
                    <a:pt x="560155" y="181545"/>
                  </a:cubicBezTo>
                  <a:cubicBezTo>
                    <a:pt x="560155" y="129935"/>
                    <a:pt x="547715" y="91788"/>
                    <a:pt x="519921" y="59304"/>
                  </a:cubicBezTo>
                  <a:cubicBezTo>
                    <a:pt x="486886" y="21691"/>
                    <a:pt x="440988" y="0"/>
                    <a:pt x="393077" y="0"/>
                  </a:cubicBezTo>
                  <a:moveTo>
                    <a:pt x="43306" y="310946"/>
                  </a:moveTo>
                  <a:lnTo>
                    <a:pt x="43306" y="6198"/>
                  </a:lnTo>
                  <a:lnTo>
                    <a:pt x="0" y="6198"/>
                  </a:lnTo>
                  <a:lnTo>
                    <a:pt x="0" y="350105"/>
                  </a:lnTo>
                  <a:lnTo>
                    <a:pt x="194237" y="350105"/>
                  </a:lnTo>
                  <a:lnTo>
                    <a:pt x="194237" y="310946"/>
                  </a:lnTo>
                  <a:lnTo>
                    <a:pt x="43306" y="310946"/>
                  </a:lnTo>
                  <a:close/>
                </a:path>
              </a:pathLst>
            </a:custGeom>
            <a:solidFill>
              <a:schemeClr val="accent2"/>
            </a:solidFill>
            <a:ln w="529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GB" noProof="0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710F1B65-D00C-1017-2352-93F8ACADC64E}"/>
                </a:ext>
              </a:extLst>
            </p:cNvPr>
            <p:cNvSpPr/>
            <p:nvPr/>
          </p:nvSpPr>
          <p:spPr>
            <a:xfrm>
              <a:off x="-161925" y="-1630732"/>
              <a:ext cx="10575647" cy="1701544"/>
            </a:xfrm>
            <a:custGeom>
              <a:avLst/>
              <a:gdLst>
                <a:gd name="connsiteX0" fmla="*/ 7802033 w 10575647"/>
                <a:gd name="connsiteY0" fmla="*/ 380187 h 1701544"/>
                <a:gd name="connsiteX1" fmla="*/ 7621138 w 10575647"/>
                <a:gd name="connsiteY1" fmla="*/ 380187 h 1701544"/>
                <a:gd name="connsiteX2" fmla="*/ 7621138 w 10575647"/>
                <a:gd name="connsiteY2" fmla="*/ 1271563 h 1701544"/>
                <a:gd name="connsiteX3" fmla="*/ 7802033 w 10575647"/>
                <a:gd name="connsiteY3" fmla="*/ 1271563 h 1701544"/>
                <a:gd name="connsiteX4" fmla="*/ 7802033 w 10575647"/>
                <a:gd name="connsiteY4" fmla="*/ 380187 h 1701544"/>
                <a:gd name="connsiteX5" fmla="*/ 706522 w 10575647"/>
                <a:gd name="connsiteY5" fmla="*/ 1271563 h 1701544"/>
                <a:gd name="connsiteX6" fmla="*/ 902065 w 10575647"/>
                <a:gd name="connsiteY6" fmla="*/ 1271563 h 1701544"/>
                <a:gd name="connsiteX7" fmla="*/ 902065 w 10575647"/>
                <a:gd name="connsiteY7" fmla="*/ 0 h 1701544"/>
                <a:gd name="connsiteX8" fmla="*/ 706522 w 10575647"/>
                <a:gd name="connsiteY8" fmla="*/ 0 h 1701544"/>
                <a:gd name="connsiteX9" fmla="*/ 706522 w 10575647"/>
                <a:gd name="connsiteY9" fmla="*/ 553717 h 1701544"/>
                <a:gd name="connsiteX10" fmla="*/ 195543 w 10575647"/>
                <a:gd name="connsiteY10" fmla="*/ 553717 h 1701544"/>
                <a:gd name="connsiteX11" fmla="*/ 195543 w 10575647"/>
                <a:gd name="connsiteY11" fmla="*/ 0 h 1701544"/>
                <a:gd name="connsiteX12" fmla="*/ 0 w 10575647"/>
                <a:gd name="connsiteY12" fmla="*/ 0 h 1701544"/>
                <a:gd name="connsiteX13" fmla="*/ 0 w 10575647"/>
                <a:gd name="connsiteY13" fmla="*/ 1271563 h 1701544"/>
                <a:gd name="connsiteX14" fmla="*/ 195543 w 10575647"/>
                <a:gd name="connsiteY14" fmla="*/ 1271563 h 1701544"/>
                <a:gd name="connsiteX15" fmla="*/ 195543 w 10575647"/>
                <a:gd name="connsiteY15" fmla="*/ 727142 h 1701544"/>
                <a:gd name="connsiteX16" fmla="*/ 706522 w 10575647"/>
                <a:gd name="connsiteY16" fmla="*/ 727142 h 1701544"/>
                <a:gd name="connsiteX17" fmla="*/ 706522 w 10575647"/>
                <a:gd name="connsiteY17" fmla="*/ 1271563 h 1701544"/>
                <a:gd name="connsiteX18" fmla="*/ 1306185 w 10575647"/>
                <a:gd name="connsiteY18" fmla="*/ 1690649 h 1701544"/>
                <a:gd name="connsiteX19" fmla="*/ 1654904 w 10575647"/>
                <a:gd name="connsiteY19" fmla="*/ 1036061 h 1701544"/>
                <a:gd name="connsiteX20" fmla="*/ 1306185 w 10575647"/>
                <a:gd name="connsiteY20" fmla="*/ 381469 h 1701544"/>
                <a:gd name="connsiteX21" fmla="*/ 1090234 w 10575647"/>
                <a:gd name="connsiteY21" fmla="*/ 381469 h 1701544"/>
                <a:gd name="connsiteX22" fmla="*/ 1438900 w 10575647"/>
                <a:gd name="connsiteY22" fmla="*/ 1036061 h 1701544"/>
                <a:gd name="connsiteX23" fmla="*/ 1090234 w 10575647"/>
                <a:gd name="connsiteY23" fmla="*/ 1690649 h 1701544"/>
                <a:gd name="connsiteX24" fmla="*/ 1306185 w 10575647"/>
                <a:gd name="connsiteY24" fmla="*/ 1690649 h 1701544"/>
                <a:gd name="connsiteX25" fmla="*/ 2581808 w 10575647"/>
                <a:gd name="connsiteY25" fmla="*/ 828654 h 1701544"/>
                <a:gd name="connsiteX26" fmla="*/ 2317883 w 10575647"/>
                <a:gd name="connsiteY26" fmla="*/ 1129505 h 1701544"/>
                <a:gd name="connsiteX27" fmla="*/ 2065011 w 10575647"/>
                <a:gd name="connsiteY27" fmla="*/ 832338 h 1701544"/>
                <a:gd name="connsiteX28" fmla="*/ 2327068 w 10575647"/>
                <a:gd name="connsiteY28" fmla="*/ 525990 h 1701544"/>
                <a:gd name="connsiteX29" fmla="*/ 2581808 w 10575647"/>
                <a:gd name="connsiteY29" fmla="*/ 828654 h 1701544"/>
                <a:gd name="connsiteX30" fmla="*/ 2581808 w 10575647"/>
                <a:gd name="connsiteY30" fmla="*/ 1271563 h 1701544"/>
                <a:gd name="connsiteX31" fmla="*/ 2762608 w 10575647"/>
                <a:gd name="connsiteY31" fmla="*/ 1271563 h 1701544"/>
                <a:gd name="connsiteX32" fmla="*/ 2762608 w 10575647"/>
                <a:gd name="connsiteY32" fmla="*/ 0 h 1701544"/>
                <a:gd name="connsiteX33" fmla="*/ 2581808 w 10575647"/>
                <a:gd name="connsiteY33" fmla="*/ 0 h 1701544"/>
                <a:gd name="connsiteX34" fmla="*/ 2581808 w 10575647"/>
                <a:gd name="connsiteY34" fmla="*/ 476356 h 1701544"/>
                <a:gd name="connsiteX35" fmla="*/ 2297581 w 10575647"/>
                <a:gd name="connsiteY35" fmla="*/ 359885 h 1701544"/>
                <a:gd name="connsiteX36" fmla="*/ 1876785 w 10575647"/>
                <a:gd name="connsiteY36" fmla="*/ 830470 h 1701544"/>
                <a:gd name="connsiteX37" fmla="*/ 2297581 w 10575647"/>
                <a:gd name="connsiteY37" fmla="*/ 1291865 h 1701544"/>
                <a:gd name="connsiteX38" fmla="*/ 2581808 w 10575647"/>
                <a:gd name="connsiteY38" fmla="*/ 1163217 h 1701544"/>
                <a:gd name="connsiteX39" fmla="*/ 2581808 w 10575647"/>
                <a:gd name="connsiteY39" fmla="*/ 1271563 h 1701544"/>
                <a:gd name="connsiteX40" fmla="*/ 3437445 w 10575647"/>
                <a:gd name="connsiteY40" fmla="*/ 542393 h 1701544"/>
                <a:gd name="connsiteX41" fmla="*/ 3460310 w 10575647"/>
                <a:gd name="connsiteY41" fmla="*/ 545331 h 1701544"/>
                <a:gd name="connsiteX42" fmla="*/ 3460310 w 10575647"/>
                <a:gd name="connsiteY42" fmla="*/ 359885 h 1701544"/>
                <a:gd name="connsiteX43" fmla="*/ 3406830 w 10575647"/>
                <a:gd name="connsiteY43" fmla="*/ 359885 h 1701544"/>
                <a:gd name="connsiteX44" fmla="*/ 3231965 w 10575647"/>
                <a:gd name="connsiteY44" fmla="*/ 415877 h 1701544"/>
                <a:gd name="connsiteX45" fmla="*/ 3187194 w 10575647"/>
                <a:gd name="connsiteY45" fmla="*/ 462091 h 1701544"/>
                <a:gd name="connsiteX46" fmla="*/ 3187194 w 10575647"/>
                <a:gd name="connsiteY46" fmla="*/ 380187 h 1701544"/>
                <a:gd name="connsiteX47" fmla="*/ 3006395 w 10575647"/>
                <a:gd name="connsiteY47" fmla="*/ 380187 h 1701544"/>
                <a:gd name="connsiteX48" fmla="*/ 3006395 w 10575647"/>
                <a:gd name="connsiteY48" fmla="*/ 1271563 h 1701544"/>
                <a:gd name="connsiteX49" fmla="*/ 3187194 w 10575647"/>
                <a:gd name="connsiteY49" fmla="*/ 1271563 h 1701544"/>
                <a:gd name="connsiteX50" fmla="*/ 3187194 w 10575647"/>
                <a:gd name="connsiteY50" fmla="*/ 819411 h 1701544"/>
                <a:gd name="connsiteX51" fmla="*/ 3233517 w 10575647"/>
                <a:gd name="connsiteY51" fmla="*/ 629638 h 1701544"/>
                <a:gd name="connsiteX52" fmla="*/ 3401277 w 10575647"/>
                <a:gd name="connsiteY52" fmla="*/ 540683 h 1701544"/>
                <a:gd name="connsiteX53" fmla="*/ 3437445 w 10575647"/>
                <a:gd name="connsiteY53" fmla="*/ 542393 h 1701544"/>
                <a:gd name="connsiteX54" fmla="*/ 4250980 w 10575647"/>
                <a:gd name="connsiteY54" fmla="*/ 826838 h 1701544"/>
                <a:gd name="connsiteX55" fmla="*/ 3983364 w 10575647"/>
                <a:gd name="connsiteY55" fmla="*/ 1122077 h 1701544"/>
                <a:gd name="connsiteX56" fmla="*/ 3713875 w 10575647"/>
                <a:gd name="connsiteY56" fmla="*/ 826838 h 1701544"/>
                <a:gd name="connsiteX57" fmla="*/ 3985180 w 10575647"/>
                <a:gd name="connsiteY57" fmla="*/ 529677 h 1701544"/>
                <a:gd name="connsiteX58" fmla="*/ 4250980 w 10575647"/>
                <a:gd name="connsiteY58" fmla="*/ 826838 h 1701544"/>
                <a:gd name="connsiteX59" fmla="*/ 4435464 w 10575647"/>
                <a:gd name="connsiteY59" fmla="*/ 828654 h 1701544"/>
                <a:gd name="connsiteX60" fmla="*/ 3985180 w 10575647"/>
                <a:gd name="connsiteY60" fmla="*/ 359885 h 1701544"/>
                <a:gd name="connsiteX61" fmla="*/ 3529338 w 10575647"/>
                <a:gd name="connsiteY61" fmla="*/ 824916 h 1701544"/>
                <a:gd name="connsiteX62" fmla="*/ 3979622 w 10575647"/>
                <a:gd name="connsiteY62" fmla="*/ 1291865 h 1701544"/>
                <a:gd name="connsiteX63" fmla="*/ 4435464 w 10575647"/>
                <a:gd name="connsiteY63" fmla="*/ 828654 h 1701544"/>
                <a:gd name="connsiteX64" fmla="*/ 5261608 w 10575647"/>
                <a:gd name="connsiteY64" fmla="*/ 828654 h 1701544"/>
                <a:gd name="connsiteX65" fmla="*/ 5205508 w 10575647"/>
                <a:gd name="connsiteY65" fmla="*/ 1025854 h 1701544"/>
                <a:gd name="connsiteX66" fmla="*/ 5005052 w 10575647"/>
                <a:gd name="connsiteY66" fmla="*/ 1122077 h 1701544"/>
                <a:gd name="connsiteX67" fmla="*/ 4746675 w 10575647"/>
                <a:gd name="connsiteY67" fmla="*/ 823153 h 1701544"/>
                <a:gd name="connsiteX68" fmla="*/ 5008683 w 10575647"/>
                <a:gd name="connsiteY68" fmla="*/ 529677 h 1701544"/>
                <a:gd name="connsiteX69" fmla="*/ 5200378 w 10575647"/>
                <a:gd name="connsiteY69" fmla="*/ 617081 h 1701544"/>
                <a:gd name="connsiteX70" fmla="*/ 5261608 w 10575647"/>
                <a:gd name="connsiteY70" fmla="*/ 828654 h 1701544"/>
                <a:gd name="connsiteX71" fmla="*/ 5327264 w 10575647"/>
                <a:gd name="connsiteY71" fmla="*/ 1583314 h 1701544"/>
                <a:gd name="connsiteX72" fmla="*/ 5446113 w 10575647"/>
                <a:gd name="connsiteY72" fmla="*/ 1256819 h 1701544"/>
                <a:gd name="connsiteX73" fmla="*/ 5446113 w 10575647"/>
                <a:gd name="connsiteY73" fmla="*/ 380187 h 1701544"/>
                <a:gd name="connsiteX74" fmla="*/ 5265239 w 10575647"/>
                <a:gd name="connsiteY74" fmla="*/ 380187 h 1701544"/>
                <a:gd name="connsiteX75" fmla="*/ 5265239 w 10575647"/>
                <a:gd name="connsiteY75" fmla="*/ 488537 h 1701544"/>
                <a:gd name="connsiteX76" fmla="*/ 4982875 w 10575647"/>
                <a:gd name="connsiteY76" fmla="*/ 359885 h 1701544"/>
                <a:gd name="connsiteX77" fmla="*/ 4699394 w 10575647"/>
                <a:gd name="connsiteY77" fmla="*/ 465190 h 1701544"/>
                <a:gd name="connsiteX78" fmla="*/ 4558400 w 10575647"/>
                <a:gd name="connsiteY78" fmla="*/ 828654 h 1701544"/>
                <a:gd name="connsiteX79" fmla="*/ 4971816 w 10575647"/>
                <a:gd name="connsiteY79" fmla="*/ 1291865 h 1701544"/>
                <a:gd name="connsiteX80" fmla="*/ 5265239 w 10575647"/>
                <a:gd name="connsiteY80" fmla="*/ 1150553 h 1701544"/>
                <a:gd name="connsiteX81" fmla="*/ 5265239 w 10575647"/>
                <a:gd name="connsiteY81" fmla="*/ 1267931 h 1701544"/>
                <a:gd name="connsiteX82" fmla="*/ 5206095 w 10575647"/>
                <a:gd name="connsiteY82" fmla="*/ 1457116 h 1701544"/>
                <a:gd name="connsiteX83" fmla="*/ 4999546 w 10575647"/>
                <a:gd name="connsiteY83" fmla="*/ 1533625 h 1701544"/>
                <a:gd name="connsiteX84" fmla="*/ 4811695 w 10575647"/>
                <a:gd name="connsiteY84" fmla="*/ 1487409 h 1701544"/>
                <a:gd name="connsiteX85" fmla="*/ 4733588 w 10575647"/>
                <a:gd name="connsiteY85" fmla="*/ 1416300 h 1701544"/>
                <a:gd name="connsiteX86" fmla="*/ 4719215 w 10575647"/>
                <a:gd name="connsiteY86" fmla="*/ 1401339 h 1701544"/>
                <a:gd name="connsiteX87" fmla="*/ 4595103 w 10575647"/>
                <a:gd name="connsiteY87" fmla="*/ 1525451 h 1701544"/>
                <a:gd name="connsiteX88" fmla="*/ 4607819 w 10575647"/>
                <a:gd name="connsiteY88" fmla="*/ 1539824 h 1701544"/>
                <a:gd name="connsiteX89" fmla="*/ 4999546 w 10575647"/>
                <a:gd name="connsiteY89" fmla="*/ 1701544 h 1701544"/>
                <a:gd name="connsiteX90" fmla="*/ 5327264 w 10575647"/>
                <a:gd name="connsiteY90" fmla="*/ 1583314 h 1701544"/>
                <a:gd name="connsiteX91" fmla="*/ 6317923 w 10575647"/>
                <a:gd name="connsiteY91" fmla="*/ 747497 h 1701544"/>
                <a:gd name="connsiteX92" fmla="*/ 5805203 w 10575647"/>
                <a:gd name="connsiteY92" fmla="*/ 747497 h 1701544"/>
                <a:gd name="connsiteX93" fmla="*/ 5845913 w 10575647"/>
                <a:gd name="connsiteY93" fmla="*/ 635144 h 1701544"/>
                <a:gd name="connsiteX94" fmla="*/ 6057989 w 10575647"/>
                <a:gd name="connsiteY94" fmla="*/ 525990 h 1701544"/>
                <a:gd name="connsiteX95" fmla="*/ 6275730 w 10575647"/>
                <a:gd name="connsiteY95" fmla="*/ 633487 h 1701544"/>
                <a:gd name="connsiteX96" fmla="*/ 6317923 w 10575647"/>
                <a:gd name="connsiteY96" fmla="*/ 747497 h 1701544"/>
                <a:gd name="connsiteX97" fmla="*/ 6508188 w 10575647"/>
                <a:gd name="connsiteY97" fmla="*/ 872890 h 1701544"/>
                <a:gd name="connsiteX98" fmla="*/ 6510094 w 10575647"/>
                <a:gd name="connsiteY98" fmla="*/ 815779 h 1701544"/>
                <a:gd name="connsiteX99" fmla="*/ 6057989 w 10575647"/>
                <a:gd name="connsiteY99" fmla="*/ 359885 h 1701544"/>
                <a:gd name="connsiteX100" fmla="*/ 5609538 w 10575647"/>
                <a:gd name="connsiteY100" fmla="*/ 828654 h 1701544"/>
                <a:gd name="connsiteX101" fmla="*/ 6063495 w 10575647"/>
                <a:gd name="connsiteY101" fmla="*/ 1291865 h 1701544"/>
                <a:gd name="connsiteX102" fmla="*/ 6460066 w 10575647"/>
                <a:gd name="connsiteY102" fmla="*/ 1051710 h 1701544"/>
                <a:gd name="connsiteX103" fmla="*/ 6469966 w 10575647"/>
                <a:gd name="connsiteY103" fmla="*/ 1031572 h 1701544"/>
                <a:gd name="connsiteX104" fmla="*/ 6308923 w 10575647"/>
                <a:gd name="connsiteY104" fmla="*/ 971517 h 1701544"/>
                <a:gd name="connsiteX105" fmla="*/ 6300559 w 10575647"/>
                <a:gd name="connsiteY105" fmla="*/ 986689 h 1701544"/>
                <a:gd name="connsiteX106" fmla="*/ 6063495 w 10575647"/>
                <a:gd name="connsiteY106" fmla="*/ 1122077 h 1701544"/>
                <a:gd name="connsiteX107" fmla="*/ 5850784 w 10575647"/>
                <a:gd name="connsiteY107" fmla="*/ 1013832 h 1701544"/>
                <a:gd name="connsiteX108" fmla="*/ 5802132 w 10575647"/>
                <a:gd name="connsiteY108" fmla="*/ 891377 h 1701544"/>
                <a:gd name="connsiteX109" fmla="*/ 6506547 w 10575647"/>
                <a:gd name="connsiteY109" fmla="*/ 891377 h 1701544"/>
                <a:gd name="connsiteX110" fmla="*/ 6508188 w 10575647"/>
                <a:gd name="connsiteY110" fmla="*/ 872890 h 1701544"/>
                <a:gd name="connsiteX111" fmla="*/ 7205139 w 10575647"/>
                <a:gd name="connsiteY111" fmla="*/ 1271563 h 1701544"/>
                <a:gd name="connsiteX112" fmla="*/ 7385928 w 10575647"/>
                <a:gd name="connsiteY112" fmla="*/ 1271563 h 1701544"/>
                <a:gd name="connsiteX113" fmla="*/ 7385928 w 10575647"/>
                <a:gd name="connsiteY113" fmla="*/ 677294 h 1701544"/>
                <a:gd name="connsiteX114" fmla="*/ 7307154 w 10575647"/>
                <a:gd name="connsiteY114" fmla="*/ 435163 h 1701544"/>
                <a:gd name="connsiteX115" fmla="*/ 7096189 w 10575647"/>
                <a:gd name="connsiteY115" fmla="*/ 359885 h 1701544"/>
                <a:gd name="connsiteX116" fmla="*/ 6863625 w 10575647"/>
                <a:gd name="connsiteY116" fmla="*/ 463694 h 1701544"/>
                <a:gd name="connsiteX117" fmla="*/ 6863625 w 10575647"/>
                <a:gd name="connsiteY117" fmla="*/ 380187 h 1701544"/>
                <a:gd name="connsiteX118" fmla="*/ 6682836 w 10575647"/>
                <a:gd name="connsiteY118" fmla="*/ 380187 h 1701544"/>
                <a:gd name="connsiteX119" fmla="*/ 6682836 w 10575647"/>
                <a:gd name="connsiteY119" fmla="*/ 1271563 h 1701544"/>
                <a:gd name="connsiteX120" fmla="*/ 6863625 w 10575647"/>
                <a:gd name="connsiteY120" fmla="*/ 1271563 h 1701544"/>
                <a:gd name="connsiteX121" fmla="*/ 6863625 w 10575647"/>
                <a:gd name="connsiteY121" fmla="*/ 732701 h 1701544"/>
                <a:gd name="connsiteX122" fmla="*/ 6913971 w 10575647"/>
                <a:gd name="connsiteY122" fmla="*/ 591066 h 1701544"/>
                <a:gd name="connsiteX123" fmla="*/ 7061143 w 10575647"/>
                <a:gd name="connsiteY123" fmla="*/ 525990 h 1701544"/>
                <a:gd name="connsiteX124" fmla="*/ 7177769 w 10575647"/>
                <a:gd name="connsiteY124" fmla="*/ 575089 h 1701544"/>
                <a:gd name="connsiteX125" fmla="*/ 7205139 w 10575647"/>
                <a:gd name="connsiteY125" fmla="*/ 708709 h 1701544"/>
                <a:gd name="connsiteX126" fmla="*/ 7205139 w 10575647"/>
                <a:gd name="connsiteY126" fmla="*/ 1271563 h 1701544"/>
                <a:gd name="connsiteX127" fmla="*/ 7822309 w 10575647"/>
                <a:gd name="connsiteY127" fmla="*/ 162418 h 1701544"/>
                <a:gd name="connsiteX128" fmla="*/ 7713412 w 10575647"/>
                <a:gd name="connsiteY128" fmla="*/ 49847 h 1701544"/>
                <a:gd name="connsiteX129" fmla="*/ 7602662 w 10575647"/>
                <a:gd name="connsiteY129" fmla="*/ 160549 h 1701544"/>
                <a:gd name="connsiteX130" fmla="*/ 7711560 w 10575647"/>
                <a:gd name="connsiteY130" fmla="*/ 271303 h 1701544"/>
                <a:gd name="connsiteX131" fmla="*/ 7822309 w 10575647"/>
                <a:gd name="connsiteY131" fmla="*/ 162418 h 1701544"/>
                <a:gd name="connsiteX132" fmla="*/ 8704760 w 10575647"/>
                <a:gd name="connsiteY132" fmla="*/ 826838 h 1701544"/>
                <a:gd name="connsiteX133" fmla="*/ 8437150 w 10575647"/>
                <a:gd name="connsiteY133" fmla="*/ 1122077 h 1701544"/>
                <a:gd name="connsiteX134" fmla="*/ 8167740 w 10575647"/>
                <a:gd name="connsiteY134" fmla="*/ 826838 h 1701544"/>
                <a:gd name="connsiteX135" fmla="*/ 8439003 w 10575647"/>
                <a:gd name="connsiteY135" fmla="*/ 529677 h 1701544"/>
                <a:gd name="connsiteX136" fmla="*/ 8704760 w 10575647"/>
                <a:gd name="connsiteY136" fmla="*/ 826838 h 1701544"/>
                <a:gd name="connsiteX137" fmla="*/ 8889307 w 10575647"/>
                <a:gd name="connsiteY137" fmla="*/ 828654 h 1701544"/>
                <a:gd name="connsiteX138" fmla="*/ 8439003 w 10575647"/>
                <a:gd name="connsiteY138" fmla="*/ 359885 h 1701544"/>
                <a:gd name="connsiteX139" fmla="*/ 7983193 w 10575647"/>
                <a:gd name="connsiteY139" fmla="*/ 824916 h 1701544"/>
                <a:gd name="connsiteX140" fmla="*/ 8433444 w 10575647"/>
                <a:gd name="connsiteY140" fmla="*/ 1291865 h 1701544"/>
                <a:gd name="connsiteX141" fmla="*/ 8889307 w 10575647"/>
                <a:gd name="connsiteY141" fmla="*/ 828654 h 1701544"/>
                <a:gd name="connsiteX142" fmla="*/ 9658150 w 10575647"/>
                <a:gd name="connsiteY142" fmla="*/ 1197940 h 1701544"/>
                <a:gd name="connsiteX143" fmla="*/ 9749630 w 10575647"/>
                <a:gd name="connsiteY143" fmla="*/ 944968 h 1701544"/>
                <a:gd name="connsiteX144" fmla="*/ 9749630 w 10575647"/>
                <a:gd name="connsiteY144" fmla="*/ 380187 h 1701544"/>
                <a:gd name="connsiteX145" fmla="*/ 9566988 w 10575647"/>
                <a:gd name="connsiteY145" fmla="*/ 380187 h 1701544"/>
                <a:gd name="connsiteX146" fmla="*/ 9566988 w 10575647"/>
                <a:gd name="connsiteY146" fmla="*/ 944968 h 1701544"/>
                <a:gd name="connsiteX147" fmla="*/ 9535012 w 10575647"/>
                <a:gd name="connsiteY147" fmla="*/ 1068222 h 1701544"/>
                <a:gd name="connsiteX148" fmla="*/ 9399010 w 10575647"/>
                <a:gd name="connsiteY148" fmla="*/ 1125815 h 1701544"/>
                <a:gd name="connsiteX149" fmla="*/ 9229233 w 10575647"/>
                <a:gd name="connsiteY149" fmla="*/ 941225 h 1701544"/>
                <a:gd name="connsiteX150" fmla="*/ 9229233 w 10575647"/>
                <a:gd name="connsiteY150" fmla="*/ 380187 h 1701544"/>
                <a:gd name="connsiteX151" fmla="*/ 9048391 w 10575647"/>
                <a:gd name="connsiteY151" fmla="*/ 380187 h 1701544"/>
                <a:gd name="connsiteX152" fmla="*/ 9048391 w 10575647"/>
                <a:gd name="connsiteY152" fmla="*/ 944968 h 1701544"/>
                <a:gd name="connsiteX153" fmla="*/ 9139659 w 10575647"/>
                <a:gd name="connsiteY153" fmla="*/ 1195965 h 1701544"/>
                <a:gd name="connsiteX154" fmla="*/ 9399010 w 10575647"/>
                <a:gd name="connsiteY154" fmla="*/ 1291865 h 1701544"/>
                <a:gd name="connsiteX155" fmla="*/ 9658150 w 10575647"/>
                <a:gd name="connsiteY155" fmla="*/ 1197945 h 1701544"/>
                <a:gd name="connsiteX156" fmla="*/ 10385594 w 10575647"/>
                <a:gd name="connsiteY156" fmla="*/ 653307 h 1701544"/>
                <a:gd name="connsiteX157" fmla="*/ 10567335 w 10575647"/>
                <a:gd name="connsiteY157" fmla="*/ 653307 h 1701544"/>
                <a:gd name="connsiteX158" fmla="*/ 10566383 w 10575647"/>
                <a:gd name="connsiteY158" fmla="*/ 632041 h 1701544"/>
                <a:gd name="connsiteX159" fmla="*/ 10249009 w 10575647"/>
                <a:gd name="connsiteY159" fmla="*/ 359885 h 1701544"/>
                <a:gd name="connsiteX160" fmla="*/ 9929730 w 10575647"/>
                <a:gd name="connsiteY160" fmla="*/ 627446 h 1701544"/>
                <a:gd name="connsiteX161" fmla="*/ 10212587 w 10575647"/>
                <a:gd name="connsiteY161" fmla="*/ 903611 h 1701544"/>
                <a:gd name="connsiteX162" fmla="*/ 10391099 w 10575647"/>
                <a:gd name="connsiteY162" fmla="*/ 1031625 h 1701544"/>
                <a:gd name="connsiteX163" fmla="*/ 10252715 w 10575647"/>
                <a:gd name="connsiteY163" fmla="*/ 1136874 h 1701544"/>
                <a:gd name="connsiteX164" fmla="*/ 10093843 w 10575647"/>
                <a:gd name="connsiteY164" fmla="*/ 1007579 h 1701544"/>
                <a:gd name="connsiteX165" fmla="*/ 10092096 w 10575647"/>
                <a:gd name="connsiteY165" fmla="*/ 989257 h 1701544"/>
                <a:gd name="connsiteX166" fmla="*/ 9913054 w 10575647"/>
                <a:gd name="connsiteY166" fmla="*/ 989257 h 1701544"/>
                <a:gd name="connsiteX167" fmla="*/ 9915066 w 10575647"/>
                <a:gd name="connsiteY167" fmla="*/ 1011216 h 1701544"/>
                <a:gd name="connsiteX168" fmla="*/ 10252715 w 10575647"/>
                <a:gd name="connsiteY168" fmla="*/ 1291865 h 1701544"/>
                <a:gd name="connsiteX169" fmla="*/ 10575647 w 10575647"/>
                <a:gd name="connsiteY169" fmla="*/ 1024303 h 1701544"/>
                <a:gd name="connsiteX170" fmla="*/ 10501426 w 10575647"/>
                <a:gd name="connsiteY170" fmla="*/ 843879 h 1701544"/>
                <a:gd name="connsiteX171" fmla="*/ 10285750 w 10575647"/>
                <a:gd name="connsiteY171" fmla="*/ 740769 h 1701544"/>
                <a:gd name="connsiteX172" fmla="*/ 10110519 w 10575647"/>
                <a:gd name="connsiteY172" fmla="*/ 616440 h 1701544"/>
                <a:gd name="connsiteX173" fmla="*/ 10243398 w 10575647"/>
                <a:gd name="connsiteY173" fmla="*/ 514877 h 1701544"/>
                <a:gd name="connsiteX174" fmla="*/ 10385594 w 10575647"/>
                <a:gd name="connsiteY174" fmla="*/ 623762 h 1701544"/>
                <a:gd name="connsiteX175" fmla="*/ 10385594 w 10575647"/>
                <a:gd name="connsiteY175" fmla="*/ 653307 h 170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10575647" h="1701544">
                  <a:moveTo>
                    <a:pt x="7802033" y="380187"/>
                  </a:moveTo>
                  <a:lnTo>
                    <a:pt x="7621138" y="380187"/>
                  </a:lnTo>
                  <a:lnTo>
                    <a:pt x="7621138" y="1271563"/>
                  </a:lnTo>
                  <a:lnTo>
                    <a:pt x="7802033" y="1271563"/>
                  </a:lnTo>
                  <a:lnTo>
                    <a:pt x="7802033" y="380187"/>
                  </a:lnTo>
                  <a:close/>
                  <a:moveTo>
                    <a:pt x="706522" y="1271563"/>
                  </a:moveTo>
                  <a:lnTo>
                    <a:pt x="902065" y="1271563"/>
                  </a:lnTo>
                  <a:lnTo>
                    <a:pt x="902065" y="0"/>
                  </a:lnTo>
                  <a:lnTo>
                    <a:pt x="706522" y="0"/>
                  </a:lnTo>
                  <a:lnTo>
                    <a:pt x="706522" y="553717"/>
                  </a:lnTo>
                  <a:lnTo>
                    <a:pt x="195543" y="553717"/>
                  </a:lnTo>
                  <a:lnTo>
                    <a:pt x="195543" y="0"/>
                  </a:lnTo>
                  <a:lnTo>
                    <a:pt x="0" y="0"/>
                  </a:lnTo>
                  <a:lnTo>
                    <a:pt x="0" y="1271563"/>
                  </a:lnTo>
                  <a:lnTo>
                    <a:pt x="195543" y="1271563"/>
                  </a:lnTo>
                  <a:lnTo>
                    <a:pt x="195543" y="727142"/>
                  </a:lnTo>
                  <a:lnTo>
                    <a:pt x="706522" y="727142"/>
                  </a:lnTo>
                  <a:lnTo>
                    <a:pt x="706522" y="1271563"/>
                  </a:lnTo>
                  <a:close/>
                  <a:moveTo>
                    <a:pt x="1306185" y="1690649"/>
                  </a:moveTo>
                  <a:lnTo>
                    <a:pt x="1654904" y="1036061"/>
                  </a:lnTo>
                  <a:lnTo>
                    <a:pt x="1306185" y="381469"/>
                  </a:lnTo>
                  <a:lnTo>
                    <a:pt x="1090234" y="381469"/>
                  </a:lnTo>
                  <a:lnTo>
                    <a:pt x="1438900" y="1036061"/>
                  </a:lnTo>
                  <a:lnTo>
                    <a:pt x="1090234" y="1690649"/>
                  </a:lnTo>
                  <a:lnTo>
                    <a:pt x="1306185" y="1690649"/>
                  </a:lnTo>
                  <a:close/>
                  <a:moveTo>
                    <a:pt x="2581808" y="828654"/>
                  </a:moveTo>
                  <a:cubicBezTo>
                    <a:pt x="2581808" y="1002989"/>
                    <a:pt x="2470789" y="1129505"/>
                    <a:pt x="2317883" y="1129505"/>
                  </a:cubicBezTo>
                  <a:cubicBezTo>
                    <a:pt x="2168980" y="1129505"/>
                    <a:pt x="2065011" y="1007262"/>
                    <a:pt x="2065011" y="832338"/>
                  </a:cubicBezTo>
                  <a:cubicBezTo>
                    <a:pt x="2065011" y="649088"/>
                    <a:pt x="2170314" y="525990"/>
                    <a:pt x="2327068" y="525990"/>
                  </a:cubicBezTo>
                  <a:cubicBezTo>
                    <a:pt x="2479444" y="525990"/>
                    <a:pt x="2581808" y="647590"/>
                    <a:pt x="2581808" y="828654"/>
                  </a:cubicBezTo>
                  <a:moveTo>
                    <a:pt x="2581808" y="1271563"/>
                  </a:moveTo>
                  <a:lnTo>
                    <a:pt x="2762608" y="1271563"/>
                  </a:lnTo>
                  <a:lnTo>
                    <a:pt x="2762608" y="0"/>
                  </a:lnTo>
                  <a:lnTo>
                    <a:pt x="2581808" y="0"/>
                  </a:lnTo>
                  <a:lnTo>
                    <a:pt x="2581808" y="476356"/>
                  </a:lnTo>
                  <a:cubicBezTo>
                    <a:pt x="2503431" y="397017"/>
                    <a:pt x="2412449" y="359885"/>
                    <a:pt x="2297581" y="359885"/>
                  </a:cubicBezTo>
                  <a:cubicBezTo>
                    <a:pt x="2057690" y="359885"/>
                    <a:pt x="1876785" y="562214"/>
                    <a:pt x="1876785" y="830470"/>
                  </a:cubicBezTo>
                  <a:cubicBezTo>
                    <a:pt x="1876785" y="1102145"/>
                    <a:pt x="2049839" y="1291865"/>
                    <a:pt x="2297581" y="1291865"/>
                  </a:cubicBezTo>
                  <a:cubicBezTo>
                    <a:pt x="2414371" y="1291865"/>
                    <a:pt x="2503061" y="1251959"/>
                    <a:pt x="2581808" y="1163217"/>
                  </a:cubicBezTo>
                  <a:lnTo>
                    <a:pt x="2581808" y="1271563"/>
                  </a:lnTo>
                  <a:close/>
                  <a:moveTo>
                    <a:pt x="3437445" y="542393"/>
                  </a:moveTo>
                  <a:lnTo>
                    <a:pt x="3460310" y="545331"/>
                  </a:lnTo>
                  <a:lnTo>
                    <a:pt x="3460310" y="359885"/>
                  </a:lnTo>
                  <a:lnTo>
                    <a:pt x="3406830" y="359885"/>
                  </a:lnTo>
                  <a:cubicBezTo>
                    <a:pt x="3341169" y="359885"/>
                    <a:pt x="3277430" y="380294"/>
                    <a:pt x="3231965" y="415877"/>
                  </a:cubicBezTo>
                  <a:cubicBezTo>
                    <a:pt x="3213690" y="430035"/>
                    <a:pt x="3199693" y="444353"/>
                    <a:pt x="3187194" y="462091"/>
                  </a:cubicBezTo>
                  <a:lnTo>
                    <a:pt x="3187194" y="380187"/>
                  </a:lnTo>
                  <a:lnTo>
                    <a:pt x="3006395" y="380187"/>
                  </a:lnTo>
                  <a:lnTo>
                    <a:pt x="3006395" y="1271563"/>
                  </a:lnTo>
                  <a:lnTo>
                    <a:pt x="3187194" y="1271563"/>
                  </a:lnTo>
                  <a:lnTo>
                    <a:pt x="3187194" y="819411"/>
                  </a:lnTo>
                  <a:cubicBezTo>
                    <a:pt x="3187194" y="727783"/>
                    <a:pt x="3198894" y="679915"/>
                    <a:pt x="3233517" y="629638"/>
                  </a:cubicBezTo>
                  <a:cubicBezTo>
                    <a:pt x="3272300" y="572310"/>
                    <a:pt x="3331926" y="540683"/>
                    <a:pt x="3401277" y="540683"/>
                  </a:cubicBezTo>
                  <a:cubicBezTo>
                    <a:pt x="3410356" y="540683"/>
                    <a:pt x="3423983" y="540683"/>
                    <a:pt x="3437445" y="542393"/>
                  </a:cubicBezTo>
                  <a:moveTo>
                    <a:pt x="4250980" y="826838"/>
                  </a:moveTo>
                  <a:cubicBezTo>
                    <a:pt x="4250980" y="1000692"/>
                    <a:pt x="4140918" y="1122077"/>
                    <a:pt x="3983364" y="1122077"/>
                  </a:cubicBezTo>
                  <a:cubicBezTo>
                    <a:pt x="3822174" y="1122077"/>
                    <a:pt x="3713875" y="1003466"/>
                    <a:pt x="3713875" y="826838"/>
                  </a:cubicBezTo>
                  <a:cubicBezTo>
                    <a:pt x="3713875" y="649088"/>
                    <a:pt x="3822920" y="529677"/>
                    <a:pt x="3985180" y="529677"/>
                  </a:cubicBezTo>
                  <a:cubicBezTo>
                    <a:pt x="4144179" y="529677"/>
                    <a:pt x="4250980" y="649088"/>
                    <a:pt x="4250980" y="826838"/>
                  </a:cubicBezTo>
                  <a:moveTo>
                    <a:pt x="4435464" y="828654"/>
                  </a:moveTo>
                  <a:cubicBezTo>
                    <a:pt x="4435464" y="557084"/>
                    <a:pt x="4246120" y="359885"/>
                    <a:pt x="3985180" y="359885"/>
                  </a:cubicBezTo>
                  <a:cubicBezTo>
                    <a:pt x="3716818" y="359885"/>
                    <a:pt x="3529338" y="551155"/>
                    <a:pt x="3529338" y="824916"/>
                  </a:cubicBezTo>
                  <a:cubicBezTo>
                    <a:pt x="3529338" y="1099848"/>
                    <a:pt x="3714521" y="1291865"/>
                    <a:pt x="3979622" y="1291865"/>
                  </a:cubicBezTo>
                  <a:cubicBezTo>
                    <a:pt x="4235272" y="1291865"/>
                    <a:pt x="4435464" y="1088418"/>
                    <a:pt x="4435464" y="828654"/>
                  </a:cubicBezTo>
                  <a:moveTo>
                    <a:pt x="5261608" y="828654"/>
                  </a:moveTo>
                  <a:cubicBezTo>
                    <a:pt x="5261608" y="909382"/>
                    <a:pt x="5239596" y="986748"/>
                    <a:pt x="5205508" y="1025854"/>
                  </a:cubicBezTo>
                  <a:cubicBezTo>
                    <a:pt x="5153150" y="1087026"/>
                    <a:pt x="5080062" y="1122077"/>
                    <a:pt x="5005052" y="1122077"/>
                  </a:cubicBezTo>
                  <a:cubicBezTo>
                    <a:pt x="4855296" y="1122077"/>
                    <a:pt x="4746675" y="996361"/>
                    <a:pt x="4746675" y="823153"/>
                  </a:cubicBezTo>
                  <a:cubicBezTo>
                    <a:pt x="4746675" y="650316"/>
                    <a:pt x="4854386" y="529677"/>
                    <a:pt x="5008683" y="529677"/>
                  </a:cubicBezTo>
                  <a:cubicBezTo>
                    <a:pt x="5078193" y="529677"/>
                    <a:pt x="5151652" y="563177"/>
                    <a:pt x="5200378" y="617081"/>
                  </a:cubicBezTo>
                  <a:cubicBezTo>
                    <a:pt x="5246112" y="667892"/>
                    <a:pt x="5261608" y="721266"/>
                    <a:pt x="5261608" y="828654"/>
                  </a:cubicBezTo>
                  <a:moveTo>
                    <a:pt x="5327264" y="1583314"/>
                  </a:moveTo>
                  <a:cubicBezTo>
                    <a:pt x="5409426" y="1504990"/>
                    <a:pt x="5446113" y="1404277"/>
                    <a:pt x="5446113" y="1256819"/>
                  </a:cubicBezTo>
                  <a:lnTo>
                    <a:pt x="5446113" y="380187"/>
                  </a:lnTo>
                  <a:lnTo>
                    <a:pt x="5265239" y="380187"/>
                  </a:lnTo>
                  <a:lnTo>
                    <a:pt x="5265239" y="488537"/>
                  </a:lnTo>
                  <a:cubicBezTo>
                    <a:pt x="5186005" y="398673"/>
                    <a:pt x="5100153" y="359885"/>
                    <a:pt x="4982875" y="359885"/>
                  </a:cubicBezTo>
                  <a:cubicBezTo>
                    <a:pt x="4866567" y="359885"/>
                    <a:pt x="4771201" y="395361"/>
                    <a:pt x="4699394" y="465190"/>
                  </a:cubicBezTo>
                  <a:cubicBezTo>
                    <a:pt x="4611080" y="549710"/>
                    <a:pt x="4558400" y="685574"/>
                    <a:pt x="4558400" y="828654"/>
                  </a:cubicBezTo>
                  <a:cubicBezTo>
                    <a:pt x="4558400" y="1092743"/>
                    <a:pt x="4736097" y="1291865"/>
                    <a:pt x="4971816" y="1291865"/>
                  </a:cubicBezTo>
                  <a:cubicBezTo>
                    <a:pt x="5092032" y="1291865"/>
                    <a:pt x="5185952" y="1246830"/>
                    <a:pt x="5265239" y="1150553"/>
                  </a:cubicBezTo>
                  <a:lnTo>
                    <a:pt x="5265239" y="1267931"/>
                  </a:lnTo>
                  <a:cubicBezTo>
                    <a:pt x="5265239" y="1350745"/>
                    <a:pt x="5245313" y="1414431"/>
                    <a:pt x="5206095" y="1457116"/>
                  </a:cubicBezTo>
                  <a:cubicBezTo>
                    <a:pt x="5162288" y="1504291"/>
                    <a:pt x="5083159" y="1533625"/>
                    <a:pt x="4999546" y="1533625"/>
                  </a:cubicBezTo>
                  <a:cubicBezTo>
                    <a:pt x="4932122" y="1533625"/>
                    <a:pt x="4856471" y="1514979"/>
                    <a:pt x="4811695" y="1487409"/>
                  </a:cubicBezTo>
                  <a:cubicBezTo>
                    <a:pt x="4788777" y="1471596"/>
                    <a:pt x="4771254" y="1455624"/>
                    <a:pt x="4733588" y="1416300"/>
                  </a:cubicBezTo>
                  <a:lnTo>
                    <a:pt x="4719215" y="1401339"/>
                  </a:lnTo>
                  <a:lnTo>
                    <a:pt x="4595103" y="1525451"/>
                  </a:lnTo>
                  <a:lnTo>
                    <a:pt x="4607819" y="1539824"/>
                  </a:lnTo>
                  <a:cubicBezTo>
                    <a:pt x="4703719" y="1647106"/>
                    <a:pt x="4835528" y="1701544"/>
                    <a:pt x="4999546" y="1701544"/>
                  </a:cubicBezTo>
                  <a:cubicBezTo>
                    <a:pt x="5134664" y="1701544"/>
                    <a:pt x="5247981" y="1660675"/>
                    <a:pt x="5327264" y="1583314"/>
                  </a:cubicBezTo>
                  <a:moveTo>
                    <a:pt x="6317923" y="747497"/>
                  </a:moveTo>
                  <a:lnTo>
                    <a:pt x="5805203" y="747497"/>
                  </a:lnTo>
                  <a:cubicBezTo>
                    <a:pt x="5814785" y="696051"/>
                    <a:pt x="5825267" y="667627"/>
                    <a:pt x="5845913" y="635144"/>
                  </a:cubicBezTo>
                  <a:cubicBezTo>
                    <a:pt x="5892024" y="566756"/>
                    <a:pt x="5971327" y="525990"/>
                    <a:pt x="6057989" y="525990"/>
                  </a:cubicBezTo>
                  <a:cubicBezTo>
                    <a:pt x="6144228" y="525990"/>
                    <a:pt x="6225702" y="566274"/>
                    <a:pt x="6275730" y="633487"/>
                  </a:cubicBezTo>
                  <a:cubicBezTo>
                    <a:pt x="6300453" y="669067"/>
                    <a:pt x="6312047" y="699841"/>
                    <a:pt x="6317923" y="747497"/>
                  </a:cubicBezTo>
                  <a:moveTo>
                    <a:pt x="6508188" y="872890"/>
                  </a:moveTo>
                  <a:cubicBezTo>
                    <a:pt x="6510094" y="851683"/>
                    <a:pt x="6510094" y="827426"/>
                    <a:pt x="6510094" y="815779"/>
                  </a:cubicBezTo>
                  <a:cubicBezTo>
                    <a:pt x="6510094" y="555909"/>
                    <a:pt x="6315700" y="359885"/>
                    <a:pt x="6057989" y="359885"/>
                  </a:cubicBezTo>
                  <a:cubicBezTo>
                    <a:pt x="5798109" y="359885"/>
                    <a:pt x="5609538" y="557084"/>
                    <a:pt x="5609538" y="828654"/>
                  </a:cubicBezTo>
                  <a:cubicBezTo>
                    <a:pt x="5609538" y="1097074"/>
                    <a:pt x="5800491" y="1291865"/>
                    <a:pt x="6063495" y="1291865"/>
                  </a:cubicBezTo>
                  <a:cubicBezTo>
                    <a:pt x="6235020" y="1291865"/>
                    <a:pt x="6386956" y="1199867"/>
                    <a:pt x="6460066" y="1051710"/>
                  </a:cubicBezTo>
                  <a:lnTo>
                    <a:pt x="6469966" y="1031572"/>
                  </a:lnTo>
                  <a:lnTo>
                    <a:pt x="6308923" y="971517"/>
                  </a:lnTo>
                  <a:lnTo>
                    <a:pt x="6300559" y="986689"/>
                  </a:lnTo>
                  <a:cubicBezTo>
                    <a:pt x="6254237" y="1068968"/>
                    <a:pt x="6161169" y="1122077"/>
                    <a:pt x="6063495" y="1122077"/>
                  </a:cubicBezTo>
                  <a:cubicBezTo>
                    <a:pt x="5977415" y="1122077"/>
                    <a:pt x="5901923" y="1083664"/>
                    <a:pt x="5850784" y="1013832"/>
                  </a:cubicBezTo>
                  <a:cubicBezTo>
                    <a:pt x="5821932" y="975900"/>
                    <a:pt x="5809438" y="945021"/>
                    <a:pt x="5802132" y="891377"/>
                  </a:cubicBezTo>
                  <a:lnTo>
                    <a:pt x="6506547" y="891377"/>
                  </a:lnTo>
                  <a:lnTo>
                    <a:pt x="6508188" y="872890"/>
                  </a:lnTo>
                  <a:close/>
                  <a:moveTo>
                    <a:pt x="7205139" y="1271563"/>
                  </a:moveTo>
                  <a:lnTo>
                    <a:pt x="7385928" y="1271563"/>
                  </a:lnTo>
                  <a:lnTo>
                    <a:pt x="7385928" y="677294"/>
                  </a:lnTo>
                  <a:cubicBezTo>
                    <a:pt x="7385928" y="554734"/>
                    <a:pt x="7365387" y="491422"/>
                    <a:pt x="7307154" y="435163"/>
                  </a:cubicBezTo>
                  <a:cubicBezTo>
                    <a:pt x="7252520" y="386599"/>
                    <a:pt x="7177557" y="359885"/>
                    <a:pt x="7096189" y="359885"/>
                  </a:cubicBezTo>
                  <a:cubicBezTo>
                    <a:pt x="7000739" y="359885"/>
                    <a:pt x="6929853" y="391193"/>
                    <a:pt x="6863625" y="463694"/>
                  </a:cubicBezTo>
                  <a:lnTo>
                    <a:pt x="6863625" y="380187"/>
                  </a:lnTo>
                  <a:lnTo>
                    <a:pt x="6682836" y="380187"/>
                  </a:lnTo>
                  <a:lnTo>
                    <a:pt x="6682836" y="1271563"/>
                  </a:lnTo>
                  <a:lnTo>
                    <a:pt x="6863625" y="1271563"/>
                  </a:lnTo>
                  <a:lnTo>
                    <a:pt x="6863625" y="732701"/>
                  </a:lnTo>
                  <a:cubicBezTo>
                    <a:pt x="6863625" y="667839"/>
                    <a:pt x="6876278" y="632147"/>
                    <a:pt x="6913971" y="591066"/>
                  </a:cubicBezTo>
                  <a:cubicBezTo>
                    <a:pt x="6951505" y="548481"/>
                    <a:pt x="7002433" y="525990"/>
                    <a:pt x="7061143" y="525990"/>
                  </a:cubicBezTo>
                  <a:cubicBezTo>
                    <a:pt x="7110748" y="525990"/>
                    <a:pt x="7155428" y="544744"/>
                    <a:pt x="7177769" y="575089"/>
                  </a:cubicBezTo>
                  <a:cubicBezTo>
                    <a:pt x="7197410" y="601215"/>
                    <a:pt x="7205139" y="638722"/>
                    <a:pt x="7205139" y="708709"/>
                  </a:cubicBezTo>
                  <a:lnTo>
                    <a:pt x="7205139" y="1271563"/>
                  </a:lnTo>
                  <a:close/>
                  <a:moveTo>
                    <a:pt x="7822309" y="162418"/>
                  </a:moveTo>
                  <a:cubicBezTo>
                    <a:pt x="7822309" y="99268"/>
                    <a:pt x="7774452" y="49847"/>
                    <a:pt x="7713412" y="49847"/>
                  </a:cubicBezTo>
                  <a:cubicBezTo>
                    <a:pt x="7650255" y="49847"/>
                    <a:pt x="7602662" y="97451"/>
                    <a:pt x="7602662" y="160549"/>
                  </a:cubicBezTo>
                  <a:cubicBezTo>
                    <a:pt x="7602662" y="223699"/>
                    <a:pt x="7649514" y="271303"/>
                    <a:pt x="7711560" y="271303"/>
                  </a:cubicBezTo>
                  <a:cubicBezTo>
                    <a:pt x="7773711" y="271303"/>
                    <a:pt x="7822309" y="223432"/>
                    <a:pt x="7822309" y="162418"/>
                  </a:cubicBezTo>
                  <a:moveTo>
                    <a:pt x="8704760" y="826838"/>
                  </a:moveTo>
                  <a:cubicBezTo>
                    <a:pt x="8704760" y="1000692"/>
                    <a:pt x="8594751" y="1122077"/>
                    <a:pt x="8437150" y="1122077"/>
                  </a:cubicBezTo>
                  <a:cubicBezTo>
                    <a:pt x="8276002" y="1122077"/>
                    <a:pt x="8167740" y="1003466"/>
                    <a:pt x="8167740" y="826838"/>
                  </a:cubicBezTo>
                  <a:cubicBezTo>
                    <a:pt x="8167740" y="649088"/>
                    <a:pt x="8276743" y="529677"/>
                    <a:pt x="8439003" y="529677"/>
                  </a:cubicBezTo>
                  <a:cubicBezTo>
                    <a:pt x="8597980" y="529677"/>
                    <a:pt x="8704760" y="649088"/>
                    <a:pt x="8704760" y="826838"/>
                  </a:cubicBezTo>
                  <a:moveTo>
                    <a:pt x="8889307" y="828654"/>
                  </a:moveTo>
                  <a:cubicBezTo>
                    <a:pt x="8889307" y="557084"/>
                    <a:pt x="8699942" y="359885"/>
                    <a:pt x="8439003" y="359885"/>
                  </a:cubicBezTo>
                  <a:cubicBezTo>
                    <a:pt x="8170652" y="359885"/>
                    <a:pt x="7983193" y="551155"/>
                    <a:pt x="7983193" y="824916"/>
                  </a:cubicBezTo>
                  <a:cubicBezTo>
                    <a:pt x="7983193" y="1099848"/>
                    <a:pt x="8168375" y="1291865"/>
                    <a:pt x="8433444" y="1291865"/>
                  </a:cubicBezTo>
                  <a:cubicBezTo>
                    <a:pt x="8689089" y="1291865"/>
                    <a:pt x="8889307" y="1088418"/>
                    <a:pt x="8889307" y="828654"/>
                  </a:cubicBezTo>
                  <a:moveTo>
                    <a:pt x="9658150" y="1197940"/>
                  </a:moveTo>
                  <a:cubicBezTo>
                    <a:pt x="9724854" y="1137144"/>
                    <a:pt x="9749630" y="1068539"/>
                    <a:pt x="9749630" y="944968"/>
                  </a:cubicBezTo>
                  <a:lnTo>
                    <a:pt x="9749630" y="380187"/>
                  </a:lnTo>
                  <a:lnTo>
                    <a:pt x="9566988" y="380187"/>
                  </a:lnTo>
                  <a:lnTo>
                    <a:pt x="9566988" y="944968"/>
                  </a:lnTo>
                  <a:cubicBezTo>
                    <a:pt x="9566988" y="1008437"/>
                    <a:pt x="9558835" y="1039587"/>
                    <a:pt x="9535012" y="1068222"/>
                  </a:cubicBezTo>
                  <a:cubicBezTo>
                    <a:pt x="9503831" y="1104284"/>
                    <a:pt x="9453009" y="1125815"/>
                    <a:pt x="9399010" y="1125815"/>
                  </a:cubicBezTo>
                  <a:cubicBezTo>
                    <a:pt x="9299060" y="1125815"/>
                    <a:pt x="9229233" y="1049947"/>
                    <a:pt x="9229233" y="941225"/>
                  </a:cubicBezTo>
                  <a:lnTo>
                    <a:pt x="9229233" y="380187"/>
                  </a:lnTo>
                  <a:lnTo>
                    <a:pt x="9048391" y="380187"/>
                  </a:lnTo>
                  <a:lnTo>
                    <a:pt x="9048391" y="944968"/>
                  </a:lnTo>
                  <a:cubicBezTo>
                    <a:pt x="9048391" y="1054330"/>
                    <a:pt x="9078249" y="1136392"/>
                    <a:pt x="9139659" y="1195965"/>
                  </a:cubicBezTo>
                  <a:cubicBezTo>
                    <a:pt x="9204563" y="1256925"/>
                    <a:pt x="9299113" y="1291865"/>
                    <a:pt x="9399010" y="1291865"/>
                  </a:cubicBezTo>
                  <a:cubicBezTo>
                    <a:pt x="9499701" y="1291865"/>
                    <a:pt x="9591763" y="1258529"/>
                    <a:pt x="9658150" y="1197945"/>
                  </a:cubicBezTo>
                  <a:moveTo>
                    <a:pt x="10385594" y="653307"/>
                  </a:moveTo>
                  <a:lnTo>
                    <a:pt x="10567335" y="653307"/>
                  </a:lnTo>
                  <a:lnTo>
                    <a:pt x="10566383" y="632041"/>
                  </a:lnTo>
                  <a:cubicBezTo>
                    <a:pt x="10558442" y="459099"/>
                    <a:pt x="10442768" y="359885"/>
                    <a:pt x="10249009" y="359885"/>
                  </a:cubicBezTo>
                  <a:cubicBezTo>
                    <a:pt x="10058003" y="359885"/>
                    <a:pt x="9929730" y="467434"/>
                    <a:pt x="9929730" y="627446"/>
                  </a:cubicBezTo>
                  <a:cubicBezTo>
                    <a:pt x="9929730" y="765666"/>
                    <a:pt x="10016922" y="850825"/>
                    <a:pt x="10212587" y="903611"/>
                  </a:cubicBezTo>
                  <a:cubicBezTo>
                    <a:pt x="10347689" y="937858"/>
                    <a:pt x="10391099" y="968955"/>
                    <a:pt x="10391099" y="1031625"/>
                  </a:cubicBezTo>
                  <a:cubicBezTo>
                    <a:pt x="10391099" y="1095576"/>
                    <a:pt x="10336730" y="1136874"/>
                    <a:pt x="10252715" y="1136874"/>
                  </a:cubicBezTo>
                  <a:cubicBezTo>
                    <a:pt x="10155517" y="1136874"/>
                    <a:pt x="10102102" y="1093384"/>
                    <a:pt x="10093843" y="1007579"/>
                  </a:cubicBezTo>
                  <a:lnTo>
                    <a:pt x="10092096" y="989257"/>
                  </a:lnTo>
                  <a:lnTo>
                    <a:pt x="9913054" y="989257"/>
                  </a:lnTo>
                  <a:lnTo>
                    <a:pt x="9915066" y="1011216"/>
                  </a:lnTo>
                  <a:cubicBezTo>
                    <a:pt x="9930789" y="1194843"/>
                    <a:pt x="10047626" y="1291865"/>
                    <a:pt x="10252715" y="1291865"/>
                  </a:cubicBezTo>
                  <a:cubicBezTo>
                    <a:pt x="10445839" y="1291865"/>
                    <a:pt x="10575647" y="1184371"/>
                    <a:pt x="10575647" y="1024303"/>
                  </a:cubicBezTo>
                  <a:cubicBezTo>
                    <a:pt x="10575647" y="956667"/>
                    <a:pt x="10548542" y="890948"/>
                    <a:pt x="10501426" y="843879"/>
                  </a:cubicBezTo>
                  <a:cubicBezTo>
                    <a:pt x="10457485" y="799913"/>
                    <a:pt x="10397028" y="770955"/>
                    <a:pt x="10285750" y="740769"/>
                  </a:cubicBezTo>
                  <a:cubicBezTo>
                    <a:pt x="10125660" y="696474"/>
                    <a:pt x="10110519" y="671471"/>
                    <a:pt x="10110519" y="616440"/>
                  </a:cubicBezTo>
                  <a:cubicBezTo>
                    <a:pt x="10110519" y="553823"/>
                    <a:pt x="10161447" y="514877"/>
                    <a:pt x="10243398" y="514877"/>
                  </a:cubicBezTo>
                  <a:cubicBezTo>
                    <a:pt x="10329795" y="514877"/>
                    <a:pt x="10385594" y="557672"/>
                    <a:pt x="10385594" y="623762"/>
                  </a:cubicBezTo>
                  <a:lnTo>
                    <a:pt x="10385594" y="653307"/>
                  </a:lnTo>
                  <a:close/>
                </a:path>
              </a:pathLst>
            </a:custGeom>
            <a:blipFill>
              <a:blip r:embed="rId3"/>
              <a:stretch>
                <a:fillRect/>
              </a:stretch>
            </a:blipFill>
            <a:ln w="529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GB" noProof="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B3603C14-B647-D952-0A46-E733581512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8812" y="1449388"/>
            <a:ext cx="8497888" cy="2840160"/>
          </a:xfrm>
        </p:spPr>
        <p:txBody>
          <a:bodyPr anchor="b"/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018AD78-2874-B23F-93A7-6840BB4D3A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58812" y="4511154"/>
            <a:ext cx="8497887" cy="1124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28" name="Textplatzhalter 8">
            <a:extLst>
              <a:ext uri="{FF2B5EF4-FFF2-40B4-BE49-F238E27FC236}">
                <a16:creationId xmlns:a16="http://schemas.microsoft.com/office/drawing/2014/main" id="{53D9BB8E-50FC-4015-0F7C-91AE1E6DD6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3" y="5857092"/>
            <a:ext cx="8497886" cy="540533"/>
          </a:xfrm>
        </p:spPr>
        <p:txBody>
          <a:bodyPr anchor="b"/>
          <a:lstStyle>
            <a:lvl1pPr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>
              <a:defRPr/>
            </a:lvl2pPr>
          </a:lstStyle>
          <a:p>
            <a:pPr lvl="0"/>
            <a:r>
              <a:rPr lang="en-GB" noProof="0"/>
              <a:t>date or author or title/role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291BD4F4-064D-9B92-FD72-7196C19FC567}"/>
              </a:ext>
            </a:extLst>
          </p:cNvPr>
          <p:cNvGrpSpPr/>
          <p:nvPr userDrawn="1"/>
        </p:nvGrpSpPr>
        <p:grpSpPr>
          <a:xfrm rot="5400000">
            <a:off x="-3617983" y="3323777"/>
            <a:ext cx="6854690" cy="213756"/>
            <a:chOff x="-1" y="-286346"/>
            <a:chExt cx="5820565" cy="181508"/>
          </a:xfrm>
        </p:grpSpPr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D41A2512-D267-0AC4-CA5D-84B271C85907}"/>
                </a:ext>
              </a:extLst>
            </p:cNvPr>
            <p:cNvGrpSpPr/>
            <p:nvPr userDrawn="1"/>
          </p:nvGrpSpPr>
          <p:grpSpPr>
            <a:xfrm rot="16200000">
              <a:off x="363007" y="-649354"/>
              <a:ext cx="181503" cy="907520"/>
              <a:chOff x="1319213" y="-1663170"/>
              <a:chExt cx="181503" cy="907520"/>
            </a:xfrm>
          </p:grpSpPr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82436E94-F2EA-99F9-5241-981DDE2A13FF}"/>
                  </a:ext>
                </a:extLst>
              </p:cNvPr>
              <p:cNvSpPr/>
              <p:nvPr/>
            </p:nvSpPr>
            <p:spPr>
              <a:xfrm>
                <a:off x="1319213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44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04ABA03F-6029-2CD2-E850-92B6CFE629B9}"/>
                  </a:ext>
                </a:extLst>
              </p:cNvPr>
              <p:cNvSpPr/>
              <p:nvPr/>
            </p:nvSpPr>
            <p:spPr>
              <a:xfrm>
                <a:off x="1319213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69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E0AB31B4-E31D-E9BE-DAA9-DAD6E5A6C60A}"/>
                  </a:ext>
                </a:extLst>
              </p:cNvPr>
              <p:cNvSpPr/>
              <p:nvPr/>
            </p:nvSpPr>
            <p:spPr>
              <a:xfrm>
                <a:off x="1319213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FE8F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6889429B-7BCC-BB75-CB8D-80B6102ECFAD}"/>
                  </a:ext>
                </a:extLst>
              </p:cNvPr>
              <p:cNvSpPr/>
              <p:nvPr/>
            </p:nvSpPr>
            <p:spPr>
              <a:xfrm>
                <a:off x="1319213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B4B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C3B0BF79-4C8E-1F28-E51D-4D3DFEEA2C72}"/>
                  </a:ext>
                </a:extLst>
              </p:cNvPr>
              <p:cNvSpPr/>
              <p:nvPr/>
            </p:nvSpPr>
            <p:spPr>
              <a:xfrm>
                <a:off x="1319213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D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C9C8F1BE-D0A7-5946-D8C4-6450FB893E77}"/>
                </a:ext>
              </a:extLst>
            </p:cNvPr>
            <p:cNvGrpSpPr/>
            <p:nvPr userDrawn="1"/>
          </p:nvGrpSpPr>
          <p:grpSpPr>
            <a:xfrm rot="16200000">
              <a:off x="1345616" y="-649354"/>
              <a:ext cx="181503" cy="907520"/>
              <a:chOff x="1319213" y="-664912"/>
              <a:chExt cx="181503" cy="907520"/>
            </a:xfrm>
          </p:grpSpPr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7794F228-BB09-7120-6076-7C98B82F4984}"/>
                  </a:ext>
                </a:extLst>
              </p:cNvPr>
              <p:cNvSpPr/>
              <p:nvPr/>
            </p:nvSpPr>
            <p:spPr>
              <a:xfrm>
                <a:off x="1319213" y="-66491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6400A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D269AC5D-C0DD-D7CF-8A70-889D8A2238D8}"/>
                  </a:ext>
                </a:extLst>
              </p:cNvPr>
              <p:cNvSpPr/>
              <p:nvPr/>
            </p:nvSpPr>
            <p:spPr>
              <a:xfrm>
                <a:off x="1319213" y="-483404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33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78FC6528-F76F-4A86-A87E-43361D6A4D7A}"/>
                  </a:ext>
                </a:extLst>
              </p:cNvPr>
              <p:cNvSpPr/>
              <p:nvPr/>
            </p:nvSpPr>
            <p:spPr>
              <a:xfrm>
                <a:off x="1319213" y="-30189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266C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D03500DD-76FD-FF69-D109-D77B49D35BA1}"/>
                  </a:ext>
                </a:extLst>
              </p:cNvPr>
              <p:cNvSpPr/>
              <p:nvPr/>
            </p:nvSpPr>
            <p:spPr>
              <a:xfrm>
                <a:off x="1319213" y="-120387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199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B618EDC6-278B-EB0F-08F4-9780F3442C08}"/>
                  </a:ext>
                </a:extLst>
              </p:cNvPr>
              <p:cNvSpPr/>
              <p:nvPr/>
            </p:nvSpPr>
            <p:spPr>
              <a:xfrm>
                <a:off x="1319213" y="6110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0CC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BFB913B0-CFE6-0D33-B1EE-344EB67005BB}"/>
                </a:ext>
              </a:extLst>
            </p:cNvPr>
            <p:cNvGrpSpPr/>
            <p:nvPr userDrawn="1"/>
          </p:nvGrpSpPr>
          <p:grpSpPr>
            <a:xfrm rot="16200000">
              <a:off x="2328223" y="-649352"/>
              <a:ext cx="181508" cy="907520"/>
              <a:chOff x="1682219" y="-1663170"/>
              <a:chExt cx="181508" cy="907520"/>
            </a:xfrm>
          </p:grpSpPr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DB71F327-895C-62BE-EB76-9EBFF6F52721}"/>
                  </a:ext>
                </a:extLst>
              </p:cNvPr>
              <p:cNvSpPr/>
              <p:nvPr/>
            </p:nvSpPr>
            <p:spPr>
              <a:xfrm>
                <a:off x="1682219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CC8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E71F54D5-61E6-2BFC-EB5F-959680C1EFF3}"/>
                  </a:ext>
                </a:extLst>
              </p:cNvPr>
              <p:cNvSpPr/>
              <p:nvPr/>
            </p:nvSpPr>
            <p:spPr>
              <a:xfrm>
                <a:off x="1682224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3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389912BD-E407-3481-6B52-C92C9A53A87A}"/>
                  </a:ext>
                </a:extLst>
              </p:cNvPr>
              <p:cNvSpPr/>
              <p:nvPr/>
            </p:nvSpPr>
            <p:spPr>
              <a:xfrm>
                <a:off x="1682224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ADE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EBF29DF3-280F-D19C-DA18-46A1E775EF6D}"/>
                  </a:ext>
                </a:extLst>
              </p:cNvPr>
              <p:cNvSpPr/>
              <p:nvPr/>
            </p:nvSpPr>
            <p:spPr>
              <a:xfrm>
                <a:off x="1682224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E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6CF04093-9FB6-5799-4787-B997D8F5F4CB}"/>
                  </a:ext>
                </a:extLst>
              </p:cNvPr>
              <p:cNvSpPr/>
              <p:nvPr/>
            </p:nvSpPr>
            <p:spPr>
              <a:xfrm>
                <a:off x="1682219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8F4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F4297AE0-0AD6-932A-BA56-36787085788D}"/>
                </a:ext>
              </a:extLst>
            </p:cNvPr>
            <p:cNvGrpSpPr/>
            <p:nvPr userDrawn="1"/>
          </p:nvGrpSpPr>
          <p:grpSpPr>
            <a:xfrm rot="16200000">
              <a:off x="5276052" y="-649354"/>
              <a:ext cx="181503" cy="907520"/>
              <a:chOff x="2226738" y="-1663170"/>
              <a:chExt cx="181503" cy="907520"/>
            </a:xfrm>
          </p:grpSpPr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A30C7D0B-E7A2-CF9E-214F-AD8F407CDC96}"/>
                  </a:ext>
                </a:extLst>
              </p:cNvPr>
              <p:cNvSpPr/>
              <p:nvPr/>
            </p:nvSpPr>
            <p:spPr>
              <a:xfrm>
                <a:off x="2226738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B47D36C3-B668-5B96-31C5-E86C1BA3BE83}"/>
                  </a:ext>
                </a:extLst>
              </p:cNvPr>
              <p:cNvSpPr/>
              <p:nvPr/>
            </p:nvSpPr>
            <p:spPr>
              <a:xfrm>
                <a:off x="2226738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5757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D9182646-23E8-F422-F5F8-72655EF8779F}"/>
                  </a:ext>
                </a:extLst>
              </p:cNvPr>
              <p:cNvSpPr/>
              <p:nvPr/>
            </p:nvSpPr>
            <p:spPr>
              <a:xfrm>
                <a:off x="2226738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8787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C5988968-C324-AC73-AACD-7D680C5E7868}"/>
                  </a:ext>
                </a:extLst>
              </p:cNvPr>
              <p:cNvSpPr/>
              <p:nvPr/>
            </p:nvSpPr>
            <p:spPr>
              <a:xfrm>
                <a:off x="2226738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2B2B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C4EE566B-21F3-1556-0EBF-F7D17A84AAA3}"/>
                  </a:ext>
                </a:extLst>
              </p:cNvPr>
              <p:cNvSpPr/>
              <p:nvPr/>
            </p:nvSpPr>
            <p:spPr>
              <a:xfrm>
                <a:off x="2226738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DA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E92481BB-DF40-B384-4313-0907183F51CD}"/>
                </a:ext>
              </a:extLst>
            </p:cNvPr>
            <p:cNvGrpSpPr/>
            <p:nvPr userDrawn="1"/>
          </p:nvGrpSpPr>
          <p:grpSpPr>
            <a:xfrm rot="16200000">
              <a:off x="3310834" y="-649354"/>
              <a:ext cx="181503" cy="907520"/>
              <a:chOff x="1863727" y="-1663170"/>
              <a:chExt cx="181503" cy="907520"/>
            </a:xfrm>
          </p:grpSpPr>
          <p:sp>
            <p:nvSpPr>
              <p:cNvPr id="17" name="Freihandform: Form 16">
                <a:extLst>
                  <a:ext uri="{FF2B5EF4-FFF2-40B4-BE49-F238E27FC236}">
                    <a16:creationId xmlns:a16="http://schemas.microsoft.com/office/drawing/2014/main" id="{E4A87BB4-1304-8077-2AE5-E89D5793E3BC}"/>
                  </a:ext>
                </a:extLst>
              </p:cNvPr>
              <p:cNvSpPr/>
              <p:nvPr/>
            </p:nvSpPr>
            <p:spPr>
              <a:xfrm>
                <a:off x="1863727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2A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123D966D-FB96-D4F1-FBED-3813FDC73138}"/>
                  </a:ext>
                </a:extLst>
              </p:cNvPr>
              <p:cNvSpPr/>
              <p:nvPr/>
            </p:nvSpPr>
            <p:spPr>
              <a:xfrm>
                <a:off x="1863727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5DB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E88CB800-5767-7599-9DF1-A5EB9A88759D}"/>
                  </a:ext>
                </a:extLst>
              </p:cNvPr>
              <p:cNvSpPr/>
              <p:nvPr/>
            </p:nvSpPr>
            <p:spPr>
              <a:xfrm>
                <a:off x="1863727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8E4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F06FC4B6-3D3F-0D7A-E66D-7CC714557D8F}"/>
                  </a:ext>
                </a:extLst>
              </p:cNvPr>
              <p:cNvSpPr/>
              <p:nvPr/>
            </p:nvSpPr>
            <p:spPr>
              <a:xfrm>
                <a:off x="1863727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ED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39AFA8DF-BAA0-F4ED-0736-9A5D900004D6}"/>
                  </a:ext>
                </a:extLst>
              </p:cNvPr>
              <p:cNvSpPr/>
              <p:nvPr/>
            </p:nvSpPr>
            <p:spPr>
              <a:xfrm>
                <a:off x="1863727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DF6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CC77DE21-84C9-5346-258F-A9733ECF4FB1}"/>
                </a:ext>
              </a:extLst>
            </p:cNvPr>
            <p:cNvGrpSpPr/>
            <p:nvPr userDrawn="1"/>
          </p:nvGrpSpPr>
          <p:grpSpPr>
            <a:xfrm rot="16200000">
              <a:off x="4293441" y="-649352"/>
              <a:ext cx="181508" cy="907520"/>
              <a:chOff x="2045230" y="-1663170"/>
              <a:chExt cx="181508" cy="907520"/>
            </a:xfrm>
          </p:grpSpPr>
          <p:sp>
            <p:nvSpPr>
              <p:cNvPr id="12" name="Freihandform: Form 11">
                <a:extLst>
                  <a:ext uri="{FF2B5EF4-FFF2-40B4-BE49-F238E27FC236}">
                    <a16:creationId xmlns:a16="http://schemas.microsoft.com/office/drawing/2014/main" id="{0A562E19-C5D3-9C44-2402-105E44AC4F01}"/>
                  </a:ext>
                </a:extLst>
              </p:cNvPr>
              <p:cNvSpPr/>
              <p:nvPr/>
            </p:nvSpPr>
            <p:spPr>
              <a:xfrm>
                <a:off x="2045230" y="-937158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9F7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" name="Freihandform: Form 12">
                <a:extLst>
                  <a:ext uri="{FF2B5EF4-FFF2-40B4-BE49-F238E27FC236}">
                    <a16:creationId xmlns:a16="http://schemas.microsoft.com/office/drawing/2014/main" id="{7AE073E8-3CF2-FEBF-5C75-E15B065404F8}"/>
                  </a:ext>
                </a:extLst>
              </p:cNvPr>
              <p:cNvSpPr/>
              <p:nvPr/>
            </p:nvSpPr>
            <p:spPr>
              <a:xfrm>
                <a:off x="2045230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FED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" name="Freihandform: Form 13">
                <a:extLst>
                  <a:ext uri="{FF2B5EF4-FFF2-40B4-BE49-F238E27FC236}">
                    <a16:creationId xmlns:a16="http://schemas.microsoft.com/office/drawing/2014/main" id="{84C884F4-E2D3-C73A-C993-AE3BA25113A3}"/>
                  </a:ext>
                </a:extLst>
              </p:cNvPr>
              <p:cNvSpPr/>
              <p:nvPr/>
            </p:nvSpPr>
            <p:spPr>
              <a:xfrm>
                <a:off x="2045230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5E3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" name="Freihandform: Form 14">
                <a:extLst>
                  <a:ext uri="{FF2B5EF4-FFF2-40B4-BE49-F238E27FC236}">
                    <a16:creationId xmlns:a16="http://schemas.microsoft.com/office/drawing/2014/main" id="{B95EDC1C-0D7D-2DFE-1FB8-B0A46986AD68}"/>
                  </a:ext>
                </a:extLst>
              </p:cNvPr>
              <p:cNvSpPr/>
              <p:nvPr/>
            </p:nvSpPr>
            <p:spPr>
              <a:xfrm>
                <a:off x="2045230" y="-1663170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CFC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" name="Freihandform: Form 15">
                <a:extLst>
                  <a:ext uri="{FF2B5EF4-FFF2-40B4-BE49-F238E27FC236}">
                    <a16:creationId xmlns:a16="http://schemas.microsoft.com/office/drawing/2014/main" id="{F6DB9E9B-EEAC-A297-E3E2-6305DF14A765}"/>
                  </a:ext>
                </a:extLst>
              </p:cNvPr>
              <p:cNvSpPr/>
              <p:nvPr/>
            </p:nvSpPr>
            <p:spPr>
              <a:xfrm>
                <a:off x="2045230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BD9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536895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red) and Content 1/2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73236799-8186-158A-F3A4-9E2D432B77EB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3" y="1304925"/>
            <a:ext cx="4778372" cy="50514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FDC01C9A-5B99-87F0-F647-71E0D7C324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397755"/>
            <a:ext cx="4778372" cy="753386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7448426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(red) and Content 1/2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18F7A637-BC27-72A3-B53C-759FF82825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096000" cy="6857999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3" y="1304925"/>
            <a:ext cx="4778372" cy="50514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FDC01C9A-5B99-87F0-F647-71E0D7C324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397755"/>
            <a:ext cx="4778372" cy="753386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40542831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sand) and Content 1/2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73236799-8186-158A-F3A4-9E2D432B77EB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3" y="1304925"/>
            <a:ext cx="4778372" cy="50514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FDC01C9A-5B99-87F0-F647-71E0D7C324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397755"/>
            <a:ext cx="4778372" cy="753386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GB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0229383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red) and Text 1/2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73236799-8186-158A-F3A4-9E2D432B77EB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3" y="843892"/>
            <a:ext cx="4778372" cy="551062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D533548-4A3C-26F0-A707-4E2A873D81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54813" y="843891"/>
            <a:ext cx="4778373" cy="5511339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5EF0CE97-23F1-1235-CD4A-B06231B542E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</p:spTree>
    <p:extLst>
      <p:ext uri="{BB962C8B-B14F-4D97-AF65-F5344CB8AC3E}">
        <p14:creationId xmlns:p14="http://schemas.microsoft.com/office/powerpoint/2010/main" val="395395715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(red) and Text 1/2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4BBCEDD5-C673-172D-80DE-422E9B191C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096000" cy="6857999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3" y="843892"/>
            <a:ext cx="4778372" cy="551062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D533548-4A3C-26F0-A707-4E2A873D81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54813" y="843891"/>
            <a:ext cx="4778373" cy="5511339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5EF0CE97-23F1-1235-CD4A-B06231B542E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</p:spTree>
    <p:extLst>
      <p:ext uri="{BB962C8B-B14F-4D97-AF65-F5344CB8AC3E}">
        <p14:creationId xmlns:p14="http://schemas.microsoft.com/office/powerpoint/2010/main" val="25683208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sand) and Text 1/2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73236799-8186-158A-F3A4-9E2D432B77EB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3" y="843892"/>
            <a:ext cx="4778372" cy="5510626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D533548-4A3C-26F0-A707-4E2A873D81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54813" y="843891"/>
            <a:ext cx="4778373" cy="5511339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5EF0CE97-23F1-1235-CD4A-B06231B542E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</p:spTree>
    <p:extLst>
      <p:ext uri="{BB962C8B-B14F-4D97-AF65-F5344CB8AC3E}">
        <p14:creationId xmlns:p14="http://schemas.microsoft.com/office/powerpoint/2010/main" val="38552109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red) and Content 2/3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73236799-8186-158A-F3A4-9E2D432B77EB}"/>
              </a:ext>
            </a:extLst>
          </p:cNvPr>
          <p:cNvSpPr/>
          <p:nvPr userDrawn="1"/>
        </p:nvSpPr>
        <p:spPr>
          <a:xfrm>
            <a:off x="0" y="0"/>
            <a:ext cx="406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2" y="1304925"/>
            <a:ext cx="3060000" cy="50514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FDC01C9A-5B99-87F0-F647-71E0D7C324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2" y="397755"/>
            <a:ext cx="3060000" cy="753386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385628138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(red) and Content 2/3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C4D41D1D-5257-5DF0-D2B8-75DF40D3E8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064000" cy="6857999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2" y="1304925"/>
            <a:ext cx="3060000" cy="50514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FDC01C9A-5B99-87F0-F647-71E0D7C324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2" y="397755"/>
            <a:ext cx="3060000" cy="753386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313968282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sand) and Content 2/3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73236799-8186-158A-F3A4-9E2D432B77EB}"/>
              </a:ext>
            </a:extLst>
          </p:cNvPr>
          <p:cNvSpPr/>
          <p:nvPr userDrawn="1"/>
        </p:nvSpPr>
        <p:spPr>
          <a:xfrm>
            <a:off x="0" y="0"/>
            <a:ext cx="406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2" y="1304925"/>
            <a:ext cx="3060000" cy="50514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FDC01C9A-5B99-87F0-F647-71E0D7C324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2" y="397755"/>
            <a:ext cx="3060000" cy="753386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GB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74331814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red) and Text 2/3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73236799-8186-158A-F3A4-9E2D432B77EB}"/>
              </a:ext>
            </a:extLst>
          </p:cNvPr>
          <p:cNvSpPr/>
          <p:nvPr userDrawn="1"/>
        </p:nvSpPr>
        <p:spPr>
          <a:xfrm>
            <a:off x="0" y="0"/>
            <a:ext cx="406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2" y="843891"/>
            <a:ext cx="3060000" cy="55099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7" name="Textplatzhalter 10">
            <a:extLst>
              <a:ext uri="{FF2B5EF4-FFF2-40B4-BE49-F238E27FC236}">
                <a16:creationId xmlns:a16="http://schemas.microsoft.com/office/drawing/2014/main" id="{AFE83367-512A-0A99-7E3D-CA81A43E0B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2813" y="843892"/>
            <a:ext cx="6810374" cy="5510626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DFCA0615-83A3-6453-CC90-4137F014C1A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</p:spTree>
    <p:extLst>
      <p:ext uri="{BB962C8B-B14F-4D97-AF65-F5344CB8AC3E}">
        <p14:creationId xmlns:p14="http://schemas.microsoft.com/office/powerpoint/2010/main" val="12759095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rafik 8">
            <a:extLst>
              <a:ext uri="{FF2B5EF4-FFF2-40B4-BE49-F238E27FC236}">
                <a16:creationId xmlns:a16="http://schemas.microsoft.com/office/drawing/2014/main" id="{1286B1CC-555E-1833-97B1-15B34C8A8BE5}"/>
              </a:ext>
            </a:extLst>
          </p:cNvPr>
          <p:cNvSpPr/>
          <p:nvPr userDrawn="1"/>
        </p:nvSpPr>
        <p:spPr>
          <a:xfrm>
            <a:off x="5394251" y="0"/>
            <a:ext cx="6386623" cy="5095982"/>
          </a:xfrm>
          <a:custGeom>
            <a:avLst/>
            <a:gdLst>
              <a:gd name="connsiteX0" fmla="*/ 3854415 w 4789532"/>
              <a:gd name="connsiteY0" fmla="*/ 631793 h 3821639"/>
              <a:gd name="connsiteX1" fmla="*/ 4431859 w 4789532"/>
              <a:gd name="connsiteY1" fmla="*/ 1715929 h 3821639"/>
              <a:gd name="connsiteX2" fmla="*/ 3854415 w 4789532"/>
              <a:gd name="connsiteY2" fmla="*/ 2800045 h 3821639"/>
              <a:gd name="connsiteX3" fmla="*/ 4212079 w 4789532"/>
              <a:gd name="connsiteY3" fmla="*/ 2800045 h 3821639"/>
              <a:gd name="connsiteX4" fmla="*/ 4789532 w 4789532"/>
              <a:gd name="connsiteY4" fmla="*/ 1715929 h 3821639"/>
              <a:gd name="connsiteX5" fmla="*/ 4212079 w 4789532"/>
              <a:gd name="connsiteY5" fmla="*/ 631793 h 3821639"/>
              <a:gd name="connsiteX6" fmla="*/ 3854415 w 4789532"/>
              <a:gd name="connsiteY6" fmla="*/ 631793 h 3821639"/>
              <a:gd name="connsiteX7" fmla="*/ 853631 w 4789532"/>
              <a:gd name="connsiteY7" fmla="*/ 0 h 3821639"/>
              <a:gd name="connsiteX8" fmla="*/ 0 w 4789532"/>
              <a:gd name="connsiteY8" fmla="*/ 1684877 h 3821639"/>
              <a:gd name="connsiteX9" fmla="*/ 1129532 w 4789532"/>
              <a:gd name="connsiteY9" fmla="*/ 3821640 h 3821639"/>
              <a:gd name="connsiteX10" fmla="*/ 3540747 w 4789532"/>
              <a:gd name="connsiteY10" fmla="*/ 3821640 h 3821639"/>
              <a:gd name="connsiteX11" fmla="*/ 3540747 w 4789532"/>
              <a:gd name="connsiteY11" fmla="*/ 3500142 h 3821639"/>
              <a:gd name="connsiteX12" fmla="*/ 1323270 w 4789532"/>
              <a:gd name="connsiteY12" fmla="*/ 3500142 h 3821639"/>
              <a:gd name="connsiteX13" fmla="*/ 362036 w 4789532"/>
              <a:gd name="connsiteY13" fmla="*/ 1681782 h 3821639"/>
              <a:gd name="connsiteX14" fmla="*/ 1214095 w 4789532"/>
              <a:gd name="connsiteY14" fmla="*/ 0 h 3821639"/>
              <a:gd name="connsiteX15" fmla="*/ 853631 w 4789532"/>
              <a:gd name="connsiteY15" fmla="*/ 0 h 3821639"/>
              <a:gd name="connsiteX16" fmla="*/ 3218888 w 4789532"/>
              <a:gd name="connsiteY16" fmla="*/ 0 h 3821639"/>
              <a:gd name="connsiteX17" fmla="*/ 3218888 w 4789532"/>
              <a:gd name="connsiteY17" fmla="*/ 917000 h 3821639"/>
              <a:gd name="connsiteX18" fmla="*/ 2372601 w 4789532"/>
              <a:gd name="connsiteY18" fmla="*/ 917000 h 3821639"/>
              <a:gd name="connsiteX19" fmla="*/ 2372601 w 4789532"/>
              <a:gd name="connsiteY19" fmla="*/ 0 h 3821639"/>
              <a:gd name="connsiteX20" fmla="*/ 2048713 w 4789532"/>
              <a:gd name="connsiteY20" fmla="*/ 0 h 3821639"/>
              <a:gd name="connsiteX21" fmla="*/ 2048713 w 4789532"/>
              <a:gd name="connsiteY21" fmla="*/ 2105949 h 3821639"/>
              <a:gd name="connsiteX22" fmla="*/ 2372601 w 4789532"/>
              <a:gd name="connsiteY22" fmla="*/ 2105949 h 3821639"/>
              <a:gd name="connsiteX23" fmla="*/ 2372601 w 4789532"/>
              <a:gd name="connsiteY23" fmla="*/ 1204246 h 3821639"/>
              <a:gd name="connsiteX24" fmla="*/ 3218888 w 4789532"/>
              <a:gd name="connsiteY24" fmla="*/ 1204246 h 3821639"/>
              <a:gd name="connsiteX25" fmla="*/ 3218888 w 4789532"/>
              <a:gd name="connsiteY25" fmla="*/ 2105949 h 3821639"/>
              <a:gd name="connsiteX26" fmla="*/ 3542757 w 4789532"/>
              <a:gd name="connsiteY26" fmla="*/ 2105949 h 3821639"/>
              <a:gd name="connsiteX27" fmla="*/ 3542757 w 4789532"/>
              <a:gd name="connsiteY27" fmla="*/ 0 h 3821639"/>
              <a:gd name="connsiteX28" fmla="*/ 3218888 w 4789532"/>
              <a:gd name="connsiteY28" fmla="*/ 0 h 3821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789532" h="3821639">
                <a:moveTo>
                  <a:pt x="3854415" y="631793"/>
                </a:moveTo>
                <a:lnTo>
                  <a:pt x="4431859" y="1715929"/>
                </a:lnTo>
                <a:lnTo>
                  <a:pt x="3854415" y="2800045"/>
                </a:lnTo>
                <a:lnTo>
                  <a:pt x="4212079" y="2800045"/>
                </a:lnTo>
                <a:lnTo>
                  <a:pt x="4789532" y="1715929"/>
                </a:lnTo>
                <a:lnTo>
                  <a:pt x="4212079" y="631793"/>
                </a:lnTo>
                <a:lnTo>
                  <a:pt x="3854415" y="631793"/>
                </a:lnTo>
                <a:close/>
                <a:moveTo>
                  <a:pt x="853631" y="0"/>
                </a:moveTo>
                <a:lnTo>
                  <a:pt x="0" y="1684877"/>
                </a:lnTo>
                <a:lnTo>
                  <a:pt x="1129532" y="3821640"/>
                </a:lnTo>
                <a:lnTo>
                  <a:pt x="3540747" y="3821640"/>
                </a:lnTo>
                <a:lnTo>
                  <a:pt x="3540747" y="3500142"/>
                </a:lnTo>
                <a:lnTo>
                  <a:pt x="1323270" y="3500142"/>
                </a:lnTo>
                <a:lnTo>
                  <a:pt x="362036" y="1681782"/>
                </a:lnTo>
                <a:lnTo>
                  <a:pt x="1214095" y="0"/>
                </a:lnTo>
                <a:lnTo>
                  <a:pt x="853631" y="0"/>
                </a:lnTo>
                <a:close/>
                <a:moveTo>
                  <a:pt x="3218888" y="0"/>
                </a:moveTo>
                <a:lnTo>
                  <a:pt x="3218888" y="917000"/>
                </a:lnTo>
                <a:lnTo>
                  <a:pt x="2372601" y="917000"/>
                </a:lnTo>
                <a:lnTo>
                  <a:pt x="2372601" y="0"/>
                </a:lnTo>
                <a:lnTo>
                  <a:pt x="2048713" y="0"/>
                </a:lnTo>
                <a:lnTo>
                  <a:pt x="2048713" y="2105949"/>
                </a:lnTo>
                <a:lnTo>
                  <a:pt x="2372601" y="2105949"/>
                </a:lnTo>
                <a:lnTo>
                  <a:pt x="2372601" y="1204246"/>
                </a:lnTo>
                <a:lnTo>
                  <a:pt x="3218888" y="1204246"/>
                </a:lnTo>
                <a:lnTo>
                  <a:pt x="3218888" y="2105949"/>
                </a:lnTo>
                <a:lnTo>
                  <a:pt x="3542757" y="2105949"/>
                </a:lnTo>
                <a:lnTo>
                  <a:pt x="3542757" y="0"/>
                </a:lnTo>
                <a:lnTo>
                  <a:pt x="3218888" y="0"/>
                </a:lnTo>
                <a:close/>
              </a:path>
            </a:pathLst>
          </a:custGeom>
          <a:solidFill>
            <a:schemeClr val="bg1"/>
          </a:solidFill>
          <a:ln w="8192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603C14-B647-D952-0A46-E733581512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8812" y="1449388"/>
            <a:ext cx="10874376" cy="2840160"/>
          </a:xfrm>
        </p:spPr>
        <p:txBody>
          <a:bodyPr anchor="b"/>
          <a:lstStyle>
            <a:lvl1pPr algn="l">
              <a:lnSpc>
                <a:spcPct val="100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GB" noProof="0"/>
              <a:t>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018AD78-2874-B23F-93A7-6840BB4D3A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58812" y="4511154"/>
            <a:ext cx="10874375" cy="1124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28" name="Textplatzhalter 8">
            <a:extLst>
              <a:ext uri="{FF2B5EF4-FFF2-40B4-BE49-F238E27FC236}">
                <a16:creationId xmlns:a16="http://schemas.microsoft.com/office/drawing/2014/main" id="{53D9BB8E-50FC-4015-0F7C-91AE1E6DD6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3" y="5857092"/>
            <a:ext cx="10874374" cy="540533"/>
          </a:xfrm>
        </p:spPr>
        <p:txBody>
          <a:bodyPr anchor="b"/>
          <a:lstStyle>
            <a:lvl1pPr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/>
            </a:lvl2pPr>
          </a:lstStyle>
          <a:p>
            <a:pPr lvl="0"/>
            <a:r>
              <a:rPr lang="en-GB" noProof="0"/>
              <a:t>date or author or title/role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32584095-B234-1CD4-D20F-6C1C5E412B33}"/>
              </a:ext>
            </a:extLst>
          </p:cNvPr>
          <p:cNvGrpSpPr/>
          <p:nvPr userDrawn="1"/>
        </p:nvGrpSpPr>
        <p:grpSpPr>
          <a:xfrm rot="5400000">
            <a:off x="-3617983" y="3323777"/>
            <a:ext cx="6854690" cy="213756"/>
            <a:chOff x="-1" y="-286346"/>
            <a:chExt cx="5820565" cy="181508"/>
          </a:xfrm>
        </p:grpSpPr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DDDE7D3A-C903-B588-ED5B-A281D38EBE1E}"/>
                </a:ext>
              </a:extLst>
            </p:cNvPr>
            <p:cNvGrpSpPr/>
            <p:nvPr userDrawn="1"/>
          </p:nvGrpSpPr>
          <p:grpSpPr>
            <a:xfrm rot="16200000">
              <a:off x="363007" y="-649354"/>
              <a:ext cx="181503" cy="907520"/>
              <a:chOff x="1319213" y="-1663170"/>
              <a:chExt cx="181503" cy="907520"/>
            </a:xfrm>
          </p:grpSpPr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2131E9EA-538A-4EC6-98FC-91EBBB06193C}"/>
                  </a:ext>
                </a:extLst>
              </p:cNvPr>
              <p:cNvSpPr/>
              <p:nvPr/>
            </p:nvSpPr>
            <p:spPr>
              <a:xfrm>
                <a:off x="1319213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44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3CE8BBF3-05B8-9E9E-4A29-96F0D02ACD7F}"/>
                  </a:ext>
                </a:extLst>
              </p:cNvPr>
              <p:cNvSpPr/>
              <p:nvPr/>
            </p:nvSpPr>
            <p:spPr>
              <a:xfrm>
                <a:off x="1319213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69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317CF185-0566-B533-A663-13BC67A90739}"/>
                  </a:ext>
                </a:extLst>
              </p:cNvPr>
              <p:cNvSpPr/>
              <p:nvPr/>
            </p:nvSpPr>
            <p:spPr>
              <a:xfrm>
                <a:off x="1319213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FE8F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87668EB9-BAEB-27FF-33BB-4FFEBFFED09B}"/>
                  </a:ext>
                </a:extLst>
              </p:cNvPr>
              <p:cNvSpPr/>
              <p:nvPr/>
            </p:nvSpPr>
            <p:spPr>
              <a:xfrm>
                <a:off x="1319213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B4B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4C4D4B54-BA87-D8B8-6DCD-25EC7B90D100}"/>
                  </a:ext>
                </a:extLst>
              </p:cNvPr>
              <p:cNvSpPr/>
              <p:nvPr/>
            </p:nvSpPr>
            <p:spPr>
              <a:xfrm>
                <a:off x="1319213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D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8A7F376B-6ABA-8465-6277-3AD8D27DE928}"/>
                </a:ext>
              </a:extLst>
            </p:cNvPr>
            <p:cNvGrpSpPr/>
            <p:nvPr userDrawn="1"/>
          </p:nvGrpSpPr>
          <p:grpSpPr>
            <a:xfrm rot="16200000">
              <a:off x="1345616" y="-649354"/>
              <a:ext cx="181503" cy="907520"/>
              <a:chOff x="1319213" y="-664912"/>
              <a:chExt cx="181503" cy="907520"/>
            </a:xfrm>
          </p:grpSpPr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FDB6D491-B343-678B-BC52-7567910810B0}"/>
                  </a:ext>
                </a:extLst>
              </p:cNvPr>
              <p:cNvSpPr/>
              <p:nvPr/>
            </p:nvSpPr>
            <p:spPr>
              <a:xfrm>
                <a:off x="1319213" y="-66491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6400A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CB1534DF-B52F-2039-06D0-218C62DD1EA1}"/>
                  </a:ext>
                </a:extLst>
              </p:cNvPr>
              <p:cNvSpPr/>
              <p:nvPr/>
            </p:nvSpPr>
            <p:spPr>
              <a:xfrm>
                <a:off x="1319213" y="-483404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33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535D285F-F79E-DEC0-BB21-72F38CC1BEB3}"/>
                  </a:ext>
                </a:extLst>
              </p:cNvPr>
              <p:cNvSpPr/>
              <p:nvPr/>
            </p:nvSpPr>
            <p:spPr>
              <a:xfrm>
                <a:off x="1319213" y="-30189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266C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F79FAC19-C99F-EADF-8021-F0DD8E88D7AD}"/>
                  </a:ext>
                </a:extLst>
              </p:cNvPr>
              <p:cNvSpPr/>
              <p:nvPr/>
            </p:nvSpPr>
            <p:spPr>
              <a:xfrm>
                <a:off x="1319213" y="-120387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199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A7C799CB-2479-03BA-E429-5FF02A0DD574}"/>
                  </a:ext>
                </a:extLst>
              </p:cNvPr>
              <p:cNvSpPr/>
              <p:nvPr/>
            </p:nvSpPr>
            <p:spPr>
              <a:xfrm>
                <a:off x="1319213" y="6110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0CC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30C70063-E77C-3DF1-54AD-0D61B1460C23}"/>
                </a:ext>
              </a:extLst>
            </p:cNvPr>
            <p:cNvGrpSpPr/>
            <p:nvPr userDrawn="1"/>
          </p:nvGrpSpPr>
          <p:grpSpPr>
            <a:xfrm rot="16200000">
              <a:off x="2328223" y="-649352"/>
              <a:ext cx="181508" cy="907520"/>
              <a:chOff x="1682219" y="-1663170"/>
              <a:chExt cx="181508" cy="907520"/>
            </a:xfrm>
          </p:grpSpPr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3BF088D0-392C-98B4-1898-805EEA068F50}"/>
                  </a:ext>
                </a:extLst>
              </p:cNvPr>
              <p:cNvSpPr/>
              <p:nvPr/>
            </p:nvSpPr>
            <p:spPr>
              <a:xfrm>
                <a:off x="1682219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CC8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A6291F1C-BFA9-9D65-1F19-5C2DC8145821}"/>
                  </a:ext>
                </a:extLst>
              </p:cNvPr>
              <p:cNvSpPr/>
              <p:nvPr/>
            </p:nvSpPr>
            <p:spPr>
              <a:xfrm>
                <a:off x="1682224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3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A080D428-0E89-5A7D-EBE1-9831E3E7CA52}"/>
                  </a:ext>
                </a:extLst>
              </p:cNvPr>
              <p:cNvSpPr/>
              <p:nvPr/>
            </p:nvSpPr>
            <p:spPr>
              <a:xfrm>
                <a:off x="1682224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ADE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E71F54F0-AC45-EB5E-46E8-1A0C0EE7CEDC}"/>
                  </a:ext>
                </a:extLst>
              </p:cNvPr>
              <p:cNvSpPr/>
              <p:nvPr/>
            </p:nvSpPr>
            <p:spPr>
              <a:xfrm>
                <a:off x="1682224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E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E7CCDEAD-5A86-B8F2-042B-2FFDCA5AA9DF}"/>
                  </a:ext>
                </a:extLst>
              </p:cNvPr>
              <p:cNvSpPr/>
              <p:nvPr/>
            </p:nvSpPr>
            <p:spPr>
              <a:xfrm>
                <a:off x="1682219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8F4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4E4A5DB7-505B-4DCC-33C5-C06E645C7EF8}"/>
                </a:ext>
              </a:extLst>
            </p:cNvPr>
            <p:cNvGrpSpPr/>
            <p:nvPr userDrawn="1"/>
          </p:nvGrpSpPr>
          <p:grpSpPr>
            <a:xfrm rot="16200000">
              <a:off x="5276052" y="-649354"/>
              <a:ext cx="181503" cy="907520"/>
              <a:chOff x="2226738" y="-1663170"/>
              <a:chExt cx="181503" cy="907520"/>
            </a:xfrm>
          </p:grpSpPr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058733BC-072C-CA92-93B6-D035798D4830}"/>
                  </a:ext>
                </a:extLst>
              </p:cNvPr>
              <p:cNvSpPr/>
              <p:nvPr/>
            </p:nvSpPr>
            <p:spPr>
              <a:xfrm>
                <a:off x="2226738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44B2667A-62C8-5DEF-15B5-A6E3C1E2E748}"/>
                  </a:ext>
                </a:extLst>
              </p:cNvPr>
              <p:cNvSpPr/>
              <p:nvPr/>
            </p:nvSpPr>
            <p:spPr>
              <a:xfrm>
                <a:off x="2226738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5757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17E04010-5F57-F118-C6DB-5E3CD6A169BF}"/>
                  </a:ext>
                </a:extLst>
              </p:cNvPr>
              <p:cNvSpPr/>
              <p:nvPr/>
            </p:nvSpPr>
            <p:spPr>
              <a:xfrm>
                <a:off x="2226738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8787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B004C5AE-18C1-1F3B-906B-5B6F31C1CD60}"/>
                  </a:ext>
                </a:extLst>
              </p:cNvPr>
              <p:cNvSpPr/>
              <p:nvPr/>
            </p:nvSpPr>
            <p:spPr>
              <a:xfrm>
                <a:off x="2226738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2B2B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981C0890-0DB2-F7DB-5521-D0A4601845F1}"/>
                  </a:ext>
                </a:extLst>
              </p:cNvPr>
              <p:cNvSpPr/>
              <p:nvPr/>
            </p:nvSpPr>
            <p:spPr>
              <a:xfrm>
                <a:off x="2226738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DA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67CB7B91-6912-B010-357C-B69CBB960DE1}"/>
                </a:ext>
              </a:extLst>
            </p:cNvPr>
            <p:cNvGrpSpPr/>
            <p:nvPr userDrawn="1"/>
          </p:nvGrpSpPr>
          <p:grpSpPr>
            <a:xfrm rot="16200000">
              <a:off x="3310834" y="-649354"/>
              <a:ext cx="181503" cy="907520"/>
              <a:chOff x="1863727" y="-1663170"/>
              <a:chExt cx="181503" cy="907520"/>
            </a:xfrm>
          </p:grpSpPr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46B9F04C-8BA9-1C31-A6F0-5446871F380D}"/>
                  </a:ext>
                </a:extLst>
              </p:cNvPr>
              <p:cNvSpPr/>
              <p:nvPr/>
            </p:nvSpPr>
            <p:spPr>
              <a:xfrm>
                <a:off x="1863727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2A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F0207AA4-73F1-D5EF-3F71-8EBF36A6308E}"/>
                  </a:ext>
                </a:extLst>
              </p:cNvPr>
              <p:cNvSpPr/>
              <p:nvPr/>
            </p:nvSpPr>
            <p:spPr>
              <a:xfrm>
                <a:off x="1863727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5DB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20B4A6AA-8914-7002-FC46-412C65F964AF}"/>
                  </a:ext>
                </a:extLst>
              </p:cNvPr>
              <p:cNvSpPr/>
              <p:nvPr/>
            </p:nvSpPr>
            <p:spPr>
              <a:xfrm>
                <a:off x="1863727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8E4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CC9D4CDD-EECE-70F1-0EDC-0304DDEB9D65}"/>
                  </a:ext>
                </a:extLst>
              </p:cNvPr>
              <p:cNvSpPr/>
              <p:nvPr/>
            </p:nvSpPr>
            <p:spPr>
              <a:xfrm>
                <a:off x="1863727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ED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2F4CF264-8E48-49F6-2045-00AA6B327A8A}"/>
                  </a:ext>
                </a:extLst>
              </p:cNvPr>
              <p:cNvSpPr/>
              <p:nvPr/>
            </p:nvSpPr>
            <p:spPr>
              <a:xfrm>
                <a:off x="1863727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DF6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4F7800AC-5132-2F98-F720-7A47A1EEC76D}"/>
                </a:ext>
              </a:extLst>
            </p:cNvPr>
            <p:cNvGrpSpPr/>
            <p:nvPr userDrawn="1"/>
          </p:nvGrpSpPr>
          <p:grpSpPr>
            <a:xfrm rot="16200000">
              <a:off x="4293441" y="-649352"/>
              <a:ext cx="181508" cy="907520"/>
              <a:chOff x="2045230" y="-1663170"/>
              <a:chExt cx="181508" cy="907520"/>
            </a:xfrm>
          </p:grpSpPr>
          <p:sp>
            <p:nvSpPr>
              <p:cNvPr id="12" name="Freihandform: Form 11">
                <a:extLst>
                  <a:ext uri="{FF2B5EF4-FFF2-40B4-BE49-F238E27FC236}">
                    <a16:creationId xmlns:a16="http://schemas.microsoft.com/office/drawing/2014/main" id="{E799F5AD-2EC1-100B-AA7C-3AE9EAAB6C72}"/>
                  </a:ext>
                </a:extLst>
              </p:cNvPr>
              <p:cNvSpPr/>
              <p:nvPr/>
            </p:nvSpPr>
            <p:spPr>
              <a:xfrm>
                <a:off x="2045230" y="-937158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9F7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" name="Freihandform: Form 12">
                <a:extLst>
                  <a:ext uri="{FF2B5EF4-FFF2-40B4-BE49-F238E27FC236}">
                    <a16:creationId xmlns:a16="http://schemas.microsoft.com/office/drawing/2014/main" id="{EAA00458-2D0F-D07A-E461-BDCF4A47B5B6}"/>
                  </a:ext>
                </a:extLst>
              </p:cNvPr>
              <p:cNvSpPr/>
              <p:nvPr/>
            </p:nvSpPr>
            <p:spPr>
              <a:xfrm>
                <a:off x="2045230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FED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" name="Freihandform: Form 13">
                <a:extLst>
                  <a:ext uri="{FF2B5EF4-FFF2-40B4-BE49-F238E27FC236}">
                    <a16:creationId xmlns:a16="http://schemas.microsoft.com/office/drawing/2014/main" id="{3FF4E0FC-4F23-0B0F-76BF-DBE06B771846}"/>
                  </a:ext>
                </a:extLst>
              </p:cNvPr>
              <p:cNvSpPr/>
              <p:nvPr/>
            </p:nvSpPr>
            <p:spPr>
              <a:xfrm>
                <a:off x="2045230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5E3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" name="Freihandform: Form 14">
                <a:extLst>
                  <a:ext uri="{FF2B5EF4-FFF2-40B4-BE49-F238E27FC236}">
                    <a16:creationId xmlns:a16="http://schemas.microsoft.com/office/drawing/2014/main" id="{CC2A484A-E921-878A-DE75-FA17BAD6C19C}"/>
                  </a:ext>
                </a:extLst>
              </p:cNvPr>
              <p:cNvSpPr/>
              <p:nvPr/>
            </p:nvSpPr>
            <p:spPr>
              <a:xfrm>
                <a:off x="2045230" y="-1663170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CFC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" name="Freihandform: Form 15">
                <a:extLst>
                  <a:ext uri="{FF2B5EF4-FFF2-40B4-BE49-F238E27FC236}">
                    <a16:creationId xmlns:a16="http://schemas.microsoft.com/office/drawing/2014/main" id="{364A6FD9-13FD-7DC0-DA80-1CD703744C12}"/>
                  </a:ext>
                </a:extLst>
              </p:cNvPr>
              <p:cNvSpPr/>
              <p:nvPr/>
            </p:nvSpPr>
            <p:spPr>
              <a:xfrm>
                <a:off x="2045230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BD9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72F8A585-95E7-2DEB-67E7-D11FA9DC84AB}"/>
              </a:ext>
            </a:extLst>
          </p:cNvPr>
          <p:cNvGrpSpPr/>
          <p:nvPr userDrawn="1"/>
        </p:nvGrpSpPr>
        <p:grpSpPr>
          <a:xfrm>
            <a:off x="661988" y="505156"/>
            <a:ext cx="2900362" cy="404728"/>
            <a:chOff x="-161925" y="-1630732"/>
            <a:chExt cx="12193587" cy="1701544"/>
          </a:xfrm>
          <a:solidFill>
            <a:schemeClr val="bg1"/>
          </a:solidFill>
        </p:grpSpPr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B09E12A9-FA25-2042-9DD7-D8729CBA0C00}"/>
                </a:ext>
              </a:extLst>
            </p:cNvPr>
            <p:cNvSpPr/>
            <p:nvPr/>
          </p:nvSpPr>
          <p:spPr>
            <a:xfrm>
              <a:off x="10774928" y="-1247713"/>
              <a:ext cx="1256734" cy="356304"/>
            </a:xfrm>
            <a:custGeom>
              <a:avLst/>
              <a:gdLst>
                <a:gd name="connsiteX0" fmla="*/ 1226823 w 1256734"/>
                <a:gd name="connsiteY0" fmla="*/ 269166 h 356304"/>
                <a:gd name="connsiteX1" fmla="*/ 1133491 w 1256734"/>
                <a:gd name="connsiteY1" fmla="*/ 316610 h 356304"/>
                <a:gd name="connsiteX2" fmla="*/ 1010248 w 1256734"/>
                <a:gd name="connsiteY2" fmla="*/ 178448 h 356304"/>
                <a:gd name="connsiteX3" fmla="*/ 1131426 w 1256734"/>
                <a:gd name="connsiteY3" fmla="*/ 39696 h 356304"/>
                <a:gd name="connsiteX4" fmla="*/ 1226823 w 1256734"/>
                <a:gd name="connsiteY4" fmla="*/ 86659 h 356304"/>
                <a:gd name="connsiteX5" fmla="*/ 1256735 w 1256734"/>
                <a:gd name="connsiteY5" fmla="*/ 58823 h 356304"/>
                <a:gd name="connsiteX6" fmla="*/ 1216553 w 1256734"/>
                <a:gd name="connsiteY6" fmla="*/ 23241 h 356304"/>
                <a:gd name="connsiteX7" fmla="*/ 1130420 w 1256734"/>
                <a:gd name="connsiteY7" fmla="*/ 0 h 356304"/>
                <a:gd name="connsiteX8" fmla="*/ 965885 w 1256734"/>
                <a:gd name="connsiteY8" fmla="*/ 178448 h 356304"/>
                <a:gd name="connsiteX9" fmla="*/ 1011783 w 1256734"/>
                <a:gd name="connsiteY9" fmla="*/ 305763 h 356304"/>
                <a:gd name="connsiteX10" fmla="*/ 1129892 w 1256734"/>
                <a:gd name="connsiteY10" fmla="*/ 356305 h 356304"/>
                <a:gd name="connsiteX11" fmla="*/ 1255676 w 1256734"/>
                <a:gd name="connsiteY11" fmla="*/ 298071 h 356304"/>
                <a:gd name="connsiteX12" fmla="*/ 1226823 w 1256734"/>
                <a:gd name="connsiteY12" fmla="*/ 269166 h 356304"/>
                <a:gd name="connsiteX13" fmla="*/ 679216 w 1256734"/>
                <a:gd name="connsiteY13" fmla="*/ 197999 h 356304"/>
                <a:gd name="connsiteX14" fmla="*/ 846824 w 1256734"/>
                <a:gd name="connsiteY14" fmla="*/ 197999 h 356304"/>
                <a:gd name="connsiteX15" fmla="*/ 846824 w 1256734"/>
                <a:gd name="connsiteY15" fmla="*/ 350105 h 356304"/>
                <a:gd name="connsiteX16" fmla="*/ 890075 w 1256734"/>
                <a:gd name="connsiteY16" fmla="*/ 350105 h 356304"/>
                <a:gd name="connsiteX17" fmla="*/ 890075 w 1256734"/>
                <a:gd name="connsiteY17" fmla="*/ 6198 h 356304"/>
                <a:gd name="connsiteX18" fmla="*/ 846824 w 1256734"/>
                <a:gd name="connsiteY18" fmla="*/ 6198 h 356304"/>
                <a:gd name="connsiteX19" fmla="*/ 846824 w 1256734"/>
                <a:gd name="connsiteY19" fmla="*/ 160920 h 356304"/>
                <a:gd name="connsiteX20" fmla="*/ 679216 w 1256734"/>
                <a:gd name="connsiteY20" fmla="*/ 160920 h 356304"/>
                <a:gd name="connsiteX21" fmla="*/ 679216 w 1256734"/>
                <a:gd name="connsiteY21" fmla="*/ 6198 h 356304"/>
                <a:gd name="connsiteX22" fmla="*/ 635912 w 1256734"/>
                <a:gd name="connsiteY22" fmla="*/ 6198 h 356304"/>
                <a:gd name="connsiteX23" fmla="*/ 635912 w 1256734"/>
                <a:gd name="connsiteY23" fmla="*/ 350105 h 356304"/>
                <a:gd name="connsiteX24" fmla="*/ 679216 w 1256734"/>
                <a:gd name="connsiteY24" fmla="*/ 350105 h 356304"/>
                <a:gd name="connsiteX25" fmla="*/ 679216 w 1256734"/>
                <a:gd name="connsiteY25" fmla="*/ 197999 h 356304"/>
                <a:gd name="connsiteX26" fmla="*/ 392018 w 1256734"/>
                <a:gd name="connsiteY26" fmla="*/ 40230 h 356304"/>
                <a:gd name="connsiteX27" fmla="*/ 476563 w 1256734"/>
                <a:gd name="connsiteY27" fmla="*/ 75813 h 356304"/>
                <a:gd name="connsiteX28" fmla="*/ 515792 w 1256734"/>
                <a:gd name="connsiteY28" fmla="*/ 181011 h 356304"/>
                <a:gd name="connsiteX29" fmla="*/ 482758 w 1256734"/>
                <a:gd name="connsiteY29" fmla="*/ 275365 h 356304"/>
                <a:gd name="connsiteX30" fmla="*/ 390960 w 1256734"/>
                <a:gd name="connsiteY30" fmla="*/ 316610 h 356304"/>
                <a:gd name="connsiteX31" fmla="*/ 267239 w 1256734"/>
                <a:gd name="connsiteY31" fmla="*/ 178448 h 356304"/>
                <a:gd name="connsiteX32" fmla="*/ 392018 w 1256734"/>
                <a:gd name="connsiteY32" fmla="*/ 40230 h 356304"/>
                <a:gd name="connsiteX33" fmla="*/ 393077 w 1256734"/>
                <a:gd name="connsiteY33" fmla="*/ 0 h 356304"/>
                <a:gd name="connsiteX34" fmla="*/ 222876 w 1256734"/>
                <a:gd name="connsiteY34" fmla="*/ 179994 h 356304"/>
                <a:gd name="connsiteX35" fmla="*/ 258982 w 1256734"/>
                <a:gd name="connsiteY35" fmla="*/ 291872 h 356304"/>
                <a:gd name="connsiteX36" fmla="*/ 392018 w 1256734"/>
                <a:gd name="connsiteY36" fmla="*/ 356305 h 356304"/>
                <a:gd name="connsiteX37" fmla="*/ 501868 w 1256734"/>
                <a:gd name="connsiteY37" fmla="*/ 315059 h 356304"/>
                <a:gd name="connsiteX38" fmla="*/ 560155 w 1256734"/>
                <a:gd name="connsiteY38" fmla="*/ 181545 h 356304"/>
                <a:gd name="connsiteX39" fmla="*/ 519921 w 1256734"/>
                <a:gd name="connsiteY39" fmla="*/ 59304 h 356304"/>
                <a:gd name="connsiteX40" fmla="*/ 393077 w 1256734"/>
                <a:gd name="connsiteY40" fmla="*/ 0 h 356304"/>
                <a:gd name="connsiteX41" fmla="*/ 43306 w 1256734"/>
                <a:gd name="connsiteY41" fmla="*/ 310946 h 356304"/>
                <a:gd name="connsiteX42" fmla="*/ 43306 w 1256734"/>
                <a:gd name="connsiteY42" fmla="*/ 6198 h 356304"/>
                <a:gd name="connsiteX43" fmla="*/ 0 w 1256734"/>
                <a:gd name="connsiteY43" fmla="*/ 6198 h 356304"/>
                <a:gd name="connsiteX44" fmla="*/ 0 w 1256734"/>
                <a:gd name="connsiteY44" fmla="*/ 350105 h 356304"/>
                <a:gd name="connsiteX45" fmla="*/ 194237 w 1256734"/>
                <a:gd name="connsiteY45" fmla="*/ 350105 h 356304"/>
                <a:gd name="connsiteX46" fmla="*/ 194237 w 1256734"/>
                <a:gd name="connsiteY46" fmla="*/ 310946 h 356304"/>
                <a:gd name="connsiteX47" fmla="*/ 43306 w 1256734"/>
                <a:gd name="connsiteY47" fmla="*/ 310946 h 35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256734" h="356304">
                  <a:moveTo>
                    <a:pt x="1226823" y="269166"/>
                  </a:moveTo>
                  <a:cubicBezTo>
                    <a:pt x="1200037" y="301650"/>
                    <a:pt x="1171131" y="316610"/>
                    <a:pt x="1133491" y="316610"/>
                  </a:cubicBezTo>
                  <a:cubicBezTo>
                    <a:pt x="1062341" y="316610"/>
                    <a:pt x="1010248" y="258371"/>
                    <a:pt x="1010248" y="178448"/>
                  </a:cubicBezTo>
                  <a:cubicBezTo>
                    <a:pt x="1010248" y="97985"/>
                    <a:pt x="1061334" y="39696"/>
                    <a:pt x="1131426" y="39696"/>
                  </a:cubicBezTo>
                  <a:cubicBezTo>
                    <a:pt x="1168008" y="39696"/>
                    <a:pt x="1193313" y="52092"/>
                    <a:pt x="1226823" y="86659"/>
                  </a:cubicBezTo>
                  <a:lnTo>
                    <a:pt x="1256735" y="58823"/>
                  </a:lnTo>
                  <a:cubicBezTo>
                    <a:pt x="1239742" y="40230"/>
                    <a:pt x="1230424" y="32003"/>
                    <a:pt x="1216553" y="23241"/>
                  </a:cubicBezTo>
                  <a:cubicBezTo>
                    <a:pt x="1191725" y="8281"/>
                    <a:pt x="1161338" y="0"/>
                    <a:pt x="1130420" y="0"/>
                  </a:cubicBezTo>
                  <a:cubicBezTo>
                    <a:pt x="1035500" y="0"/>
                    <a:pt x="965885" y="75279"/>
                    <a:pt x="965885" y="178448"/>
                  </a:cubicBezTo>
                  <a:cubicBezTo>
                    <a:pt x="965885" y="226369"/>
                    <a:pt x="982931" y="273279"/>
                    <a:pt x="1011783" y="305763"/>
                  </a:cubicBezTo>
                  <a:cubicBezTo>
                    <a:pt x="1041165" y="338782"/>
                    <a:pt x="1081928" y="356305"/>
                    <a:pt x="1129892" y="356305"/>
                  </a:cubicBezTo>
                  <a:cubicBezTo>
                    <a:pt x="1182990" y="356305"/>
                    <a:pt x="1221107" y="338782"/>
                    <a:pt x="1255676" y="298071"/>
                  </a:cubicBezTo>
                  <a:lnTo>
                    <a:pt x="1226823" y="269166"/>
                  </a:lnTo>
                  <a:close/>
                  <a:moveTo>
                    <a:pt x="679216" y="197999"/>
                  </a:moveTo>
                  <a:lnTo>
                    <a:pt x="846824" y="197999"/>
                  </a:lnTo>
                  <a:lnTo>
                    <a:pt x="846824" y="350105"/>
                  </a:lnTo>
                  <a:lnTo>
                    <a:pt x="890075" y="350105"/>
                  </a:lnTo>
                  <a:lnTo>
                    <a:pt x="890075" y="6198"/>
                  </a:lnTo>
                  <a:lnTo>
                    <a:pt x="846824" y="6198"/>
                  </a:lnTo>
                  <a:lnTo>
                    <a:pt x="846824" y="160920"/>
                  </a:lnTo>
                  <a:lnTo>
                    <a:pt x="679216" y="160920"/>
                  </a:lnTo>
                  <a:lnTo>
                    <a:pt x="679216" y="6198"/>
                  </a:lnTo>
                  <a:lnTo>
                    <a:pt x="635912" y="6198"/>
                  </a:lnTo>
                  <a:lnTo>
                    <a:pt x="635912" y="350105"/>
                  </a:lnTo>
                  <a:lnTo>
                    <a:pt x="679216" y="350105"/>
                  </a:lnTo>
                  <a:lnTo>
                    <a:pt x="679216" y="197999"/>
                  </a:lnTo>
                  <a:close/>
                  <a:moveTo>
                    <a:pt x="392018" y="40230"/>
                  </a:moveTo>
                  <a:cubicBezTo>
                    <a:pt x="422459" y="40230"/>
                    <a:pt x="453904" y="53641"/>
                    <a:pt x="476563" y="75813"/>
                  </a:cubicBezTo>
                  <a:cubicBezTo>
                    <a:pt x="503404" y="101618"/>
                    <a:pt x="515792" y="135117"/>
                    <a:pt x="515792" y="181011"/>
                  </a:cubicBezTo>
                  <a:cubicBezTo>
                    <a:pt x="515792" y="216057"/>
                    <a:pt x="502874" y="253189"/>
                    <a:pt x="482758" y="275365"/>
                  </a:cubicBezTo>
                  <a:cubicBezTo>
                    <a:pt x="459569" y="301650"/>
                    <a:pt x="425530" y="316610"/>
                    <a:pt x="390960" y="316610"/>
                  </a:cubicBezTo>
                  <a:cubicBezTo>
                    <a:pt x="319809" y="316610"/>
                    <a:pt x="267239" y="258371"/>
                    <a:pt x="267239" y="178448"/>
                  </a:cubicBezTo>
                  <a:cubicBezTo>
                    <a:pt x="267239" y="99000"/>
                    <a:pt x="320338" y="40230"/>
                    <a:pt x="392018" y="40230"/>
                  </a:cubicBezTo>
                  <a:moveTo>
                    <a:pt x="393077" y="0"/>
                  </a:moveTo>
                  <a:cubicBezTo>
                    <a:pt x="295615" y="0"/>
                    <a:pt x="222876" y="77362"/>
                    <a:pt x="222876" y="179994"/>
                  </a:cubicBezTo>
                  <a:cubicBezTo>
                    <a:pt x="222876" y="223273"/>
                    <a:pt x="235318" y="261956"/>
                    <a:pt x="258982" y="291872"/>
                  </a:cubicBezTo>
                  <a:cubicBezTo>
                    <a:pt x="290957" y="332101"/>
                    <a:pt x="340985" y="356305"/>
                    <a:pt x="392018" y="356305"/>
                  </a:cubicBezTo>
                  <a:cubicBezTo>
                    <a:pt x="431723" y="356305"/>
                    <a:pt x="470899" y="341879"/>
                    <a:pt x="501868" y="315059"/>
                  </a:cubicBezTo>
                  <a:cubicBezTo>
                    <a:pt x="539509" y="283110"/>
                    <a:pt x="560155" y="235131"/>
                    <a:pt x="560155" y="181545"/>
                  </a:cubicBezTo>
                  <a:cubicBezTo>
                    <a:pt x="560155" y="129935"/>
                    <a:pt x="547715" y="91788"/>
                    <a:pt x="519921" y="59304"/>
                  </a:cubicBezTo>
                  <a:cubicBezTo>
                    <a:pt x="486886" y="21691"/>
                    <a:pt x="440988" y="0"/>
                    <a:pt x="393077" y="0"/>
                  </a:cubicBezTo>
                  <a:moveTo>
                    <a:pt x="43306" y="310946"/>
                  </a:moveTo>
                  <a:lnTo>
                    <a:pt x="43306" y="6198"/>
                  </a:lnTo>
                  <a:lnTo>
                    <a:pt x="0" y="6198"/>
                  </a:lnTo>
                  <a:lnTo>
                    <a:pt x="0" y="350105"/>
                  </a:lnTo>
                  <a:lnTo>
                    <a:pt x="194237" y="350105"/>
                  </a:lnTo>
                  <a:lnTo>
                    <a:pt x="194237" y="310946"/>
                  </a:lnTo>
                  <a:lnTo>
                    <a:pt x="43306" y="310946"/>
                  </a:lnTo>
                  <a:close/>
                </a:path>
              </a:pathLst>
            </a:custGeom>
            <a:solidFill>
              <a:schemeClr val="accent2"/>
            </a:solidFill>
            <a:ln w="529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GB" noProof="0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823E5250-3087-0038-9B58-9DC00D9118D0}"/>
                </a:ext>
              </a:extLst>
            </p:cNvPr>
            <p:cNvSpPr/>
            <p:nvPr/>
          </p:nvSpPr>
          <p:spPr>
            <a:xfrm>
              <a:off x="-161925" y="-1630732"/>
              <a:ext cx="10575647" cy="1701544"/>
            </a:xfrm>
            <a:custGeom>
              <a:avLst/>
              <a:gdLst>
                <a:gd name="connsiteX0" fmla="*/ 7802033 w 10575647"/>
                <a:gd name="connsiteY0" fmla="*/ 380187 h 1701544"/>
                <a:gd name="connsiteX1" fmla="*/ 7621138 w 10575647"/>
                <a:gd name="connsiteY1" fmla="*/ 380187 h 1701544"/>
                <a:gd name="connsiteX2" fmla="*/ 7621138 w 10575647"/>
                <a:gd name="connsiteY2" fmla="*/ 1271563 h 1701544"/>
                <a:gd name="connsiteX3" fmla="*/ 7802033 w 10575647"/>
                <a:gd name="connsiteY3" fmla="*/ 1271563 h 1701544"/>
                <a:gd name="connsiteX4" fmla="*/ 7802033 w 10575647"/>
                <a:gd name="connsiteY4" fmla="*/ 380187 h 1701544"/>
                <a:gd name="connsiteX5" fmla="*/ 706522 w 10575647"/>
                <a:gd name="connsiteY5" fmla="*/ 1271563 h 1701544"/>
                <a:gd name="connsiteX6" fmla="*/ 902065 w 10575647"/>
                <a:gd name="connsiteY6" fmla="*/ 1271563 h 1701544"/>
                <a:gd name="connsiteX7" fmla="*/ 902065 w 10575647"/>
                <a:gd name="connsiteY7" fmla="*/ 0 h 1701544"/>
                <a:gd name="connsiteX8" fmla="*/ 706522 w 10575647"/>
                <a:gd name="connsiteY8" fmla="*/ 0 h 1701544"/>
                <a:gd name="connsiteX9" fmla="*/ 706522 w 10575647"/>
                <a:gd name="connsiteY9" fmla="*/ 553717 h 1701544"/>
                <a:gd name="connsiteX10" fmla="*/ 195543 w 10575647"/>
                <a:gd name="connsiteY10" fmla="*/ 553717 h 1701544"/>
                <a:gd name="connsiteX11" fmla="*/ 195543 w 10575647"/>
                <a:gd name="connsiteY11" fmla="*/ 0 h 1701544"/>
                <a:gd name="connsiteX12" fmla="*/ 0 w 10575647"/>
                <a:gd name="connsiteY12" fmla="*/ 0 h 1701544"/>
                <a:gd name="connsiteX13" fmla="*/ 0 w 10575647"/>
                <a:gd name="connsiteY13" fmla="*/ 1271563 h 1701544"/>
                <a:gd name="connsiteX14" fmla="*/ 195543 w 10575647"/>
                <a:gd name="connsiteY14" fmla="*/ 1271563 h 1701544"/>
                <a:gd name="connsiteX15" fmla="*/ 195543 w 10575647"/>
                <a:gd name="connsiteY15" fmla="*/ 727142 h 1701544"/>
                <a:gd name="connsiteX16" fmla="*/ 706522 w 10575647"/>
                <a:gd name="connsiteY16" fmla="*/ 727142 h 1701544"/>
                <a:gd name="connsiteX17" fmla="*/ 706522 w 10575647"/>
                <a:gd name="connsiteY17" fmla="*/ 1271563 h 1701544"/>
                <a:gd name="connsiteX18" fmla="*/ 1306185 w 10575647"/>
                <a:gd name="connsiteY18" fmla="*/ 1690649 h 1701544"/>
                <a:gd name="connsiteX19" fmla="*/ 1654904 w 10575647"/>
                <a:gd name="connsiteY19" fmla="*/ 1036061 h 1701544"/>
                <a:gd name="connsiteX20" fmla="*/ 1306185 w 10575647"/>
                <a:gd name="connsiteY20" fmla="*/ 381469 h 1701544"/>
                <a:gd name="connsiteX21" fmla="*/ 1090234 w 10575647"/>
                <a:gd name="connsiteY21" fmla="*/ 381469 h 1701544"/>
                <a:gd name="connsiteX22" fmla="*/ 1438900 w 10575647"/>
                <a:gd name="connsiteY22" fmla="*/ 1036061 h 1701544"/>
                <a:gd name="connsiteX23" fmla="*/ 1090234 w 10575647"/>
                <a:gd name="connsiteY23" fmla="*/ 1690649 h 1701544"/>
                <a:gd name="connsiteX24" fmla="*/ 1306185 w 10575647"/>
                <a:gd name="connsiteY24" fmla="*/ 1690649 h 1701544"/>
                <a:gd name="connsiteX25" fmla="*/ 2581808 w 10575647"/>
                <a:gd name="connsiteY25" fmla="*/ 828654 h 1701544"/>
                <a:gd name="connsiteX26" fmla="*/ 2317883 w 10575647"/>
                <a:gd name="connsiteY26" fmla="*/ 1129505 h 1701544"/>
                <a:gd name="connsiteX27" fmla="*/ 2065011 w 10575647"/>
                <a:gd name="connsiteY27" fmla="*/ 832338 h 1701544"/>
                <a:gd name="connsiteX28" fmla="*/ 2327068 w 10575647"/>
                <a:gd name="connsiteY28" fmla="*/ 525990 h 1701544"/>
                <a:gd name="connsiteX29" fmla="*/ 2581808 w 10575647"/>
                <a:gd name="connsiteY29" fmla="*/ 828654 h 1701544"/>
                <a:gd name="connsiteX30" fmla="*/ 2581808 w 10575647"/>
                <a:gd name="connsiteY30" fmla="*/ 1271563 h 1701544"/>
                <a:gd name="connsiteX31" fmla="*/ 2762608 w 10575647"/>
                <a:gd name="connsiteY31" fmla="*/ 1271563 h 1701544"/>
                <a:gd name="connsiteX32" fmla="*/ 2762608 w 10575647"/>
                <a:gd name="connsiteY32" fmla="*/ 0 h 1701544"/>
                <a:gd name="connsiteX33" fmla="*/ 2581808 w 10575647"/>
                <a:gd name="connsiteY33" fmla="*/ 0 h 1701544"/>
                <a:gd name="connsiteX34" fmla="*/ 2581808 w 10575647"/>
                <a:gd name="connsiteY34" fmla="*/ 476356 h 1701544"/>
                <a:gd name="connsiteX35" fmla="*/ 2297581 w 10575647"/>
                <a:gd name="connsiteY35" fmla="*/ 359885 h 1701544"/>
                <a:gd name="connsiteX36" fmla="*/ 1876785 w 10575647"/>
                <a:gd name="connsiteY36" fmla="*/ 830470 h 1701544"/>
                <a:gd name="connsiteX37" fmla="*/ 2297581 w 10575647"/>
                <a:gd name="connsiteY37" fmla="*/ 1291865 h 1701544"/>
                <a:gd name="connsiteX38" fmla="*/ 2581808 w 10575647"/>
                <a:gd name="connsiteY38" fmla="*/ 1163217 h 1701544"/>
                <a:gd name="connsiteX39" fmla="*/ 2581808 w 10575647"/>
                <a:gd name="connsiteY39" fmla="*/ 1271563 h 1701544"/>
                <a:gd name="connsiteX40" fmla="*/ 3437445 w 10575647"/>
                <a:gd name="connsiteY40" fmla="*/ 542393 h 1701544"/>
                <a:gd name="connsiteX41" fmla="*/ 3460310 w 10575647"/>
                <a:gd name="connsiteY41" fmla="*/ 545331 h 1701544"/>
                <a:gd name="connsiteX42" fmla="*/ 3460310 w 10575647"/>
                <a:gd name="connsiteY42" fmla="*/ 359885 h 1701544"/>
                <a:gd name="connsiteX43" fmla="*/ 3406830 w 10575647"/>
                <a:gd name="connsiteY43" fmla="*/ 359885 h 1701544"/>
                <a:gd name="connsiteX44" fmla="*/ 3231965 w 10575647"/>
                <a:gd name="connsiteY44" fmla="*/ 415877 h 1701544"/>
                <a:gd name="connsiteX45" fmla="*/ 3187194 w 10575647"/>
                <a:gd name="connsiteY45" fmla="*/ 462091 h 1701544"/>
                <a:gd name="connsiteX46" fmla="*/ 3187194 w 10575647"/>
                <a:gd name="connsiteY46" fmla="*/ 380187 h 1701544"/>
                <a:gd name="connsiteX47" fmla="*/ 3006395 w 10575647"/>
                <a:gd name="connsiteY47" fmla="*/ 380187 h 1701544"/>
                <a:gd name="connsiteX48" fmla="*/ 3006395 w 10575647"/>
                <a:gd name="connsiteY48" fmla="*/ 1271563 h 1701544"/>
                <a:gd name="connsiteX49" fmla="*/ 3187194 w 10575647"/>
                <a:gd name="connsiteY49" fmla="*/ 1271563 h 1701544"/>
                <a:gd name="connsiteX50" fmla="*/ 3187194 w 10575647"/>
                <a:gd name="connsiteY50" fmla="*/ 819411 h 1701544"/>
                <a:gd name="connsiteX51" fmla="*/ 3233517 w 10575647"/>
                <a:gd name="connsiteY51" fmla="*/ 629638 h 1701544"/>
                <a:gd name="connsiteX52" fmla="*/ 3401277 w 10575647"/>
                <a:gd name="connsiteY52" fmla="*/ 540683 h 1701544"/>
                <a:gd name="connsiteX53" fmla="*/ 3437445 w 10575647"/>
                <a:gd name="connsiteY53" fmla="*/ 542393 h 1701544"/>
                <a:gd name="connsiteX54" fmla="*/ 4250980 w 10575647"/>
                <a:gd name="connsiteY54" fmla="*/ 826838 h 1701544"/>
                <a:gd name="connsiteX55" fmla="*/ 3983364 w 10575647"/>
                <a:gd name="connsiteY55" fmla="*/ 1122077 h 1701544"/>
                <a:gd name="connsiteX56" fmla="*/ 3713875 w 10575647"/>
                <a:gd name="connsiteY56" fmla="*/ 826838 h 1701544"/>
                <a:gd name="connsiteX57" fmla="*/ 3985180 w 10575647"/>
                <a:gd name="connsiteY57" fmla="*/ 529677 h 1701544"/>
                <a:gd name="connsiteX58" fmla="*/ 4250980 w 10575647"/>
                <a:gd name="connsiteY58" fmla="*/ 826838 h 1701544"/>
                <a:gd name="connsiteX59" fmla="*/ 4435464 w 10575647"/>
                <a:gd name="connsiteY59" fmla="*/ 828654 h 1701544"/>
                <a:gd name="connsiteX60" fmla="*/ 3985180 w 10575647"/>
                <a:gd name="connsiteY60" fmla="*/ 359885 h 1701544"/>
                <a:gd name="connsiteX61" fmla="*/ 3529338 w 10575647"/>
                <a:gd name="connsiteY61" fmla="*/ 824916 h 1701544"/>
                <a:gd name="connsiteX62" fmla="*/ 3979622 w 10575647"/>
                <a:gd name="connsiteY62" fmla="*/ 1291865 h 1701544"/>
                <a:gd name="connsiteX63" fmla="*/ 4435464 w 10575647"/>
                <a:gd name="connsiteY63" fmla="*/ 828654 h 1701544"/>
                <a:gd name="connsiteX64" fmla="*/ 5261608 w 10575647"/>
                <a:gd name="connsiteY64" fmla="*/ 828654 h 1701544"/>
                <a:gd name="connsiteX65" fmla="*/ 5205508 w 10575647"/>
                <a:gd name="connsiteY65" fmla="*/ 1025854 h 1701544"/>
                <a:gd name="connsiteX66" fmla="*/ 5005052 w 10575647"/>
                <a:gd name="connsiteY66" fmla="*/ 1122077 h 1701544"/>
                <a:gd name="connsiteX67" fmla="*/ 4746675 w 10575647"/>
                <a:gd name="connsiteY67" fmla="*/ 823153 h 1701544"/>
                <a:gd name="connsiteX68" fmla="*/ 5008683 w 10575647"/>
                <a:gd name="connsiteY68" fmla="*/ 529677 h 1701544"/>
                <a:gd name="connsiteX69" fmla="*/ 5200378 w 10575647"/>
                <a:gd name="connsiteY69" fmla="*/ 617081 h 1701544"/>
                <a:gd name="connsiteX70" fmla="*/ 5261608 w 10575647"/>
                <a:gd name="connsiteY70" fmla="*/ 828654 h 1701544"/>
                <a:gd name="connsiteX71" fmla="*/ 5327264 w 10575647"/>
                <a:gd name="connsiteY71" fmla="*/ 1583314 h 1701544"/>
                <a:gd name="connsiteX72" fmla="*/ 5446113 w 10575647"/>
                <a:gd name="connsiteY72" fmla="*/ 1256819 h 1701544"/>
                <a:gd name="connsiteX73" fmla="*/ 5446113 w 10575647"/>
                <a:gd name="connsiteY73" fmla="*/ 380187 h 1701544"/>
                <a:gd name="connsiteX74" fmla="*/ 5265239 w 10575647"/>
                <a:gd name="connsiteY74" fmla="*/ 380187 h 1701544"/>
                <a:gd name="connsiteX75" fmla="*/ 5265239 w 10575647"/>
                <a:gd name="connsiteY75" fmla="*/ 488537 h 1701544"/>
                <a:gd name="connsiteX76" fmla="*/ 4982875 w 10575647"/>
                <a:gd name="connsiteY76" fmla="*/ 359885 h 1701544"/>
                <a:gd name="connsiteX77" fmla="*/ 4699394 w 10575647"/>
                <a:gd name="connsiteY77" fmla="*/ 465190 h 1701544"/>
                <a:gd name="connsiteX78" fmla="*/ 4558400 w 10575647"/>
                <a:gd name="connsiteY78" fmla="*/ 828654 h 1701544"/>
                <a:gd name="connsiteX79" fmla="*/ 4971816 w 10575647"/>
                <a:gd name="connsiteY79" fmla="*/ 1291865 h 1701544"/>
                <a:gd name="connsiteX80" fmla="*/ 5265239 w 10575647"/>
                <a:gd name="connsiteY80" fmla="*/ 1150553 h 1701544"/>
                <a:gd name="connsiteX81" fmla="*/ 5265239 w 10575647"/>
                <a:gd name="connsiteY81" fmla="*/ 1267931 h 1701544"/>
                <a:gd name="connsiteX82" fmla="*/ 5206095 w 10575647"/>
                <a:gd name="connsiteY82" fmla="*/ 1457116 h 1701544"/>
                <a:gd name="connsiteX83" fmla="*/ 4999546 w 10575647"/>
                <a:gd name="connsiteY83" fmla="*/ 1533625 h 1701544"/>
                <a:gd name="connsiteX84" fmla="*/ 4811695 w 10575647"/>
                <a:gd name="connsiteY84" fmla="*/ 1487409 h 1701544"/>
                <a:gd name="connsiteX85" fmla="*/ 4733588 w 10575647"/>
                <a:gd name="connsiteY85" fmla="*/ 1416300 h 1701544"/>
                <a:gd name="connsiteX86" fmla="*/ 4719215 w 10575647"/>
                <a:gd name="connsiteY86" fmla="*/ 1401339 h 1701544"/>
                <a:gd name="connsiteX87" fmla="*/ 4595103 w 10575647"/>
                <a:gd name="connsiteY87" fmla="*/ 1525451 h 1701544"/>
                <a:gd name="connsiteX88" fmla="*/ 4607819 w 10575647"/>
                <a:gd name="connsiteY88" fmla="*/ 1539824 h 1701544"/>
                <a:gd name="connsiteX89" fmla="*/ 4999546 w 10575647"/>
                <a:gd name="connsiteY89" fmla="*/ 1701544 h 1701544"/>
                <a:gd name="connsiteX90" fmla="*/ 5327264 w 10575647"/>
                <a:gd name="connsiteY90" fmla="*/ 1583314 h 1701544"/>
                <a:gd name="connsiteX91" fmla="*/ 6317923 w 10575647"/>
                <a:gd name="connsiteY91" fmla="*/ 747497 h 1701544"/>
                <a:gd name="connsiteX92" fmla="*/ 5805203 w 10575647"/>
                <a:gd name="connsiteY92" fmla="*/ 747497 h 1701544"/>
                <a:gd name="connsiteX93" fmla="*/ 5845913 w 10575647"/>
                <a:gd name="connsiteY93" fmla="*/ 635144 h 1701544"/>
                <a:gd name="connsiteX94" fmla="*/ 6057989 w 10575647"/>
                <a:gd name="connsiteY94" fmla="*/ 525990 h 1701544"/>
                <a:gd name="connsiteX95" fmla="*/ 6275730 w 10575647"/>
                <a:gd name="connsiteY95" fmla="*/ 633487 h 1701544"/>
                <a:gd name="connsiteX96" fmla="*/ 6317923 w 10575647"/>
                <a:gd name="connsiteY96" fmla="*/ 747497 h 1701544"/>
                <a:gd name="connsiteX97" fmla="*/ 6508188 w 10575647"/>
                <a:gd name="connsiteY97" fmla="*/ 872890 h 1701544"/>
                <a:gd name="connsiteX98" fmla="*/ 6510094 w 10575647"/>
                <a:gd name="connsiteY98" fmla="*/ 815779 h 1701544"/>
                <a:gd name="connsiteX99" fmla="*/ 6057989 w 10575647"/>
                <a:gd name="connsiteY99" fmla="*/ 359885 h 1701544"/>
                <a:gd name="connsiteX100" fmla="*/ 5609538 w 10575647"/>
                <a:gd name="connsiteY100" fmla="*/ 828654 h 1701544"/>
                <a:gd name="connsiteX101" fmla="*/ 6063495 w 10575647"/>
                <a:gd name="connsiteY101" fmla="*/ 1291865 h 1701544"/>
                <a:gd name="connsiteX102" fmla="*/ 6460066 w 10575647"/>
                <a:gd name="connsiteY102" fmla="*/ 1051710 h 1701544"/>
                <a:gd name="connsiteX103" fmla="*/ 6469966 w 10575647"/>
                <a:gd name="connsiteY103" fmla="*/ 1031572 h 1701544"/>
                <a:gd name="connsiteX104" fmla="*/ 6308923 w 10575647"/>
                <a:gd name="connsiteY104" fmla="*/ 971517 h 1701544"/>
                <a:gd name="connsiteX105" fmla="*/ 6300559 w 10575647"/>
                <a:gd name="connsiteY105" fmla="*/ 986689 h 1701544"/>
                <a:gd name="connsiteX106" fmla="*/ 6063495 w 10575647"/>
                <a:gd name="connsiteY106" fmla="*/ 1122077 h 1701544"/>
                <a:gd name="connsiteX107" fmla="*/ 5850784 w 10575647"/>
                <a:gd name="connsiteY107" fmla="*/ 1013832 h 1701544"/>
                <a:gd name="connsiteX108" fmla="*/ 5802132 w 10575647"/>
                <a:gd name="connsiteY108" fmla="*/ 891377 h 1701544"/>
                <a:gd name="connsiteX109" fmla="*/ 6506547 w 10575647"/>
                <a:gd name="connsiteY109" fmla="*/ 891377 h 1701544"/>
                <a:gd name="connsiteX110" fmla="*/ 6508188 w 10575647"/>
                <a:gd name="connsiteY110" fmla="*/ 872890 h 1701544"/>
                <a:gd name="connsiteX111" fmla="*/ 7205139 w 10575647"/>
                <a:gd name="connsiteY111" fmla="*/ 1271563 h 1701544"/>
                <a:gd name="connsiteX112" fmla="*/ 7385928 w 10575647"/>
                <a:gd name="connsiteY112" fmla="*/ 1271563 h 1701544"/>
                <a:gd name="connsiteX113" fmla="*/ 7385928 w 10575647"/>
                <a:gd name="connsiteY113" fmla="*/ 677294 h 1701544"/>
                <a:gd name="connsiteX114" fmla="*/ 7307154 w 10575647"/>
                <a:gd name="connsiteY114" fmla="*/ 435163 h 1701544"/>
                <a:gd name="connsiteX115" fmla="*/ 7096189 w 10575647"/>
                <a:gd name="connsiteY115" fmla="*/ 359885 h 1701544"/>
                <a:gd name="connsiteX116" fmla="*/ 6863625 w 10575647"/>
                <a:gd name="connsiteY116" fmla="*/ 463694 h 1701544"/>
                <a:gd name="connsiteX117" fmla="*/ 6863625 w 10575647"/>
                <a:gd name="connsiteY117" fmla="*/ 380187 h 1701544"/>
                <a:gd name="connsiteX118" fmla="*/ 6682836 w 10575647"/>
                <a:gd name="connsiteY118" fmla="*/ 380187 h 1701544"/>
                <a:gd name="connsiteX119" fmla="*/ 6682836 w 10575647"/>
                <a:gd name="connsiteY119" fmla="*/ 1271563 h 1701544"/>
                <a:gd name="connsiteX120" fmla="*/ 6863625 w 10575647"/>
                <a:gd name="connsiteY120" fmla="*/ 1271563 h 1701544"/>
                <a:gd name="connsiteX121" fmla="*/ 6863625 w 10575647"/>
                <a:gd name="connsiteY121" fmla="*/ 732701 h 1701544"/>
                <a:gd name="connsiteX122" fmla="*/ 6913971 w 10575647"/>
                <a:gd name="connsiteY122" fmla="*/ 591066 h 1701544"/>
                <a:gd name="connsiteX123" fmla="*/ 7061143 w 10575647"/>
                <a:gd name="connsiteY123" fmla="*/ 525990 h 1701544"/>
                <a:gd name="connsiteX124" fmla="*/ 7177769 w 10575647"/>
                <a:gd name="connsiteY124" fmla="*/ 575089 h 1701544"/>
                <a:gd name="connsiteX125" fmla="*/ 7205139 w 10575647"/>
                <a:gd name="connsiteY125" fmla="*/ 708709 h 1701544"/>
                <a:gd name="connsiteX126" fmla="*/ 7205139 w 10575647"/>
                <a:gd name="connsiteY126" fmla="*/ 1271563 h 1701544"/>
                <a:gd name="connsiteX127" fmla="*/ 7822309 w 10575647"/>
                <a:gd name="connsiteY127" fmla="*/ 162418 h 1701544"/>
                <a:gd name="connsiteX128" fmla="*/ 7713412 w 10575647"/>
                <a:gd name="connsiteY128" fmla="*/ 49847 h 1701544"/>
                <a:gd name="connsiteX129" fmla="*/ 7602662 w 10575647"/>
                <a:gd name="connsiteY129" fmla="*/ 160549 h 1701544"/>
                <a:gd name="connsiteX130" fmla="*/ 7711560 w 10575647"/>
                <a:gd name="connsiteY130" fmla="*/ 271303 h 1701544"/>
                <a:gd name="connsiteX131" fmla="*/ 7822309 w 10575647"/>
                <a:gd name="connsiteY131" fmla="*/ 162418 h 1701544"/>
                <a:gd name="connsiteX132" fmla="*/ 8704760 w 10575647"/>
                <a:gd name="connsiteY132" fmla="*/ 826838 h 1701544"/>
                <a:gd name="connsiteX133" fmla="*/ 8437150 w 10575647"/>
                <a:gd name="connsiteY133" fmla="*/ 1122077 h 1701544"/>
                <a:gd name="connsiteX134" fmla="*/ 8167740 w 10575647"/>
                <a:gd name="connsiteY134" fmla="*/ 826838 h 1701544"/>
                <a:gd name="connsiteX135" fmla="*/ 8439003 w 10575647"/>
                <a:gd name="connsiteY135" fmla="*/ 529677 h 1701544"/>
                <a:gd name="connsiteX136" fmla="*/ 8704760 w 10575647"/>
                <a:gd name="connsiteY136" fmla="*/ 826838 h 1701544"/>
                <a:gd name="connsiteX137" fmla="*/ 8889307 w 10575647"/>
                <a:gd name="connsiteY137" fmla="*/ 828654 h 1701544"/>
                <a:gd name="connsiteX138" fmla="*/ 8439003 w 10575647"/>
                <a:gd name="connsiteY138" fmla="*/ 359885 h 1701544"/>
                <a:gd name="connsiteX139" fmla="*/ 7983193 w 10575647"/>
                <a:gd name="connsiteY139" fmla="*/ 824916 h 1701544"/>
                <a:gd name="connsiteX140" fmla="*/ 8433444 w 10575647"/>
                <a:gd name="connsiteY140" fmla="*/ 1291865 h 1701544"/>
                <a:gd name="connsiteX141" fmla="*/ 8889307 w 10575647"/>
                <a:gd name="connsiteY141" fmla="*/ 828654 h 1701544"/>
                <a:gd name="connsiteX142" fmla="*/ 9658150 w 10575647"/>
                <a:gd name="connsiteY142" fmla="*/ 1197940 h 1701544"/>
                <a:gd name="connsiteX143" fmla="*/ 9749630 w 10575647"/>
                <a:gd name="connsiteY143" fmla="*/ 944968 h 1701544"/>
                <a:gd name="connsiteX144" fmla="*/ 9749630 w 10575647"/>
                <a:gd name="connsiteY144" fmla="*/ 380187 h 1701544"/>
                <a:gd name="connsiteX145" fmla="*/ 9566988 w 10575647"/>
                <a:gd name="connsiteY145" fmla="*/ 380187 h 1701544"/>
                <a:gd name="connsiteX146" fmla="*/ 9566988 w 10575647"/>
                <a:gd name="connsiteY146" fmla="*/ 944968 h 1701544"/>
                <a:gd name="connsiteX147" fmla="*/ 9535012 w 10575647"/>
                <a:gd name="connsiteY147" fmla="*/ 1068222 h 1701544"/>
                <a:gd name="connsiteX148" fmla="*/ 9399010 w 10575647"/>
                <a:gd name="connsiteY148" fmla="*/ 1125815 h 1701544"/>
                <a:gd name="connsiteX149" fmla="*/ 9229233 w 10575647"/>
                <a:gd name="connsiteY149" fmla="*/ 941225 h 1701544"/>
                <a:gd name="connsiteX150" fmla="*/ 9229233 w 10575647"/>
                <a:gd name="connsiteY150" fmla="*/ 380187 h 1701544"/>
                <a:gd name="connsiteX151" fmla="*/ 9048391 w 10575647"/>
                <a:gd name="connsiteY151" fmla="*/ 380187 h 1701544"/>
                <a:gd name="connsiteX152" fmla="*/ 9048391 w 10575647"/>
                <a:gd name="connsiteY152" fmla="*/ 944968 h 1701544"/>
                <a:gd name="connsiteX153" fmla="*/ 9139659 w 10575647"/>
                <a:gd name="connsiteY153" fmla="*/ 1195965 h 1701544"/>
                <a:gd name="connsiteX154" fmla="*/ 9399010 w 10575647"/>
                <a:gd name="connsiteY154" fmla="*/ 1291865 h 1701544"/>
                <a:gd name="connsiteX155" fmla="*/ 9658150 w 10575647"/>
                <a:gd name="connsiteY155" fmla="*/ 1197945 h 1701544"/>
                <a:gd name="connsiteX156" fmla="*/ 10385594 w 10575647"/>
                <a:gd name="connsiteY156" fmla="*/ 653307 h 1701544"/>
                <a:gd name="connsiteX157" fmla="*/ 10567335 w 10575647"/>
                <a:gd name="connsiteY157" fmla="*/ 653307 h 1701544"/>
                <a:gd name="connsiteX158" fmla="*/ 10566383 w 10575647"/>
                <a:gd name="connsiteY158" fmla="*/ 632041 h 1701544"/>
                <a:gd name="connsiteX159" fmla="*/ 10249009 w 10575647"/>
                <a:gd name="connsiteY159" fmla="*/ 359885 h 1701544"/>
                <a:gd name="connsiteX160" fmla="*/ 9929730 w 10575647"/>
                <a:gd name="connsiteY160" fmla="*/ 627446 h 1701544"/>
                <a:gd name="connsiteX161" fmla="*/ 10212587 w 10575647"/>
                <a:gd name="connsiteY161" fmla="*/ 903611 h 1701544"/>
                <a:gd name="connsiteX162" fmla="*/ 10391099 w 10575647"/>
                <a:gd name="connsiteY162" fmla="*/ 1031625 h 1701544"/>
                <a:gd name="connsiteX163" fmla="*/ 10252715 w 10575647"/>
                <a:gd name="connsiteY163" fmla="*/ 1136874 h 1701544"/>
                <a:gd name="connsiteX164" fmla="*/ 10093843 w 10575647"/>
                <a:gd name="connsiteY164" fmla="*/ 1007579 h 1701544"/>
                <a:gd name="connsiteX165" fmla="*/ 10092096 w 10575647"/>
                <a:gd name="connsiteY165" fmla="*/ 989257 h 1701544"/>
                <a:gd name="connsiteX166" fmla="*/ 9913054 w 10575647"/>
                <a:gd name="connsiteY166" fmla="*/ 989257 h 1701544"/>
                <a:gd name="connsiteX167" fmla="*/ 9915066 w 10575647"/>
                <a:gd name="connsiteY167" fmla="*/ 1011216 h 1701544"/>
                <a:gd name="connsiteX168" fmla="*/ 10252715 w 10575647"/>
                <a:gd name="connsiteY168" fmla="*/ 1291865 h 1701544"/>
                <a:gd name="connsiteX169" fmla="*/ 10575647 w 10575647"/>
                <a:gd name="connsiteY169" fmla="*/ 1024303 h 1701544"/>
                <a:gd name="connsiteX170" fmla="*/ 10501426 w 10575647"/>
                <a:gd name="connsiteY170" fmla="*/ 843879 h 1701544"/>
                <a:gd name="connsiteX171" fmla="*/ 10285750 w 10575647"/>
                <a:gd name="connsiteY171" fmla="*/ 740769 h 1701544"/>
                <a:gd name="connsiteX172" fmla="*/ 10110519 w 10575647"/>
                <a:gd name="connsiteY172" fmla="*/ 616440 h 1701544"/>
                <a:gd name="connsiteX173" fmla="*/ 10243398 w 10575647"/>
                <a:gd name="connsiteY173" fmla="*/ 514877 h 1701544"/>
                <a:gd name="connsiteX174" fmla="*/ 10385594 w 10575647"/>
                <a:gd name="connsiteY174" fmla="*/ 623762 h 1701544"/>
                <a:gd name="connsiteX175" fmla="*/ 10385594 w 10575647"/>
                <a:gd name="connsiteY175" fmla="*/ 653307 h 170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10575647" h="1701544">
                  <a:moveTo>
                    <a:pt x="7802033" y="380187"/>
                  </a:moveTo>
                  <a:lnTo>
                    <a:pt x="7621138" y="380187"/>
                  </a:lnTo>
                  <a:lnTo>
                    <a:pt x="7621138" y="1271563"/>
                  </a:lnTo>
                  <a:lnTo>
                    <a:pt x="7802033" y="1271563"/>
                  </a:lnTo>
                  <a:lnTo>
                    <a:pt x="7802033" y="380187"/>
                  </a:lnTo>
                  <a:close/>
                  <a:moveTo>
                    <a:pt x="706522" y="1271563"/>
                  </a:moveTo>
                  <a:lnTo>
                    <a:pt x="902065" y="1271563"/>
                  </a:lnTo>
                  <a:lnTo>
                    <a:pt x="902065" y="0"/>
                  </a:lnTo>
                  <a:lnTo>
                    <a:pt x="706522" y="0"/>
                  </a:lnTo>
                  <a:lnTo>
                    <a:pt x="706522" y="553717"/>
                  </a:lnTo>
                  <a:lnTo>
                    <a:pt x="195543" y="553717"/>
                  </a:lnTo>
                  <a:lnTo>
                    <a:pt x="195543" y="0"/>
                  </a:lnTo>
                  <a:lnTo>
                    <a:pt x="0" y="0"/>
                  </a:lnTo>
                  <a:lnTo>
                    <a:pt x="0" y="1271563"/>
                  </a:lnTo>
                  <a:lnTo>
                    <a:pt x="195543" y="1271563"/>
                  </a:lnTo>
                  <a:lnTo>
                    <a:pt x="195543" y="727142"/>
                  </a:lnTo>
                  <a:lnTo>
                    <a:pt x="706522" y="727142"/>
                  </a:lnTo>
                  <a:lnTo>
                    <a:pt x="706522" y="1271563"/>
                  </a:lnTo>
                  <a:close/>
                  <a:moveTo>
                    <a:pt x="1306185" y="1690649"/>
                  </a:moveTo>
                  <a:lnTo>
                    <a:pt x="1654904" y="1036061"/>
                  </a:lnTo>
                  <a:lnTo>
                    <a:pt x="1306185" y="381469"/>
                  </a:lnTo>
                  <a:lnTo>
                    <a:pt x="1090234" y="381469"/>
                  </a:lnTo>
                  <a:lnTo>
                    <a:pt x="1438900" y="1036061"/>
                  </a:lnTo>
                  <a:lnTo>
                    <a:pt x="1090234" y="1690649"/>
                  </a:lnTo>
                  <a:lnTo>
                    <a:pt x="1306185" y="1690649"/>
                  </a:lnTo>
                  <a:close/>
                  <a:moveTo>
                    <a:pt x="2581808" y="828654"/>
                  </a:moveTo>
                  <a:cubicBezTo>
                    <a:pt x="2581808" y="1002989"/>
                    <a:pt x="2470789" y="1129505"/>
                    <a:pt x="2317883" y="1129505"/>
                  </a:cubicBezTo>
                  <a:cubicBezTo>
                    <a:pt x="2168980" y="1129505"/>
                    <a:pt x="2065011" y="1007262"/>
                    <a:pt x="2065011" y="832338"/>
                  </a:cubicBezTo>
                  <a:cubicBezTo>
                    <a:pt x="2065011" y="649088"/>
                    <a:pt x="2170314" y="525990"/>
                    <a:pt x="2327068" y="525990"/>
                  </a:cubicBezTo>
                  <a:cubicBezTo>
                    <a:pt x="2479444" y="525990"/>
                    <a:pt x="2581808" y="647590"/>
                    <a:pt x="2581808" y="828654"/>
                  </a:cubicBezTo>
                  <a:moveTo>
                    <a:pt x="2581808" y="1271563"/>
                  </a:moveTo>
                  <a:lnTo>
                    <a:pt x="2762608" y="1271563"/>
                  </a:lnTo>
                  <a:lnTo>
                    <a:pt x="2762608" y="0"/>
                  </a:lnTo>
                  <a:lnTo>
                    <a:pt x="2581808" y="0"/>
                  </a:lnTo>
                  <a:lnTo>
                    <a:pt x="2581808" y="476356"/>
                  </a:lnTo>
                  <a:cubicBezTo>
                    <a:pt x="2503431" y="397017"/>
                    <a:pt x="2412449" y="359885"/>
                    <a:pt x="2297581" y="359885"/>
                  </a:cubicBezTo>
                  <a:cubicBezTo>
                    <a:pt x="2057690" y="359885"/>
                    <a:pt x="1876785" y="562214"/>
                    <a:pt x="1876785" y="830470"/>
                  </a:cubicBezTo>
                  <a:cubicBezTo>
                    <a:pt x="1876785" y="1102145"/>
                    <a:pt x="2049839" y="1291865"/>
                    <a:pt x="2297581" y="1291865"/>
                  </a:cubicBezTo>
                  <a:cubicBezTo>
                    <a:pt x="2414371" y="1291865"/>
                    <a:pt x="2503061" y="1251959"/>
                    <a:pt x="2581808" y="1163217"/>
                  </a:cubicBezTo>
                  <a:lnTo>
                    <a:pt x="2581808" y="1271563"/>
                  </a:lnTo>
                  <a:close/>
                  <a:moveTo>
                    <a:pt x="3437445" y="542393"/>
                  </a:moveTo>
                  <a:lnTo>
                    <a:pt x="3460310" y="545331"/>
                  </a:lnTo>
                  <a:lnTo>
                    <a:pt x="3460310" y="359885"/>
                  </a:lnTo>
                  <a:lnTo>
                    <a:pt x="3406830" y="359885"/>
                  </a:lnTo>
                  <a:cubicBezTo>
                    <a:pt x="3341169" y="359885"/>
                    <a:pt x="3277430" y="380294"/>
                    <a:pt x="3231965" y="415877"/>
                  </a:cubicBezTo>
                  <a:cubicBezTo>
                    <a:pt x="3213690" y="430035"/>
                    <a:pt x="3199693" y="444353"/>
                    <a:pt x="3187194" y="462091"/>
                  </a:cubicBezTo>
                  <a:lnTo>
                    <a:pt x="3187194" y="380187"/>
                  </a:lnTo>
                  <a:lnTo>
                    <a:pt x="3006395" y="380187"/>
                  </a:lnTo>
                  <a:lnTo>
                    <a:pt x="3006395" y="1271563"/>
                  </a:lnTo>
                  <a:lnTo>
                    <a:pt x="3187194" y="1271563"/>
                  </a:lnTo>
                  <a:lnTo>
                    <a:pt x="3187194" y="819411"/>
                  </a:lnTo>
                  <a:cubicBezTo>
                    <a:pt x="3187194" y="727783"/>
                    <a:pt x="3198894" y="679915"/>
                    <a:pt x="3233517" y="629638"/>
                  </a:cubicBezTo>
                  <a:cubicBezTo>
                    <a:pt x="3272300" y="572310"/>
                    <a:pt x="3331926" y="540683"/>
                    <a:pt x="3401277" y="540683"/>
                  </a:cubicBezTo>
                  <a:cubicBezTo>
                    <a:pt x="3410356" y="540683"/>
                    <a:pt x="3423983" y="540683"/>
                    <a:pt x="3437445" y="542393"/>
                  </a:cubicBezTo>
                  <a:moveTo>
                    <a:pt x="4250980" y="826838"/>
                  </a:moveTo>
                  <a:cubicBezTo>
                    <a:pt x="4250980" y="1000692"/>
                    <a:pt x="4140918" y="1122077"/>
                    <a:pt x="3983364" y="1122077"/>
                  </a:cubicBezTo>
                  <a:cubicBezTo>
                    <a:pt x="3822174" y="1122077"/>
                    <a:pt x="3713875" y="1003466"/>
                    <a:pt x="3713875" y="826838"/>
                  </a:cubicBezTo>
                  <a:cubicBezTo>
                    <a:pt x="3713875" y="649088"/>
                    <a:pt x="3822920" y="529677"/>
                    <a:pt x="3985180" y="529677"/>
                  </a:cubicBezTo>
                  <a:cubicBezTo>
                    <a:pt x="4144179" y="529677"/>
                    <a:pt x="4250980" y="649088"/>
                    <a:pt x="4250980" y="826838"/>
                  </a:cubicBezTo>
                  <a:moveTo>
                    <a:pt x="4435464" y="828654"/>
                  </a:moveTo>
                  <a:cubicBezTo>
                    <a:pt x="4435464" y="557084"/>
                    <a:pt x="4246120" y="359885"/>
                    <a:pt x="3985180" y="359885"/>
                  </a:cubicBezTo>
                  <a:cubicBezTo>
                    <a:pt x="3716818" y="359885"/>
                    <a:pt x="3529338" y="551155"/>
                    <a:pt x="3529338" y="824916"/>
                  </a:cubicBezTo>
                  <a:cubicBezTo>
                    <a:pt x="3529338" y="1099848"/>
                    <a:pt x="3714521" y="1291865"/>
                    <a:pt x="3979622" y="1291865"/>
                  </a:cubicBezTo>
                  <a:cubicBezTo>
                    <a:pt x="4235272" y="1291865"/>
                    <a:pt x="4435464" y="1088418"/>
                    <a:pt x="4435464" y="828654"/>
                  </a:cubicBezTo>
                  <a:moveTo>
                    <a:pt x="5261608" y="828654"/>
                  </a:moveTo>
                  <a:cubicBezTo>
                    <a:pt x="5261608" y="909382"/>
                    <a:pt x="5239596" y="986748"/>
                    <a:pt x="5205508" y="1025854"/>
                  </a:cubicBezTo>
                  <a:cubicBezTo>
                    <a:pt x="5153150" y="1087026"/>
                    <a:pt x="5080062" y="1122077"/>
                    <a:pt x="5005052" y="1122077"/>
                  </a:cubicBezTo>
                  <a:cubicBezTo>
                    <a:pt x="4855296" y="1122077"/>
                    <a:pt x="4746675" y="996361"/>
                    <a:pt x="4746675" y="823153"/>
                  </a:cubicBezTo>
                  <a:cubicBezTo>
                    <a:pt x="4746675" y="650316"/>
                    <a:pt x="4854386" y="529677"/>
                    <a:pt x="5008683" y="529677"/>
                  </a:cubicBezTo>
                  <a:cubicBezTo>
                    <a:pt x="5078193" y="529677"/>
                    <a:pt x="5151652" y="563177"/>
                    <a:pt x="5200378" y="617081"/>
                  </a:cubicBezTo>
                  <a:cubicBezTo>
                    <a:pt x="5246112" y="667892"/>
                    <a:pt x="5261608" y="721266"/>
                    <a:pt x="5261608" y="828654"/>
                  </a:cubicBezTo>
                  <a:moveTo>
                    <a:pt x="5327264" y="1583314"/>
                  </a:moveTo>
                  <a:cubicBezTo>
                    <a:pt x="5409426" y="1504990"/>
                    <a:pt x="5446113" y="1404277"/>
                    <a:pt x="5446113" y="1256819"/>
                  </a:cubicBezTo>
                  <a:lnTo>
                    <a:pt x="5446113" y="380187"/>
                  </a:lnTo>
                  <a:lnTo>
                    <a:pt x="5265239" y="380187"/>
                  </a:lnTo>
                  <a:lnTo>
                    <a:pt x="5265239" y="488537"/>
                  </a:lnTo>
                  <a:cubicBezTo>
                    <a:pt x="5186005" y="398673"/>
                    <a:pt x="5100153" y="359885"/>
                    <a:pt x="4982875" y="359885"/>
                  </a:cubicBezTo>
                  <a:cubicBezTo>
                    <a:pt x="4866567" y="359885"/>
                    <a:pt x="4771201" y="395361"/>
                    <a:pt x="4699394" y="465190"/>
                  </a:cubicBezTo>
                  <a:cubicBezTo>
                    <a:pt x="4611080" y="549710"/>
                    <a:pt x="4558400" y="685574"/>
                    <a:pt x="4558400" y="828654"/>
                  </a:cubicBezTo>
                  <a:cubicBezTo>
                    <a:pt x="4558400" y="1092743"/>
                    <a:pt x="4736097" y="1291865"/>
                    <a:pt x="4971816" y="1291865"/>
                  </a:cubicBezTo>
                  <a:cubicBezTo>
                    <a:pt x="5092032" y="1291865"/>
                    <a:pt x="5185952" y="1246830"/>
                    <a:pt x="5265239" y="1150553"/>
                  </a:cubicBezTo>
                  <a:lnTo>
                    <a:pt x="5265239" y="1267931"/>
                  </a:lnTo>
                  <a:cubicBezTo>
                    <a:pt x="5265239" y="1350745"/>
                    <a:pt x="5245313" y="1414431"/>
                    <a:pt x="5206095" y="1457116"/>
                  </a:cubicBezTo>
                  <a:cubicBezTo>
                    <a:pt x="5162288" y="1504291"/>
                    <a:pt x="5083159" y="1533625"/>
                    <a:pt x="4999546" y="1533625"/>
                  </a:cubicBezTo>
                  <a:cubicBezTo>
                    <a:pt x="4932122" y="1533625"/>
                    <a:pt x="4856471" y="1514979"/>
                    <a:pt x="4811695" y="1487409"/>
                  </a:cubicBezTo>
                  <a:cubicBezTo>
                    <a:pt x="4788777" y="1471596"/>
                    <a:pt x="4771254" y="1455624"/>
                    <a:pt x="4733588" y="1416300"/>
                  </a:cubicBezTo>
                  <a:lnTo>
                    <a:pt x="4719215" y="1401339"/>
                  </a:lnTo>
                  <a:lnTo>
                    <a:pt x="4595103" y="1525451"/>
                  </a:lnTo>
                  <a:lnTo>
                    <a:pt x="4607819" y="1539824"/>
                  </a:lnTo>
                  <a:cubicBezTo>
                    <a:pt x="4703719" y="1647106"/>
                    <a:pt x="4835528" y="1701544"/>
                    <a:pt x="4999546" y="1701544"/>
                  </a:cubicBezTo>
                  <a:cubicBezTo>
                    <a:pt x="5134664" y="1701544"/>
                    <a:pt x="5247981" y="1660675"/>
                    <a:pt x="5327264" y="1583314"/>
                  </a:cubicBezTo>
                  <a:moveTo>
                    <a:pt x="6317923" y="747497"/>
                  </a:moveTo>
                  <a:lnTo>
                    <a:pt x="5805203" y="747497"/>
                  </a:lnTo>
                  <a:cubicBezTo>
                    <a:pt x="5814785" y="696051"/>
                    <a:pt x="5825267" y="667627"/>
                    <a:pt x="5845913" y="635144"/>
                  </a:cubicBezTo>
                  <a:cubicBezTo>
                    <a:pt x="5892024" y="566756"/>
                    <a:pt x="5971327" y="525990"/>
                    <a:pt x="6057989" y="525990"/>
                  </a:cubicBezTo>
                  <a:cubicBezTo>
                    <a:pt x="6144228" y="525990"/>
                    <a:pt x="6225702" y="566274"/>
                    <a:pt x="6275730" y="633487"/>
                  </a:cubicBezTo>
                  <a:cubicBezTo>
                    <a:pt x="6300453" y="669067"/>
                    <a:pt x="6312047" y="699841"/>
                    <a:pt x="6317923" y="747497"/>
                  </a:cubicBezTo>
                  <a:moveTo>
                    <a:pt x="6508188" y="872890"/>
                  </a:moveTo>
                  <a:cubicBezTo>
                    <a:pt x="6510094" y="851683"/>
                    <a:pt x="6510094" y="827426"/>
                    <a:pt x="6510094" y="815779"/>
                  </a:cubicBezTo>
                  <a:cubicBezTo>
                    <a:pt x="6510094" y="555909"/>
                    <a:pt x="6315700" y="359885"/>
                    <a:pt x="6057989" y="359885"/>
                  </a:cubicBezTo>
                  <a:cubicBezTo>
                    <a:pt x="5798109" y="359885"/>
                    <a:pt x="5609538" y="557084"/>
                    <a:pt x="5609538" y="828654"/>
                  </a:cubicBezTo>
                  <a:cubicBezTo>
                    <a:pt x="5609538" y="1097074"/>
                    <a:pt x="5800491" y="1291865"/>
                    <a:pt x="6063495" y="1291865"/>
                  </a:cubicBezTo>
                  <a:cubicBezTo>
                    <a:pt x="6235020" y="1291865"/>
                    <a:pt x="6386956" y="1199867"/>
                    <a:pt x="6460066" y="1051710"/>
                  </a:cubicBezTo>
                  <a:lnTo>
                    <a:pt x="6469966" y="1031572"/>
                  </a:lnTo>
                  <a:lnTo>
                    <a:pt x="6308923" y="971517"/>
                  </a:lnTo>
                  <a:lnTo>
                    <a:pt x="6300559" y="986689"/>
                  </a:lnTo>
                  <a:cubicBezTo>
                    <a:pt x="6254237" y="1068968"/>
                    <a:pt x="6161169" y="1122077"/>
                    <a:pt x="6063495" y="1122077"/>
                  </a:cubicBezTo>
                  <a:cubicBezTo>
                    <a:pt x="5977415" y="1122077"/>
                    <a:pt x="5901923" y="1083664"/>
                    <a:pt x="5850784" y="1013832"/>
                  </a:cubicBezTo>
                  <a:cubicBezTo>
                    <a:pt x="5821932" y="975900"/>
                    <a:pt x="5809438" y="945021"/>
                    <a:pt x="5802132" y="891377"/>
                  </a:cubicBezTo>
                  <a:lnTo>
                    <a:pt x="6506547" y="891377"/>
                  </a:lnTo>
                  <a:lnTo>
                    <a:pt x="6508188" y="872890"/>
                  </a:lnTo>
                  <a:close/>
                  <a:moveTo>
                    <a:pt x="7205139" y="1271563"/>
                  </a:moveTo>
                  <a:lnTo>
                    <a:pt x="7385928" y="1271563"/>
                  </a:lnTo>
                  <a:lnTo>
                    <a:pt x="7385928" y="677294"/>
                  </a:lnTo>
                  <a:cubicBezTo>
                    <a:pt x="7385928" y="554734"/>
                    <a:pt x="7365387" y="491422"/>
                    <a:pt x="7307154" y="435163"/>
                  </a:cubicBezTo>
                  <a:cubicBezTo>
                    <a:pt x="7252520" y="386599"/>
                    <a:pt x="7177557" y="359885"/>
                    <a:pt x="7096189" y="359885"/>
                  </a:cubicBezTo>
                  <a:cubicBezTo>
                    <a:pt x="7000739" y="359885"/>
                    <a:pt x="6929853" y="391193"/>
                    <a:pt x="6863625" y="463694"/>
                  </a:cubicBezTo>
                  <a:lnTo>
                    <a:pt x="6863625" y="380187"/>
                  </a:lnTo>
                  <a:lnTo>
                    <a:pt x="6682836" y="380187"/>
                  </a:lnTo>
                  <a:lnTo>
                    <a:pt x="6682836" y="1271563"/>
                  </a:lnTo>
                  <a:lnTo>
                    <a:pt x="6863625" y="1271563"/>
                  </a:lnTo>
                  <a:lnTo>
                    <a:pt x="6863625" y="732701"/>
                  </a:lnTo>
                  <a:cubicBezTo>
                    <a:pt x="6863625" y="667839"/>
                    <a:pt x="6876278" y="632147"/>
                    <a:pt x="6913971" y="591066"/>
                  </a:cubicBezTo>
                  <a:cubicBezTo>
                    <a:pt x="6951505" y="548481"/>
                    <a:pt x="7002433" y="525990"/>
                    <a:pt x="7061143" y="525990"/>
                  </a:cubicBezTo>
                  <a:cubicBezTo>
                    <a:pt x="7110748" y="525990"/>
                    <a:pt x="7155428" y="544744"/>
                    <a:pt x="7177769" y="575089"/>
                  </a:cubicBezTo>
                  <a:cubicBezTo>
                    <a:pt x="7197410" y="601215"/>
                    <a:pt x="7205139" y="638722"/>
                    <a:pt x="7205139" y="708709"/>
                  </a:cubicBezTo>
                  <a:lnTo>
                    <a:pt x="7205139" y="1271563"/>
                  </a:lnTo>
                  <a:close/>
                  <a:moveTo>
                    <a:pt x="7822309" y="162418"/>
                  </a:moveTo>
                  <a:cubicBezTo>
                    <a:pt x="7822309" y="99268"/>
                    <a:pt x="7774452" y="49847"/>
                    <a:pt x="7713412" y="49847"/>
                  </a:cubicBezTo>
                  <a:cubicBezTo>
                    <a:pt x="7650255" y="49847"/>
                    <a:pt x="7602662" y="97451"/>
                    <a:pt x="7602662" y="160549"/>
                  </a:cubicBezTo>
                  <a:cubicBezTo>
                    <a:pt x="7602662" y="223699"/>
                    <a:pt x="7649514" y="271303"/>
                    <a:pt x="7711560" y="271303"/>
                  </a:cubicBezTo>
                  <a:cubicBezTo>
                    <a:pt x="7773711" y="271303"/>
                    <a:pt x="7822309" y="223432"/>
                    <a:pt x="7822309" y="162418"/>
                  </a:cubicBezTo>
                  <a:moveTo>
                    <a:pt x="8704760" y="826838"/>
                  </a:moveTo>
                  <a:cubicBezTo>
                    <a:pt x="8704760" y="1000692"/>
                    <a:pt x="8594751" y="1122077"/>
                    <a:pt x="8437150" y="1122077"/>
                  </a:cubicBezTo>
                  <a:cubicBezTo>
                    <a:pt x="8276002" y="1122077"/>
                    <a:pt x="8167740" y="1003466"/>
                    <a:pt x="8167740" y="826838"/>
                  </a:cubicBezTo>
                  <a:cubicBezTo>
                    <a:pt x="8167740" y="649088"/>
                    <a:pt x="8276743" y="529677"/>
                    <a:pt x="8439003" y="529677"/>
                  </a:cubicBezTo>
                  <a:cubicBezTo>
                    <a:pt x="8597980" y="529677"/>
                    <a:pt x="8704760" y="649088"/>
                    <a:pt x="8704760" y="826838"/>
                  </a:cubicBezTo>
                  <a:moveTo>
                    <a:pt x="8889307" y="828654"/>
                  </a:moveTo>
                  <a:cubicBezTo>
                    <a:pt x="8889307" y="557084"/>
                    <a:pt x="8699942" y="359885"/>
                    <a:pt x="8439003" y="359885"/>
                  </a:cubicBezTo>
                  <a:cubicBezTo>
                    <a:pt x="8170652" y="359885"/>
                    <a:pt x="7983193" y="551155"/>
                    <a:pt x="7983193" y="824916"/>
                  </a:cubicBezTo>
                  <a:cubicBezTo>
                    <a:pt x="7983193" y="1099848"/>
                    <a:pt x="8168375" y="1291865"/>
                    <a:pt x="8433444" y="1291865"/>
                  </a:cubicBezTo>
                  <a:cubicBezTo>
                    <a:pt x="8689089" y="1291865"/>
                    <a:pt x="8889307" y="1088418"/>
                    <a:pt x="8889307" y="828654"/>
                  </a:cubicBezTo>
                  <a:moveTo>
                    <a:pt x="9658150" y="1197940"/>
                  </a:moveTo>
                  <a:cubicBezTo>
                    <a:pt x="9724854" y="1137144"/>
                    <a:pt x="9749630" y="1068539"/>
                    <a:pt x="9749630" y="944968"/>
                  </a:cubicBezTo>
                  <a:lnTo>
                    <a:pt x="9749630" y="380187"/>
                  </a:lnTo>
                  <a:lnTo>
                    <a:pt x="9566988" y="380187"/>
                  </a:lnTo>
                  <a:lnTo>
                    <a:pt x="9566988" y="944968"/>
                  </a:lnTo>
                  <a:cubicBezTo>
                    <a:pt x="9566988" y="1008437"/>
                    <a:pt x="9558835" y="1039587"/>
                    <a:pt x="9535012" y="1068222"/>
                  </a:cubicBezTo>
                  <a:cubicBezTo>
                    <a:pt x="9503831" y="1104284"/>
                    <a:pt x="9453009" y="1125815"/>
                    <a:pt x="9399010" y="1125815"/>
                  </a:cubicBezTo>
                  <a:cubicBezTo>
                    <a:pt x="9299060" y="1125815"/>
                    <a:pt x="9229233" y="1049947"/>
                    <a:pt x="9229233" y="941225"/>
                  </a:cubicBezTo>
                  <a:lnTo>
                    <a:pt x="9229233" y="380187"/>
                  </a:lnTo>
                  <a:lnTo>
                    <a:pt x="9048391" y="380187"/>
                  </a:lnTo>
                  <a:lnTo>
                    <a:pt x="9048391" y="944968"/>
                  </a:lnTo>
                  <a:cubicBezTo>
                    <a:pt x="9048391" y="1054330"/>
                    <a:pt x="9078249" y="1136392"/>
                    <a:pt x="9139659" y="1195965"/>
                  </a:cubicBezTo>
                  <a:cubicBezTo>
                    <a:pt x="9204563" y="1256925"/>
                    <a:pt x="9299113" y="1291865"/>
                    <a:pt x="9399010" y="1291865"/>
                  </a:cubicBezTo>
                  <a:cubicBezTo>
                    <a:pt x="9499701" y="1291865"/>
                    <a:pt x="9591763" y="1258529"/>
                    <a:pt x="9658150" y="1197945"/>
                  </a:cubicBezTo>
                  <a:moveTo>
                    <a:pt x="10385594" y="653307"/>
                  </a:moveTo>
                  <a:lnTo>
                    <a:pt x="10567335" y="653307"/>
                  </a:lnTo>
                  <a:lnTo>
                    <a:pt x="10566383" y="632041"/>
                  </a:lnTo>
                  <a:cubicBezTo>
                    <a:pt x="10558442" y="459099"/>
                    <a:pt x="10442768" y="359885"/>
                    <a:pt x="10249009" y="359885"/>
                  </a:cubicBezTo>
                  <a:cubicBezTo>
                    <a:pt x="10058003" y="359885"/>
                    <a:pt x="9929730" y="467434"/>
                    <a:pt x="9929730" y="627446"/>
                  </a:cubicBezTo>
                  <a:cubicBezTo>
                    <a:pt x="9929730" y="765666"/>
                    <a:pt x="10016922" y="850825"/>
                    <a:pt x="10212587" y="903611"/>
                  </a:cubicBezTo>
                  <a:cubicBezTo>
                    <a:pt x="10347689" y="937858"/>
                    <a:pt x="10391099" y="968955"/>
                    <a:pt x="10391099" y="1031625"/>
                  </a:cubicBezTo>
                  <a:cubicBezTo>
                    <a:pt x="10391099" y="1095576"/>
                    <a:pt x="10336730" y="1136874"/>
                    <a:pt x="10252715" y="1136874"/>
                  </a:cubicBezTo>
                  <a:cubicBezTo>
                    <a:pt x="10155517" y="1136874"/>
                    <a:pt x="10102102" y="1093384"/>
                    <a:pt x="10093843" y="1007579"/>
                  </a:cubicBezTo>
                  <a:lnTo>
                    <a:pt x="10092096" y="989257"/>
                  </a:lnTo>
                  <a:lnTo>
                    <a:pt x="9913054" y="989257"/>
                  </a:lnTo>
                  <a:lnTo>
                    <a:pt x="9915066" y="1011216"/>
                  </a:lnTo>
                  <a:cubicBezTo>
                    <a:pt x="9930789" y="1194843"/>
                    <a:pt x="10047626" y="1291865"/>
                    <a:pt x="10252715" y="1291865"/>
                  </a:cubicBezTo>
                  <a:cubicBezTo>
                    <a:pt x="10445839" y="1291865"/>
                    <a:pt x="10575647" y="1184371"/>
                    <a:pt x="10575647" y="1024303"/>
                  </a:cubicBezTo>
                  <a:cubicBezTo>
                    <a:pt x="10575647" y="956667"/>
                    <a:pt x="10548542" y="890948"/>
                    <a:pt x="10501426" y="843879"/>
                  </a:cubicBezTo>
                  <a:cubicBezTo>
                    <a:pt x="10457485" y="799913"/>
                    <a:pt x="10397028" y="770955"/>
                    <a:pt x="10285750" y="740769"/>
                  </a:cubicBezTo>
                  <a:cubicBezTo>
                    <a:pt x="10125660" y="696474"/>
                    <a:pt x="10110519" y="671471"/>
                    <a:pt x="10110519" y="616440"/>
                  </a:cubicBezTo>
                  <a:cubicBezTo>
                    <a:pt x="10110519" y="553823"/>
                    <a:pt x="10161447" y="514877"/>
                    <a:pt x="10243398" y="514877"/>
                  </a:cubicBezTo>
                  <a:cubicBezTo>
                    <a:pt x="10329795" y="514877"/>
                    <a:pt x="10385594" y="557672"/>
                    <a:pt x="10385594" y="623762"/>
                  </a:cubicBezTo>
                  <a:lnTo>
                    <a:pt x="10385594" y="653307"/>
                  </a:ln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  <a:ln w="529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GB" noProof="0"/>
            </a:p>
          </p:txBody>
        </p:sp>
      </p:grpSp>
    </p:spTree>
    <p:extLst>
      <p:ext uri="{BB962C8B-B14F-4D97-AF65-F5344CB8AC3E}">
        <p14:creationId xmlns:p14="http://schemas.microsoft.com/office/powerpoint/2010/main" val="343133038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(red) and Text 2/3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DDFC15C9-0D41-82F2-F604-C9E6BC456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064000" cy="6857999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2" y="843891"/>
            <a:ext cx="3060000" cy="55099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7" name="Textplatzhalter 10">
            <a:extLst>
              <a:ext uri="{FF2B5EF4-FFF2-40B4-BE49-F238E27FC236}">
                <a16:creationId xmlns:a16="http://schemas.microsoft.com/office/drawing/2014/main" id="{AFE83367-512A-0A99-7E3D-CA81A43E0B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2813" y="843892"/>
            <a:ext cx="6810374" cy="5510626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DFCA0615-83A3-6453-CC90-4137F014C1A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</p:spTree>
    <p:extLst>
      <p:ext uri="{BB962C8B-B14F-4D97-AF65-F5344CB8AC3E}">
        <p14:creationId xmlns:p14="http://schemas.microsoft.com/office/powerpoint/2010/main" val="2190948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sand) and Text 2/3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73236799-8186-158A-F3A4-9E2D432B77EB}"/>
              </a:ext>
            </a:extLst>
          </p:cNvPr>
          <p:cNvSpPr/>
          <p:nvPr userDrawn="1"/>
        </p:nvSpPr>
        <p:spPr>
          <a:xfrm>
            <a:off x="0" y="0"/>
            <a:ext cx="406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2" y="843891"/>
            <a:ext cx="3060000" cy="550991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7" name="Textplatzhalter 10">
            <a:extLst>
              <a:ext uri="{FF2B5EF4-FFF2-40B4-BE49-F238E27FC236}">
                <a16:creationId xmlns:a16="http://schemas.microsoft.com/office/drawing/2014/main" id="{AFE83367-512A-0A99-7E3D-CA81A43E0B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2813" y="843892"/>
            <a:ext cx="6810374" cy="5510626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DFCA0615-83A3-6453-CC90-4137F014C1A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</p:spTree>
    <p:extLst>
      <p:ext uri="{BB962C8B-B14F-4D97-AF65-F5344CB8AC3E}">
        <p14:creationId xmlns:p14="http://schemas.microsoft.com/office/powerpoint/2010/main" val="241338604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red) and Content 3/4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73236799-8186-158A-F3A4-9E2D432B77EB}"/>
              </a:ext>
            </a:extLst>
          </p:cNvPr>
          <p:cNvSpPr/>
          <p:nvPr userDrawn="1"/>
        </p:nvSpPr>
        <p:spPr>
          <a:xfrm>
            <a:off x="0" y="0"/>
            <a:ext cx="30353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2" y="1304925"/>
            <a:ext cx="2160000" cy="50514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FDC01C9A-5B99-87F0-F647-71E0D7C324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2" y="397755"/>
            <a:ext cx="2160000" cy="753386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385077030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(red) and Content 3/4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EC753E22-1649-9D10-F365-30F980560B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035300" cy="6857999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2" y="1304925"/>
            <a:ext cx="2160000" cy="50514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FDC01C9A-5B99-87F0-F647-71E0D7C324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2" y="397755"/>
            <a:ext cx="2160000" cy="753386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67616920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sand) and Content 3/4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73236799-8186-158A-F3A4-9E2D432B77EB}"/>
              </a:ext>
            </a:extLst>
          </p:cNvPr>
          <p:cNvSpPr/>
          <p:nvPr userDrawn="1"/>
        </p:nvSpPr>
        <p:spPr>
          <a:xfrm>
            <a:off x="0" y="0"/>
            <a:ext cx="30353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2" y="1304925"/>
            <a:ext cx="2160000" cy="50514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FDC01C9A-5B99-87F0-F647-71E0D7C324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2" y="397755"/>
            <a:ext cx="2160000" cy="753386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GB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6907241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red) and Text 3/4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73236799-8186-158A-F3A4-9E2D432B77EB}"/>
              </a:ext>
            </a:extLst>
          </p:cNvPr>
          <p:cNvSpPr/>
          <p:nvPr userDrawn="1"/>
        </p:nvSpPr>
        <p:spPr>
          <a:xfrm>
            <a:off x="0" y="0"/>
            <a:ext cx="30353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2" y="843891"/>
            <a:ext cx="2160000" cy="55099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7" name="Textplatzhalter 10">
            <a:extLst>
              <a:ext uri="{FF2B5EF4-FFF2-40B4-BE49-F238E27FC236}">
                <a16:creationId xmlns:a16="http://schemas.microsoft.com/office/drawing/2014/main" id="{4DA2A4A2-47AD-FFAF-9D99-901EEA6C67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94113" y="843892"/>
            <a:ext cx="7839074" cy="5510626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683D0169-728B-6D4A-2F2E-DCD24C6BFF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</p:spTree>
    <p:extLst>
      <p:ext uri="{BB962C8B-B14F-4D97-AF65-F5344CB8AC3E}">
        <p14:creationId xmlns:p14="http://schemas.microsoft.com/office/powerpoint/2010/main" val="194791701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(red) and Text 3/4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41418EF9-15EA-279B-993D-BE0E7B24EE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035300" cy="6857999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2" y="843891"/>
            <a:ext cx="2160000" cy="55099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7" name="Textplatzhalter 10">
            <a:extLst>
              <a:ext uri="{FF2B5EF4-FFF2-40B4-BE49-F238E27FC236}">
                <a16:creationId xmlns:a16="http://schemas.microsoft.com/office/drawing/2014/main" id="{4DA2A4A2-47AD-FFAF-9D99-901EEA6C67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94113" y="843892"/>
            <a:ext cx="7839074" cy="5510626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683D0169-728B-6D4A-2F2E-DCD24C6BFF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</p:spTree>
    <p:extLst>
      <p:ext uri="{BB962C8B-B14F-4D97-AF65-F5344CB8AC3E}">
        <p14:creationId xmlns:p14="http://schemas.microsoft.com/office/powerpoint/2010/main" val="5790799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sand) and Text 3/4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73236799-8186-158A-F3A4-9E2D432B77EB}"/>
              </a:ext>
            </a:extLst>
          </p:cNvPr>
          <p:cNvSpPr/>
          <p:nvPr userDrawn="1"/>
        </p:nvSpPr>
        <p:spPr>
          <a:xfrm>
            <a:off x="0" y="0"/>
            <a:ext cx="30353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2" y="843891"/>
            <a:ext cx="2160000" cy="550991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7" name="Textplatzhalter 10">
            <a:extLst>
              <a:ext uri="{FF2B5EF4-FFF2-40B4-BE49-F238E27FC236}">
                <a16:creationId xmlns:a16="http://schemas.microsoft.com/office/drawing/2014/main" id="{4DA2A4A2-47AD-FFAF-9D99-901EEA6C67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94113" y="843892"/>
            <a:ext cx="7839074" cy="5510626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683D0169-728B-6D4A-2F2E-DCD24C6BFF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</p:spTree>
    <p:extLst>
      <p:ext uri="{BB962C8B-B14F-4D97-AF65-F5344CB8AC3E}">
        <p14:creationId xmlns:p14="http://schemas.microsoft.com/office/powerpoint/2010/main" val="299830451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(red) and Content 1/3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73236799-8186-158A-F3A4-9E2D432B77EB}"/>
              </a:ext>
            </a:extLst>
          </p:cNvPr>
          <p:cNvSpPr/>
          <p:nvPr userDrawn="1"/>
        </p:nvSpPr>
        <p:spPr>
          <a:xfrm>
            <a:off x="4067175" y="0"/>
            <a:ext cx="812482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05350" y="1304925"/>
            <a:ext cx="6827836" cy="50514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FDC01C9A-5B99-87F0-F647-71E0D7C324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05350" y="397755"/>
            <a:ext cx="5223902" cy="753386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00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964FA6FD-B18C-64CF-40CD-9C782D91C43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415668" y="503483"/>
            <a:ext cx="1289916" cy="180000"/>
            <a:chOff x="-161925" y="-1630732"/>
            <a:chExt cx="12193587" cy="1701544"/>
          </a:xfrm>
          <a:solidFill>
            <a:schemeClr val="bg1"/>
          </a:solidFill>
        </p:grpSpPr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0BAA8276-ECA1-E336-BCFB-04B3EC51B77A}"/>
                </a:ext>
              </a:extLst>
            </p:cNvPr>
            <p:cNvSpPr/>
            <p:nvPr/>
          </p:nvSpPr>
          <p:spPr>
            <a:xfrm>
              <a:off x="10774928" y="-1247713"/>
              <a:ext cx="1256734" cy="356304"/>
            </a:xfrm>
            <a:custGeom>
              <a:avLst/>
              <a:gdLst>
                <a:gd name="connsiteX0" fmla="*/ 1226823 w 1256734"/>
                <a:gd name="connsiteY0" fmla="*/ 269166 h 356304"/>
                <a:gd name="connsiteX1" fmla="*/ 1133491 w 1256734"/>
                <a:gd name="connsiteY1" fmla="*/ 316610 h 356304"/>
                <a:gd name="connsiteX2" fmla="*/ 1010248 w 1256734"/>
                <a:gd name="connsiteY2" fmla="*/ 178448 h 356304"/>
                <a:gd name="connsiteX3" fmla="*/ 1131426 w 1256734"/>
                <a:gd name="connsiteY3" fmla="*/ 39696 h 356304"/>
                <a:gd name="connsiteX4" fmla="*/ 1226823 w 1256734"/>
                <a:gd name="connsiteY4" fmla="*/ 86659 h 356304"/>
                <a:gd name="connsiteX5" fmla="*/ 1256735 w 1256734"/>
                <a:gd name="connsiteY5" fmla="*/ 58823 h 356304"/>
                <a:gd name="connsiteX6" fmla="*/ 1216553 w 1256734"/>
                <a:gd name="connsiteY6" fmla="*/ 23241 h 356304"/>
                <a:gd name="connsiteX7" fmla="*/ 1130420 w 1256734"/>
                <a:gd name="connsiteY7" fmla="*/ 0 h 356304"/>
                <a:gd name="connsiteX8" fmla="*/ 965885 w 1256734"/>
                <a:gd name="connsiteY8" fmla="*/ 178448 h 356304"/>
                <a:gd name="connsiteX9" fmla="*/ 1011783 w 1256734"/>
                <a:gd name="connsiteY9" fmla="*/ 305763 h 356304"/>
                <a:gd name="connsiteX10" fmla="*/ 1129892 w 1256734"/>
                <a:gd name="connsiteY10" fmla="*/ 356305 h 356304"/>
                <a:gd name="connsiteX11" fmla="*/ 1255676 w 1256734"/>
                <a:gd name="connsiteY11" fmla="*/ 298071 h 356304"/>
                <a:gd name="connsiteX12" fmla="*/ 1226823 w 1256734"/>
                <a:gd name="connsiteY12" fmla="*/ 269166 h 356304"/>
                <a:gd name="connsiteX13" fmla="*/ 679216 w 1256734"/>
                <a:gd name="connsiteY13" fmla="*/ 197999 h 356304"/>
                <a:gd name="connsiteX14" fmla="*/ 846824 w 1256734"/>
                <a:gd name="connsiteY14" fmla="*/ 197999 h 356304"/>
                <a:gd name="connsiteX15" fmla="*/ 846824 w 1256734"/>
                <a:gd name="connsiteY15" fmla="*/ 350105 h 356304"/>
                <a:gd name="connsiteX16" fmla="*/ 890075 w 1256734"/>
                <a:gd name="connsiteY16" fmla="*/ 350105 h 356304"/>
                <a:gd name="connsiteX17" fmla="*/ 890075 w 1256734"/>
                <a:gd name="connsiteY17" fmla="*/ 6198 h 356304"/>
                <a:gd name="connsiteX18" fmla="*/ 846824 w 1256734"/>
                <a:gd name="connsiteY18" fmla="*/ 6198 h 356304"/>
                <a:gd name="connsiteX19" fmla="*/ 846824 w 1256734"/>
                <a:gd name="connsiteY19" fmla="*/ 160920 h 356304"/>
                <a:gd name="connsiteX20" fmla="*/ 679216 w 1256734"/>
                <a:gd name="connsiteY20" fmla="*/ 160920 h 356304"/>
                <a:gd name="connsiteX21" fmla="*/ 679216 w 1256734"/>
                <a:gd name="connsiteY21" fmla="*/ 6198 h 356304"/>
                <a:gd name="connsiteX22" fmla="*/ 635912 w 1256734"/>
                <a:gd name="connsiteY22" fmla="*/ 6198 h 356304"/>
                <a:gd name="connsiteX23" fmla="*/ 635912 w 1256734"/>
                <a:gd name="connsiteY23" fmla="*/ 350105 h 356304"/>
                <a:gd name="connsiteX24" fmla="*/ 679216 w 1256734"/>
                <a:gd name="connsiteY24" fmla="*/ 350105 h 356304"/>
                <a:gd name="connsiteX25" fmla="*/ 679216 w 1256734"/>
                <a:gd name="connsiteY25" fmla="*/ 197999 h 356304"/>
                <a:gd name="connsiteX26" fmla="*/ 392018 w 1256734"/>
                <a:gd name="connsiteY26" fmla="*/ 40230 h 356304"/>
                <a:gd name="connsiteX27" fmla="*/ 476563 w 1256734"/>
                <a:gd name="connsiteY27" fmla="*/ 75813 h 356304"/>
                <a:gd name="connsiteX28" fmla="*/ 515792 w 1256734"/>
                <a:gd name="connsiteY28" fmla="*/ 181011 h 356304"/>
                <a:gd name="connsiteX29" fmla="*/ 482758 w 1256734"/>
                <a:gd name="connsiteY29" fmla="*/ 275365 h 356304"/>
                <a:gd name="connsiteX30" fmla="*/ 390960 w 1256734"/>
                <a:gd name="connsiteY30" fmla="*/ 316610 h 356304"/>
                <a:gd name="connsiteX31" fmla="*/ 267239 w 1256734"/>
                <a:gd name="connsiteY31" fmla="*/ 178448 h 356304"/>
                <a:gd name="connsiteX32" fmla="*/ 392018 w 1256734"/>
                <a:gd name="connsiteY32" fmla="*/ 40230 h 356304"/>
                <a:gd name="connsiteX33" fmla="*/ 393077 w 1256734"/>
                <a:gd name="connsiteY33" fmla="*/ 0 h 356304"/>
                <a:gd name="connsiteX34" fmla="*/ 222876 w 1256734"/>
                <a:gd name="connsiteY34" fmla="*/ 179994 h 356304"/>
                <a:gd name="connsiteX35" fmla="*/ 258982 w 1256734"/>
                <a:gd name="connsiteY35" fmla="*/ 291872 h 356304"/>
                <a:gd name="connsiteX36" fmla="*/ 392018 w 1256734"/>
                <a:gd name="connsiteY36" fmla="*/ 356305 h 356304"/>
                <a:gd name="connsiteX37" fmla="*/ 501868 w 1256734"/>
                <a:gd name="connsiteY37" fmla="*/ 315059 h 356304"/>
                <a:gd name="connsiteX38" fmla="*/ 560155 w 1256734"/>
                <a:gd name="connsiteY38" fmla="*/ 181545 h 356304"/>
                <a:gd name="connsiteX39" fmla="*/ 519921 w 1256734"/>
                <a:gd name="connsiteY39" fmla="*/ 59304 h 356304"/>
                <a:gd name="connsiteX40" fmla="*/ 393077 w 1256734"/>
                <a:gd name="connsiteY40" fmla="*/ 0 h 356304"/>
                <a:gd name="connsiteX41" fmla="*/ 43306 w 1256734"/>
                <a:gd name="connsiteY41" fmla="*/ 310946 h 356304"/>
                <a:gd name="connsiteX42" fmla="*/ 43306 w 1256734"/>
                <a:gd name="connsiteY42" fmla="*/ 6198 h 356304"/>
                <a:gd name="connsiteX43" fmla="*/ 0 w 1256734"/>
                <a:gd name="connsiteY43" fmla="*/ 6198 h 356304"/>
                <a:gd name="connsiteX44" fmla="*/ 0 w 1256734"/>
                <a:gd name="connsiteY44" fmla="*/ 350105 h 356304"/>
                <a:gd name="connsiteX45" fmla="*/ 194237 w 1256734"/>
                <a:gd name="connsiteY45" fmla="*/ 350105 h 356304"/>
                <a:gd name="connsiteX46" fmla="*/ 194237 w 1256734"/>
                <a:gd name="connsiteY46" fmla="*/ 310946 h 356304"/>
                <a:gd name="connsiteX47" fmla="*/ 43306 w 1256734"/>
                <a:gd name="connsiteY47" fmla="*/ 310946 h 35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256734" h="356304">
                  <a:moveTo>
                    <a:pt x="1226823" y="269166"/>
                  </a:moveTo>
                  <a:cubicBezTo>
                    <a:pt x="1200037" y="301650"/>
                    <a:pt x="1171131" y="316610"/>
                    <a:pt x="1133491" y="316610"/>
                  </a:cubicBezTo>
                  <a:cubicBezTo>
                    <a:pt x="1062341" y="316610"/>
                    <a:pt x="1010248" y="258371"/>
                    <a:pt x="1010248" y="178448"/>
                  </a:cubicBezTo>
                  <a:cubicBezTo>
                    <a:pt x="1010248" y="97985"/>
                    <a:pt x="1061334" y="39696"/>
                    <a:pt x="1131426" y="39696"/>
                  </a:cubicBezTo>
                  <a:cubicBezTo>
                    <a:pt x="1168008" y="39696"/>
                    <a:pt x="1193313" y="52092"/>
                    <a:pt x="1226823" y="86659"/>
                  </a:cubicBezTo>
                  <a:lnTo>
                    <a:pt x="1256735" y="58823"/>
                  </a:lnTo>
                  <a:cubicBezTo>
                    <a:pt x="1239742" y="40230"/>
                    <a:pt x="1230424" y="32003"/>
                    <a:pt x="1216553" y="23241"/>
                  </a:cubicBezTo>
                  <a:cubicBezTo>
                    <a:pt x="1191725" y="8281"/>
                    <a:pt x="1161338" y="0"/>
                    <a:pt x="1130420" y="0"/>
                  </a:cubicBezTo>
                  <a:cubicBezTo>
                    <a:pt x="1035500" y="0"/>
                    <a:pt x="965885" y="75279"/>
                    <a:pt x="965885" y="178448"/>
                  </a:cubicBezTo>
                  <a:cubicBezTo>
                    <a:pt x="965885" y="226369"/>
                    <a:pt x="982931" y="273279"/>
                    <a:pt x="1011783" y="305763"/>
                  </a:cubicBezTo>
                  <a:cubicBezTo>
                    <a:pt x="1041165" y="338782"/>
                    <a:pt x="1081928" y="356305"/>
                    <a:pt x="1129892" y="356305"/>
                  </a:cubicBezTo>
                  <a:cubicBezTo>
                    <a:pt x="1182990" y="356305"/>
                    <a:pt x="1221107" y="338782"/>
                    <a:pt x="1255676" y="298071"/>
                  </a:cubicBezTo>
                  <a:lnTo>
                    <a:pt x="1226823" y="269166"/>
                  </a:lnTo>
                  <a:close/>
                  <a:moveTo>
                    <a:pt x="679216" y="197999"/>
                  </a:moveTo>
                  <a:lnTo>
                    <a:pt x="846824" y="197999"/>
                  </a:lnTo>
                  <a:lnTo>
                    <a:pt x="846824" y="350105"/>
                  </a:lnTo>
                  <a:lnTo>
                    <a:pt x="890075" y="350105"/>
                  </a:lnTo>
                  <a:lnTo>
                    <a:pt x="890075" y="6198"/>
                  </a:lnTo>
                  <a:lnTo>
                    <a:pt x="846824" y="6198"/>
                  </a:lnTo>
                  <a:lnTo>
                    <a:pt x="846824" y="160920"/>
                  </a:lnTo>
                  <a:lnTo>
                    <a:pt x="679216" y="160920"/>
                  </a:lnTo>
                  <a:lnTo>
                    <a:pt x="679216" y="6198"/>
                  </a:lnTo>
                  <a:lnTo>
                    <a:pt x="635912" y="6198"/>
                  </a:lnTo>
                  <a:lnTo>
                    <a:pt x="635912" y="350105"/>
                  </a:lnTo>
                  <a:lnTo>
                    <a:pt x="679216" y="350105"/>
                  </a:lnTo>
                  <a:lnTo>
                    <a:pt x="679216" y="197999"/>
                  </a:lnTo>
                  <a:close/>
                  <a:moveTo>
                    <a:pt x="392018" y="40230"/>
                  </a:moveTo>
                  <a:cubicBezTo>
                    <a:pt x="422459" y="40230"/>
                    <a:pt x="453904" y="53641"/>
                    <a:pt x="476563" y="75813"/>
                  </a:cubicBezTo>
                  <a:cubicBezTo>
                    <a:pt x="503404" y="101618"/>
                    <a:pt x="515792" y="135117"/>
                    <a:pt x="515792" y="181011"/>
                  </a:cubicBezTo>
                  <a:cubicBezTo>
                    <a:pt x="515792" y="216057"/>
                    <a:pt x="502874" y="253189"/>
                    <a:pt x="482758" y="275365"/>
                  </a:cubicBezTo>
                  <a:cubicBezTo>
                    <a:pt x="459569" y="301650"/>
                    <a:pt x="425530" y="316610"/>
                    <a:pt x="390960" y="316610"/>
                  </a:cubicBezTo>
                  <a:cubicBezTo>
                    <a:pt x="319809" y="316610"/>
                    <a:pt x="267239" y="258371"/>
                    <a:pt x="267239" y="178448"/>
                  </a:cubicBezTo>
                  <a:cubicBezTo>
                    <a:pt x="267239" y="99000"/>
                    <a:pt x="320338" y="40230"/>
                    <a:pt x="392018" y="40230"/>
                  </a:cubicBezTo>
                  <a:moveTo>
                    <a:pt x="393077" y="0"/>
                  </a:moveTo>
                  <a:cubicBezTo>
                    <a:pt x="295615" y="0"/>
                    <a:pt x="222876" y="77362"/>
                    <a:pt x="222876" y="179994"/>
                  </a:cubicBezTo>
                  <a:cubicBezTo>
                    <a:pt x="222876" y="223273"/>
                    <a:pt x="235318" y="261956"/>
                    <a:pt x="258982" y="291872"/>
                  </a:cubicBezTo>
                  <a:cubicBezTo>
                    <a:pt x="290957" y="332101"/>
                    <a:pt x="340985" y="356305"/>
                    <a:pt x="392018" y="356305"/>
                  </a:cubicBezTo>
                  <a:cubicBezTo>
                    <a:pt x="431723" y="356305"/>
                    <a:pt x="470899" y="341879"/>
                    <a:pt x="501868" y="315059"/>
                  </a:cubicBezTo>
                  <a:cubicBezTo>
                    <a:pt x="539509" y="283110"/>
                    <a:pt x="560155" y="235131"/>
                    <a:pt x="560155" y="181545"/>
                  </a:cubicBezTo>
                  <a:cubicBezTo>
                    <a:pt x="560155" y="129935"/>
                    <a:pt x="547715" y="91788"/>
                    <a:pt x="519921" y="59304"/>
                  </a:cubicBezTo>
                  <a:cubicBezTo>
                    <a:pt x="486886" y="21691"/>
                    <a:pt x="440988" y="0"/>
                    <a:pt x="393077" y="0"/>
                  </a:cubicBezTo>
                  <a:moveTo>
                    <a:pt x="43306" y="310946"/>
                  </a:moveTo>
                  <a:lnTo>
                    <a:pt x="43306" y="6198"/>
                  </a:lnTo>
                  <a:lnTo>
                    <a:pt x="0" y="6198"/>
                  </a:lnTo>
                  <a:lnTo>
                    <a:pt x="0" y="350105"/>
                  </a:lnTo>
                  <a:lnTo>
                    <a:pt x="194237" y="350105"/>
                  </a:lnTo>
                  <a:lnTo>
                    <a:pt x="194237" y="310946"/>
                  </a:lnTo>
                  <a:lnTo>
                    <a:pt x="43306" y="310946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B77DA9CA-81E3-9C95-68A3-BFADB2CD7E3C}"/>
                </a:ext>
              </a:extLst>
            </p:cNvPr>
            <p:cNvSpPr/>
            <p:nvPr/>
          </p:nvSpPr>
          <p:spPr>
            <a:xfrm>
              <a:off x="-161925" y="-1630732"/>
              <a:ext cx="10575647" cy="1701544"/>
            </a:xfrm>
            <a:custGeom>
              <a:avLst/>
              <a:gdLst>
                <a:gd name="connsiteX0" fmla="*/ 7802033 w 10575647"/>
                <a:gd name="connsiteY0" fmla="*/ 380187 h 1701544"/>
                <a:gd name="connsiteX1" fmla="*/ 7621138 w 10575647"/>
                <a:gd name="connsiteY1" fmla="*/ 380187 h 1701544"/>
                <a:gd name="connsiteX2" fmla="*/ 7621138 w 10575647"/>
                <a:gd name="connsiteY2" fmla="*/ 1271563 h 1701544"/>
                <a:gd name="connsiteX3" fmla="*/ 7802033 w 10575647"/>
                <a:gd name="connsiteY3" fmla="*/ 1271563 h 1701544"/>
                <a:gd name="connsiteX4" fmla="*/ 7802033 w 10575647"/>
                <a:gd name="connsiteY4" fmla="*/ 380187 h 1701544"/>
                <a:gd name="connsiteX5" fmla="*/ 706522 w 10575647"/>
                <a:gd name="connsiteY5" fmla="*/ 1271563 h 1701544"/>
                <a:gd name="connsiteX6" fmla="*/ 902065 w 10575647"/>
                <a:gd name="connsiteY6" fmla="*/ 1271563 h 1701544"/>
                <a:gd name="connsiteX7" fmla="*/ 902065 w 10575647"/>
                <a:gd name="connsiteY7" fmla="*/ 0 h 1701544"/>
                <a:gd name="connsiteX8" fmla="*/ 706522 w 10575647"/>
                <a:gd name="connsiteY8" fmla="*/ 0 h 1701544"/>
                <a:gd name="connsiteX9" fmla="*/ 706522 w 10575647"/>
                <a:gd name="connsiteY9" fmla="*/ 553717 h 1701544"/>
                <a:gd name="connsiteX10" fmla="*/ 195543 w 10575647"/>
                <a:gd name="connsiteY10" fmla="*/ 553717 h 1701544"/>
                <a:gd name="connsiteX11" fmla="*/ 195543 w 10575647"/>
                <a:gd name="connsiteY11" fmla="*/ 0 h 1701544"/>
                <a:gd name="connsiteX12" fmla="*/ 0 w 10575647"/>
                <a:gd name="connsiteY12" fmla="*/ 0 h 1701544"/>
                <a:gd name="connsiteX13" fmla="*/ 0 w 10575647"/>
                <a:gd name="connsiteY13" fmla="*/ 1271563 h 1701544"/>
                <a:gd name="connsiteX14" fmla="*/ 195543 w 10575647"/>
                <a:gd name="connsiteY14" fmla="*/ 1271563 h 1701544"/>
                <a:gd name="connsiteX15" fmla="*/ 195543 w 10575647"/>
                <a:gd name="connsiteY15" fmla="*/ 727142 h 1701544"/>
                <a:gd name="connsiteX16" fmla="*/ 706522 w 10575647"/>
                <a:gd name="connsiteY16" fmla="*/ 727142 h 1701544"/>
                <a:gd name="connsiteX17" fmla="*/ 706522 w 10575647"/>
                <a:gd name="connsiteY17" fmla="*/ 1271563 h 1701544"/>
                <a:gd name="connsiteX18" fmla="*/ 1306185 w 10575647"/>
                <a:gd name="connsiteY18" fmla="*/ 1690649 h 1701544"/>
                <a:gd name="connsiteX19" fmla="*/ 1654904 w 10575647"/>
                <a:gd name="connsiteY19" fmla="*/ 1036061 h 1701544"/>
                <a:gd name="connsiteX20" fmla="*/ 1306185 w 10575647"/>
                <a:gd name="connsiteY20" fmla="*/ 381469 h 1701544"/>
                <a:gd name="connsiteX21" fmla="*/ 1090234 w 10575647"/>
                <a:gd name="connsiteY21" fmla="*/ 381469 h 1701544"/>
                <a:gd name="connsiteX22" fmla="*/ 1438900 w 10575647"/>
                <a:gd name="connsiteY22" fmla="*/ 1036061 h 1701544"/>
                <a:gd name="connsiteX23" fmla="*/ 1090234 w 10575647"/>
                <a:gd name="connsiteY23" fmla="*/ 1690649 h 1701544"/>
                <a:gd name="connsiteX24" fmla="*/ 1306185 w 10575647"/>
                <a:gd name="connsiteY24" fmla="*/ 1690649 h 1701544"/>
                <a:gd name="connsiteX25" fmla="*/ 2581808 w 10575647"/>
                <a:gd name="connsiteY25" fmla="*/ 828654 h 1701544"/>
                <a:gd name="connsiteX26" fmla="*/ 2317883 w 10575647"/>
                <a:gd name="connsiteY26" fmla="*/ 1129505 h 1701544"/>
                <a:gd name="connsiteX27" fmla="*/ 2065011 w 10575647"/>
                <a:gd name="connsiteY27" fmla="*/ 832338 h 1701544"/>
                <a:gd name="connsiteX28" fmla="*/ 2327068 w 10575647"/>
                <a:gd name="connsiteY28" fmla="*/ 525990 h 1701544"/>
                <a:gd name="connsiteX29" fmla="*/ 2581808 w 10575647"/>
                <a:gd name="connsiteY29" fmla="*/ 828654 h 1701544"/>
                <a:gd name="connsiteX30" fmla="*/ 2581808 w 10575647"/>
                <a:gd name="connsiteY30" fmla="*/ 1271563 h 1701544"/>
                <a:gd name="connsiteX31" fmla="*/ 2762608 w 10575647"/>
                <a:gd name="connsiteY31" fmla="*/ 1271563 h 1701544"/>
                <a:gd name="connsiteX32" fmla="*/ 2762608 w 10575647"/>
                <a:gd name="connsiteY32" fmla="*/ 0 h 1701544"/>
                <a:gd name="connsiteX33" fmla="*/ 2581808 w 10575647"/>
                <a:gd name="connsiteY33" fmla="*/ 0 h 1701544"/>
                <a:gd name="connsiteX34" fmla="*/ 2581808 w 10575647"/>
                <a:gd name="connsiteY34" fmla="*/ 476356 h 1701544"/>
                <a:gd name="connsiteX35" fmla="*/ 2297581 w 10575647"/>
                <a:gd name="connsiteY35" fmla="*/ 359885 h 1701544"/>
                <a:gd name="connsiteX36" fmla="*/ 1876785 w 10575647"/>
                <a:gd name="connsiteY36" fmla="*/ 830470 h 1701544"/>
                <a:gd name="connsiteX37" fmla="*/ 2297581 w 10575647"/>
                <a:gd name="connsiteY37" fmla="*/ 1291865 h 1701544"/>
                <a:gd name="connsiteX38" fmla="*/ 2581808 w 10575647"/>
                <a:gd name="connsiteY38" fmla="*/ 1163217 h 1701544"/>
                <a:gd name="connsiteX39" fmla="*/ 2581808 w 10575647"/>
                <a:gd name="connsiteY39" fmla="*/ 1271563 h 1701544"/>
                <a:gd name="connsiteX40" fmla="*/ 3437445 w 10575647"/>
                <a:gd name="connsiteY40" fmla="*/ 542393 h 1701544"/>
                <a:gd name="connsiteX41" fmla="*/ 3460310 w 10575647"/>
                <a:gd name="connsiteY41" fmla="*/ 545331 h 1701544"/>
                <a:gd name="connsiteX42" fmla="*/ 3460310 w 10575647"/>
                <a:gd name="connsiteY42" fmla="*/ 359885 h 1701544"/>
                <a:gd name="connsiteX43" fmla="*/ 3406830 w 10575647"/>
                <a:gd name="connsiteY43" fmla="*/ 359885 h 1701544"/>
                <a:gd name="connsiteX44" fmla="*/ 3231965 w 10575647"/>
                <a:gd name="connsiteY44" fmla="*/ 415877 h 1701544"/>
                <a:gd name="connsiteX45" fmla="*/ 3187194 w 10575647"/>
                <a:gd name="connsiteY45" fmla="*/ 462091 h 1701544"/>
                <a:gd name="connsiteX46" fmla="*/ 3187194 w 10575647"/>
                <a:gd name="connsiteY46" fmla="*/ 380187 h 1701544"/>
                <a:gd name="connsiteX47" fmla="*/ 3006395 w 10575647"/>
                <a:gd name="connsiteY47" fmla="*/ 380187 h 1701544"/>
                <a:gd name="connsiteX48" fmla="*/ 3006395 w 10575647"/>
                <a:gd name="connsiteY48" fmla="*/ 1271563 h 1701544"/>
                <a:gd name="connsiteX49" fmla="*/ 3187194 w 10575647"/>
                <a:gd name="connsiteY49" fmla="*/ 1271563 h 1701544"/>
                <a:gd name="connsiteX50" fmla="*/ 3187194 w 10575647"/>
                <a:gd name="connsiteY50" fmla="*/ 819411 h 1701544"/>
                <a:gd name="connsiteX51" fmla="*/ 3233517 w 10575647"/>
                <a:gd name="connsiteY51" fmla="*/ 629638 h 1701544"/>
                <a:gd name="connsiteX52" fmla="*/ 3401277 w 10575647"/>
                <a:gd name="connsiteY52" fmla="*/ 540683 h 1701544"/>
                <a:gd name="connsiteX53" fmla="*/ 3437445 w 10575647"/>
                <a:gd name="connsiteY53" fmla="*/ 542393 h 1701544"/>
                <a:gd name="connsiteX54" fmla="*/ 4250980 w 10575647"/>
                <a:gd name="connsiteY54" fmla="*/ 826838 h 1701544"/>
                <a:gd name="connsiteX55" fmla="*/ 3983364 w 10575647"/>
                <a:gd name="connsiteY55" fmla="*/ 1122077 h 1701544"/>
                <a:gd name="connsiteX56" fmla="*/ 3713875 w 10575647"/>
                <a:gd name="connsiteY56" fmla="*/ 826838 h 1701544"/>
                <a:gd name="connsiteX57" fmla="*/ 3985180 w 10575647"/>
                <a:gd name="connsiteY57" fmla="*/ 529677 h 1701544"/>
                <a:gd name="connsiteX58" fmla="*/ 4250980 w 10575647"/>
                <a:gd name="connsiteY58" fmla="*/ 826838 h 1701544"/>
                <a:gd name="connsiteX59" fmla="*/ 4435464 w 10575647"/>
                <a:gd name="connsiteY59" fmla="*/ 828654 h 1701544"/>
                <a:gd name="connsiteX60" fmla="*/ 3985180 w 10575647"/>
                <a:gd name="connsiteY60" fmla="*/ 359885 h 1701544"/>
                <a:gd name="connsiteX61" fmla="*/ 3529338 w 10575647"/>
                <a:gd name="connsiteY61" fmla="*/ 824916 h 1701544"/>
                <a:gd name="connsiteX62" fmla="*/ 3979622 w 10575647"/>
                <a:gd name="connsiteY62" fmla="*/ 1291865 h 1701544"/>
                <a:gd name="connsiteX63" fmla="*/ 4435464 w 10575647"/>
                <a:gd name="connsiteY63" fmla="*/ 828654 h 1701544"/>
                <a:gd name="connsiteX64" fmla="*/ 5261608 w 10575647"/>
                <a:gd name="connsiteY64" fmla="*/ 828654 h 1701544"/>
                <a:gd name="connsiteX65" fmla="*/ 5205508 w 10575647"/>
                <a:gd name="connsiteY65" fmla="*/ 1025854 h 1701544"/>
                <a:gd name="connsiteX66" fmla="*/ 5005052 w 10575647"/>
                <a:gd name="connsiteY66" fmla="*/ 1122077 h 1701544"/>
                <a:gd name="connsiteX67" fmla="*/ 4746675 w 10575647"/>
                <a:gd name="connsiteY67" fmla="*/ 823153 h 1701544"/>
                <a:gd name="connsiteX68" fmla="*/ 5008683 w 10575647"/>
                <a:gd name="connsiteY68" fmla="*/ 529677 h 1701544"/>
                <a:gd name="connsiteX69" fmla="*/ 5200378 w 10575647"/>
                <a:gd name="connsiteY69" fmla="*/ 617081 h 1701544"/>
                <a:gd name="connsiteX70" fmla="*/ 5261608 w 10575647"/>
                <a:gd name="connsiteY70" fmla="*/ 828654 h 1701544"/>
                <a:gd name="connsiteX71" fmla="*/ 5327264 w 10575647"/>
                <a:gd name="connsiteY71" fmla="*/ 1583314 h 1701544"/>
                <a:gd name="connsiteX72" fmla="*/ 5446113 w 10575647"/>
                <a:gd name="connsiteY72" fmla="*/ 1256819 h 1701544"/>
                <a:gd name="connsiteX73" fmla="*/ 5446113 w 10575647"/>
                <a:gd name="connsiteY73" fmla="*/ 380187 h 1701544"/>
                <a:gd name="connsiteX74" fmla="*/ 5265239 w 10575647"/>
                <a:gd name="connsiteY74" fmla="*/ 380187 h 1701544"/>
                <a:gd name="connsiteX75" fmla="*/ 5265239 w 10575647"/>
                <a:gd name="connsiteY75" fmla="*/ 488537 h 1701544"/>
                <a:gd name="connsiteX76" fmla="*/ 4982875 w 10575647"/>
                <a:gd name="connsiteY76" fmla="*/ 359885 h 1701544"/>
                <a:gd name="connsiteX77" fmla="*/ 4699394 w 10575647"/>
                <a:gd name="connsiteY77" fmla="*/ 465190 h 1701544"/>
                <a:gd name="connsiteX78" fmla="*/ 4558400 w 10575647"/>
                <a:gd name="connsiteY78" fmla="*/ 828654 h 1701544"/>
                <a:gd name="connsiteX79" fmla="*/ 4971816 w 10575647"/>
                <a:gd name="connsiteY79" fmla="*/ 1291865 h 1701544"/>
                <a:gd name="connsiteX80" fmla="*/ 5265239 w 10575647"/>
                <a:gd name="connsiteY80" fmla="*/ 1150553 h 1701544"/>
                <a:gd name="connsiteX81" fmla="*/ 5265239 w 10575647"/>
                <a:gd name="connsiteY81" fmla="*/ 1267931 h 1701544"/>
                <a:gd name="connsiteX82" fmla="*/ 5206095 w 10575647"/>
                <a:gd name="connsiteY82" fmla="*/ 1457116 h 1701544"/>
                <a:gd name="connsiteX83" fmla="*/ 4999546 w 10575647"/>
                <a:gd name="connsiteY83" fmla="*/ 1533625 h 1701544"/>
                <a:gd name="connsiteX84" fmla="*/ 4811695 w 10575647"/>
                <a:gd name="connsiteY84" fmla="*/ 1487409 h 1701544"/>
                <a:gd name="connsiteX85" fmla="*/ 4733588 w 10575647"/>
                <a:gd name="connsiteY85" fmla="*/ 1416300 h 1701544"/>
                <a:gd name="connsiteX86" fmla="*/ 4719215 w 10575647"/>
                <a:gd name="connsiteY86" fmla="*/ 1401339 h 1701544"/>
                <a:gd name="connsiteX87" fmla="*/ 4595103 w 10575647"/>
                <a:gd name="connsiteY87" fmla="*/ 1525451 h 1701544"/>
                <a:gd name="connsiteX88" fmla="*/ 4607819 w 10575647"/>
                <a:gd name="connsiteY88" fmla="*/ 1539824 h 1701544"/>
                <a:gd name="connsiteX89" fmla="*/ 4999546 w 10575647"/>
                <a:gd name="connsiteY89" fmla="*/ 1701544 h 1701544"/>
                <a:gd name="connsiteX90" fmla="*/ 5327264 w 10575647"/>
                <a:gd name="connsiteY90" fmla="*/ 1583314 h 1701544"/>
                <a:gd name="connsiteX91" fmla="*/ 6317923 w 10575647"/>
                <a:gd name="connsiteY91" fmla="*/ 747497 h 1701544"/>
                <a:gd name="connsiteX92" fmla="*/ 5805203 w 10575647"/>
                <a:gd name="connsiteY92" fmla="*/ 747497 h 1701544"/>
                <a:gd name="connsiteX93" fmla="*/ 5845913 w 10575647"/>
                <a:gd name="connsiteY93" fmla="*/ 635144 h 1701544"/>
                <a:gd name="connsiteX94" fmla="*/ 6057989 w 10575647"/>
                <a:gd name="connsiteY94" fmla="*/ 525990 h 1701544"/>
                <a:gd name="connsiteX95" fmla="*/ 6275730 w 10575647"/>
                <a:gd name="connsiteY95" fmla="*/ 633487 h 1701544"/>
                <a:gd name="connsiteX96" fmla="*/ 6317923 w 10575647"/>
                <a:gd name="connsiteY96" fmla="*/ 747497 h 1701544"/>
                <a:gd name="connsiteX97" fmla="*/ 6508188 w 10575647"/>
                <a:gd name="connsiteY97" fmla="*/ 872890 h 1701544"/>
                <a:gd name="connsiteX98" fmla="*/ 6510094 w 10575647"/>
                <a:gd name="connsiteY98" fmla="*/ 815779 h 1701544"/>
                <a:gd name="connsiteX99" fmla="*/ 6057989 w 10575647"/>
                <a:gd name="connsiteY99" fmla="*/ 359885 h 1701544"/>
                <a:gd name="connsiteX100" fmla="*/ 5609538 w 10575647"/>
                <a:gd name="connsiteY100" fmla="*/ 828654 h 1701544"/>
                <a:gd name="connsiteX101" fmla="*/ 6063495 w 10575647"/>
                <a:gd name="connsiteY101" fmla="*/ 1291865 h 1701544"/>
                <a:gd name="connsiteX102" fmla="*/ 6460066 w 10575647"/>
                <a:gd name="connsiteY102" fmla="*/ 1051710 h 1701544"/>
                <a:gd name="connsiteX103" fmla="*/ 6469966 w 10575647"/>
                <a:gd name="connsiteY103" fmla="*/ 1031572 h 1701544"/>
                <a:gd name="connsiteX104" fmla="*/ 6308923 w 10575647"/>
                <a:gd name="connsiteY104" fmla="*/ 971517 h 1701544"/>
                <a:gd name="connsiteX105" fmla="*/ 6300559 w 10575647"/>
                <a:gd name="connsiteY105" fmla="*/ 986689 h 1701544"/>
                <a:gd name="connsiteX106" fmla="*/ 6063495 w 10575647"/>
                <a:gd name="connsiteY106" fmla="*/ 1122077 h 1701544"/>
                <a:gd name="connsiteX107" fmla="*/ 5850784 w 10575647"/>
                <a:gd name="connsiteY107" fmla="*/ 1013832 h 1701544"/>
                <a:gd name="connsiteX108" fmla="*/ 5802132 w 10575647"/>
                <a:gd name="connsiteY108" fmla="*/ 891377 h 1701544"/>
                <a:gd name="connsiteX109" fmla="*/ 6506547 w 10575647"/>
                <a:gd name="connsiteY109" fmla="*/ 891377 h 1701544"/>
                <a:gd name="connsiteX110" fmla="*/ 6508188 w 10575647"/>
                <a:gd name="connsiteY110" fmla="*/ 872890 h 1701544"/>
                <a:gd name="connsiteX111" fmla="*/ 7205139 w 10575647"/>
                <a:gd name="connsiteY111" fmla="*/ 1271563 h 1701544"/>
                <a:gd name="connsiteX112" fmla="*/ 7385928 w 10575647"/>
                <a:gd name="connsiteY112" fmla="*/ 1271563 h 1701544"/>
                <a:gd name="connsiteX113" fmla="*/ 7385928 w 10575647"/>
                <a:gd name="connsiteY113" fmla="*/ 677294 h 1701544"/>
                <a:gd name="connsiteX114" fmla="*/ 7307154 w 10575647"/>
                <a:gd name="connsiteY114" fmla="*/ 435163 h 1701544"/>
                <a:gd name="connsiteX115" fmla="*/ 7096189 w 10575647"/>
                <a:gd name="connsiteY115" fmla="*/ 359885 h 1701544"/>
                <a:gd name="connsiteX116" fmla="*/ 6863625 w 10575647"/>
                <a:gd name="connsiteY116" fmla="*/ 463694 h 1701544"/>
                <a:gd name="connsiteX117" fmla="*/ 6863625 w 10575647"/>
                <a:gd name="connsiteY117" fmla="*/ 380187 h 1701544"/>
                <a:gd name="connsiteX118" fmla="*/ 6682836 w 10575647"/>
                <a:gd name="connsiteY118" fmla="*/ 380187 h 1701544"/>
                <a:gd name="connsiteX119" fmla="*/ 6682836 w 10575647"/>
                <a:gd name="connsiteY119" fmla="*/ 1271563 h 1701544"/>
                <a:gd name="connsiteX120" fmla="*/ 6863625 w 10575647"/>
                <a:gd name="connsiteY120" fmla="*/ 1271563 h 1701544"/>
                <a:gd name="connsiteX121" fmla="*/ 6863625 w 10575647"/>
                <a:gd name="connsiteY121" fmla="*/ 732701 h 1701544"/>
                <a:gd name="connsiteX122" fmla="*/ 6913971 w 10575647"/>
                <a:gd name="connsiteY122" fmla="*/ 591066 h 1701544"/>
                <a:gd name="connsiteX123" fmla="*/ 7061143 w 10575647"/>
                <a:gd name="connsiteY123" fmla="*/ 525990 h 1701544"/>
                <a:gd name="connsiteX124" fmla="*/ 7177769 w 10575647"/>
                <a:gd name="connsiteY124" fmla="*/ 575089 h 1701544"/>
                <a:gd name="connsiteX125" fmla="*/ 7205139 w 10575647"/>
                <a:gd name="connsiteY125" fmla="*/ 708709 h 1701544"/>
                <a:gd name="connsiteX126" fmla="*/ 7205139 w 10575647"/>
                <a:gd name="connsiteY126" fmla="*/ 1271563 h 1701544"/>
                <a:gd name="connsiteX127" fmla="*/ 7822309 w 10575647"/>
                <a:gd name="connsiteY127" fmla="*/ 162418 h 1701544"/>
                <a:gd name="connsiteX128" fmla="*/ 7713412 w 10575647"/>
                <a:gd name="connsiteY128" fmla="*/ 49847 h 1701544"/>
                <a:gd name="connsiteX129" fmla="*/ 7602662 w 10575647"/>
                <a:gd name="connsiteY129" fmla="*/ 160549 h 1701544"/>
                <a:gd name="connsiteX130" fmla="*/ 7711560 w 10575647"/>
                <a:gd name="connsiteY130" fmla="*/ 271303 h 1701544"/>
                <a:gd name="connsiteX131" fmla="*/ 7822309 w 10575647"/>
                <a:gd name="connsiteY131" fmla="*/ 162418 h 1701544"/>
                <a:gd name="connsiteX132" fmla="*/ 8704760 w 10575647"/>
                <a:gd name="connsiteY132" fmla="*/ 826838 h 1701544"/>
                <a:gd name="connsiteX133" fmla="*/ 8437150 w 10575647"/>
                <a:gd name="connsiteY133" fmla="*/ 1122077 h 1701544"/>
                <a:gd name="connsiteX134" fmla="*/ 8167740 w 10575647"/>
                <a:gd name="connsiteY134" fmla="*/ 826838 h 1701544"/>
                <a:gd name="connsiteX135" fmla="*/ 8439003 w 10575647"/>
                <a:gd name="connsiteY135" fmla="*/ 529677 h 1701544"/>
                <a:gd name="connsiteX136" fmla="*/ 8704760 w 10575647"/>
                <a:gd name="connsiteY136" fmla="*/ 826838 h 1701544"/>
                <a:gd name="connsiteX137" fmla="*/ 8889307 w 10575647"/>
                <a:gd name="connsiteY137" fmla="*/ 828654 h 1701544"/>
                <a:gd name="connsiteX138" fmla="*/ 8439003 w 10575647"/>
                <a:gd name="connsiteY138" fmla="*/ 359885 h 1701544"/>
                <a:gd name="connsiteX139" fmla="*/ 7983193 w 10575647"/>
                <a:gd name="connsiteY139" fmla="*/ 824916 h 1701544"/>
                <a:gd name="connsiteX140" fmla="*/ 8433444 w 10575647"/>
                <a:gd name="connsiteY140" fmla="*/ 1291865 h 1701544"/>
                <a:gd name="connsiteX141" fmla="*/ 8889307 w 10575647"/>
                <a:gd name="connsiteY141" fmla="*/ 828654 h 1701544"/>
                <a:gd name="connsiteX142" fmla="*/ 9658150 w 10575647"/>
                <a:gd name="connsiteY142" fmla="*/ 1197940 h 1701544"/>
                <a:gd name="connsiteX143" fmla="*/ 9749630 w 10575647"/>
                <a:gd name="connsiteY143" fmla="*/ 944968 h 1701544"/>
                <a:gd name="connsiteX144" fmla="*/ 9749630 w 10575647"/>
                <a:gd name="connsiteY144" fmla="*/ 380187 h 1701544"/>
                <a:gd name="connsiteX145" fmla="*/ 9566988 w 10575647"/>
                <a:gd name="connsiteY145" fmla="*/ 380187 h 1701544"/>
                <a:gd name="connsiteX146" fmla="*/ 9566988 w 10575647"/>
                <a:gd name="connsiteY146" fmla="*/ 944968 h 1701544"/>
                <a:gd name="connsiteX147" fmla="*/ 9535012 w 10575647"/>
                <a:gd name="connsiteY147" fmla="*/ 1068222 h 1701544"/>
                <a:gd name="connsiteX148" fmla="*/ 9399010 w 10575647"/>
                <a:gd name="connsiteY148" fmla="*/ 1125815 h 1701544"/>
                <a:gd name="connsiteX149" fmla="*/ 9229233 w 10575647"/>
                <a:gd name="connsiteY149" fmla="*/ 941225 h 1701544"/>
                <a:gd name="connsiteX150" fmla="*/ 9229233 w 10575647"/>
                <a:gd name="connsiteY150" fmla="*/ 380187 h 1701544"/>
                <a:gd name="connsiteX151" fmla="*/ 9048391 w 10575647"/>
                <a:gd name="connsiteY151" fmla="*/ 380187 h 1701544"/>
                <a:gd name="connsiteX152" fmla="*/ 9048391 w 10575647"/>
                <a:gd name="connsiteY152" fmla="*/ 944968 h 1701544"/>
                <a:gd name="connsiteX153" fmla="*/ 9139659 w 10575647"/>
                <a:gd name="connsiteY153" fmla="*/ 1195965 h 1701544"/>
                <a:gd name="connsiteX154" fmla="*/ 9399010 w 10575647"/>
                <a:gd name="connsiteY154" fmla="*/ 1291865 h 1701544"/>
                <a:gd name="connsiteX155" fmla="*/ 9658150 w 10575647"/>
                <a:gd name="connsiteY155" fmla="*/ 1197945 h 1701544"/>
                <a:gd name="connsiteX156" fmla="*/ 10385594 w 10575647"/>
                <a:gd name="connsiteY156" fmla="*/ 653307 h 1701544"/>
                <a:gd name="connsiteX157" fmla="*/ 10567335 w 10575647"/>
                <a:gd name="connsiteY157" fmla="*/ 653307 h 1701544"/>
                <a:gd name="connsiteX158" fmla="*/ 10566383 w 10575647"/>
                <a:gd name="connsiteY158" fmla="*/ 632041 h 1701544"/>
                <a:gd name="connsiteX159" fmla="*/ 10249009 w 10575647"/>
                <a:gd name="connsiteY159" fmla="*/ 359885 h 1701544"/>
                <a:gd name="connsiteX160" fmla="*/ 9929730 w 10575647"/>
                <a:gd name="connsiteY160" fmla="*/ 627446 h 1701544"/>
                <a:gd name="connsiteX161" fmla="*/ 10212587 w 10575647"/>
                <a:gd name="connsiteY161" fmla="*/ 903611 h 1701544"/>
                <a:gd name="connsiteX162" fmla="*/ 10391099 w 10575647"/>
                <a:gd name="connsiteY162" fmla="*/ 1031625 h 1701544"/>
                <a:gd name="connsiteX163" fmla="*/ 10252715 w 10575647"/>
                <a:gd name="connsiteY163" fmla="*/ 1136874 h 1701544"/>
                <a:gd name="connsiteX164" fmla="*/ 10093843 w 10575647"/>
                <a:gd name="connsiteY164" fmla="*/ 1007579 h 1701544"/>
                <a:gd name="connsiteX165" fmla="*/ 10092096 w 10575647"/>
                <a:gd name="connsiteY165" fmla="*/ 989257 h 1701544"/>
                <a:gd name="connsiteX166" fmla="*/ 9913054 w 10575647"/>
                <a:gd name="connsiteY166" fmla="*/ 989257 h 1701544"/>
                <a:gd name="connsiteX167" fmla="*/ 9915066 w 10575647"/>
                <a:gd name="connsiteY167" fmla="*/ 1011216 h 1701544"/>
                <a:gd name="connsiteX168" fmla="*/ 10252715 w 10575647"/>
                <a:gd name="connsiteY168" fmla="*/ 1291865 h 1701544"/>
                <a:gd name="connsiteX169" fmla="*/ 10575647 w 10575647"/>
                <a:gd name="connsiteY169" fmla="*/ 1024303 h 1701544"/>
                <a:gd name="connsiteX170" fmla="*/ 10501426 w 10575647"/>
                <a:gd name="connsiteY170" fmla="*/ 843879 h 1701544"/>
                <a:gd name="connsiteX171" fmla="*/ 10285750 w 10575647"/>
                <a:gd name="connsiteY171" fmla="*/ 740769 h 1701544"/>
                <a:gd name="connsiteX172" fmla="*/ 10110519 w 10575647"/>
                <a:gd name="connsiteY172" fmla="*/ 616440 h 1701544"/>
                <a:gd name="connsiteX173" fmla="*/ 10243398 w 10575647"/>
                <a:gd name="connsiteY173" fmla="*/ 514877 h 1701544"/>
                <a:gd name="connsiteX174" fmla="*/ 10385594 w 10575647"/>
                <a:gd name="connsiteY174" fmla="*/ 623762 h 1701544"/>
                <a:gd name="connsiteX175" fmla="*/ 10385594 w 10575647"/>
                <a:gd name="connsiteY175" fmla="*/ 653307 h 170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10575647" h="1701544">
                  <a:moveTo>
                    <a:pt x="7802033" y="380187"/>
                  </a:moveTo>
                  <a:lnTo>
                    <a:pt x="7621138" y="380187"/>
                  </a:lnTo>
                  <a:lnTo>
                    <a:pt x="7621138" y="1271563"/>
                  </a:lnTo>
                  <a:lnTo>
                    <a:pt x="7802033" y="1271563"/>
                  </a:lnTo>
                  <a:lnTo>
                    <a:pt x="7802033" y="380187"/>
                  </a:lnTo>
                  <a:close/>
                  <a:moveTo>
                    <a:pt x="706522" y="1271563"/>
                  </a:moveTo>
                  <a:lnTo>
                    <a:pt x="902065" y="1271563"/>
                  </a:lnTo>
                  <a:lnTo>
                    <a:pt x="902065" y="0"/>
                  </a:lnTo>
                  <a:lnTo>
                    <a:pt x="706522" y="0"/>
                  </a:lnTo>
                  <a:lnTo>
                    <a:pt x="706522" y="553717"/>
                  </a:lnTo>
                  <a:lnTo>
                    <a:pt x="195543" y="553717"/>
                  </a:lnTo>
                  <a:lnTo>
                    <a:pt x="195543" y="0"/>
                  </a:lnTo>
                  <a:lnTo>
                    <a:pt x="0" y="0"/>
                  </a:lnTo>
                  <a:lnTo>
                    <a:pt x="0" y="1271563"/>
                  </a:lnTo>
                  <a:lnTo>
                    <a:pt x="195543" y="1271563"/>
                  </a:lnTo>
                  <a:lnTo>
                    <a:pt x="195543" y="727142"/>
                  </a:lnTo>
                  <a:lnTo>
                    <a:pt x="706522" y="727142"/>
                  </a:lnTo>
                  <a:lnTo>
                    <a:pt x="706522" y="1271563"/>
                  </a:lnTo>
                  <a:close/>
                  <a:moveTo>
                    <a:pt x="1306185" y="1690649"/>
                  </a:moveTo>
                  <a:lnTo>
                    <a:pt x="1654904" y="1036061"/>
                  </a:lnTo>
                  <a:lnTo>
                    <a:pt x="1306185" y="381469"/>
                  </a:lnTo>
                  <a:lnTo>
                    <a:pt x="1090234" y="381469"/>
                  </a:lnTo>
                  <a:lnTo>
                    <a:pt x="1438900" y="1036061"/>
                  </a:lnTo>
                  <a:lnTo>
                    <a:pt x="1090234" y="1690649"/>
                  </a:lnTo>
                  <a:lnTo>
                    <a:pt x="1306185" y="1690649"/>
                  </a:lnTo>
                  <a:close/>
                  <a:moveTo>
                    <a:pt x="2581808" y="828654"/>
                  </a:moveTo>
                  <a:cubicBezTo>
                    <a:pt x="2581808" y="1002989"/>
                    <a:pt x="2470789" y="1129505"/>
                    <a:pt x="2317883" y="1129505"/>
                  </a:cubicBezTo>
                  <a:cubicBezTo>
                    <a:pt x="2168980" y="1129505"/>
                    <a:pt x="2065011" y="1007262"/>
                    <a:pt x="2065011" y="832338"/>
                  </a:cubicBezTo>
                  <a:cubicBezTo>
                    <a:pt x="2065011" y="649088"/>
                    <a:pt x="2170314" y="525990"/>
                    <a:pt x="2327068" y="525990"/>
                  </a:cubicBezTo>
                  <a:cubicBezTo>
                    <a:pt x="2479444" y="525990"/>
                    <a:pt x="2581808" y="647590"/>
                    <a:pt x="2581808" y="828654"/>
                  </a:cubicBezTo>
                  <a:moveTo>
                    <a:pt x="2581808" y="1271563"/>
                  </a:moveTo>
                  <a:lnTo>
                    <a:pt x="2762608" y="1271563"/>
                  </a:lnTo>
                  <a:lnTo>
                    <a:pt x="2762608" y="0"/>
                  </a:lnTo>
                  <a:lnTo>
                    <a:pt x="2581808" y="0"/>
                  </a:lnTo>
                  <a:lnTo>
                    <a:pt x="2581808" y="476356"/>
                  </a:lnTo>
                  <a:cubicBezTo>
                    <a:pt x="2503431" y="397017"/>
                    <a:pt x="2412449" y="359885"/>
                    <a:pt x="2297581" y="359885"/>
                  </a:cubicBezTo>
                  <a:cubicBezTo>
                    <a:pt x="2057690" y="359885"/>
                    <a:pt x="1876785" y="562214"/>
                    <a:pt x="1876785" y="830470"/>
                  </a:cubicBezTo>
                  <a:cubicBezTo>
                    <a:pt x="1876785" y="1102145"/>
                    <a:pt x="2049839" y="1291865"/>
                    <a:pt x="2297581" y="1291865"/>
                  </a:cubicBezTo>
                  <a:cubicBezTo>
                    <a:pt x="2414371" y="1291865"/>
                    <a:pt x="2503061" y="1251959"/>
                    <a:pt x="2581808" y="1163217"/>
                  </a:cubicBezTo>
                  <a:lnTo>
                    <a:pt x="2581808" y="1271563"/>
                  </a:lnTo>
                  <a:close/>
                  <a:moveTo>
                    <a:pt x="3437445" y="542393"/>
                  </a:moveTo>
                  <a:lnTo>
                    <a:pt x="3460310" y="545331"/>
                  </a:lnTo>
                  <a:lnTo>
                    <a:pt x="3460310" y="359885"/>
                  </a:lnTo>
                  <a:lnTo>
                    <a:pt x="3406830" y="359885"/>
                  </a:lnTo>
                  <a:cubicBezTo>
                    <a:pt x="3341169" y="359885"/>
                    <a:pt x="3277430" y="380294"/>
                    <a:pt x="3231965" y="415877"/>
                  </a:cubicBezTo>
                  <a:cubicBezTo>
                    <a:pt x="3213690" y="430035"/>
                    <a:pt x="3199693" y="444353"/>
                    <a:pt x="3187194" y="462091"/>
                  </a:cubicBezTo>
                  <a:lnTo>
                    <a:pt x="3187194" y="380187"/>
                  </a:lnTo>
                  <a:lnTo>
                    <a:pt x="3006395" y="380187"/>
                  </a:lnTo>
                  <a:lnTo>
                    <a:pt x="3006395" y="1271563"/>
                  </a:lnTo>
                  <a:lnTo>
                    <a:pt x="3187194" y="1271563"/>
                  </a:lnTo>
                  <a:lnTo>
                    <a:pt x="3187194" y="819411"/>
                  </a:lnTo>
                  <a:cubicBezTo>
                    <a:pt x="3187194" y="727783"/>
                    <a:pt x="3198894" y="679915"/>
                    <a:pt x="3233517" y="629638"/>
                  </a:cubicBezTo>
                  <a:cubicBezTo>
                    <a:pt x="3272300" y="572310"/>
                    <a:pt x="3331926" y="540683"/>
                    <a:pt x="3401277" y="540683"/>
                  </a:cubicBezTo>
                  <a:cubicBezTo>
                    <a:pt x="3410356" y="540683"/>
                    <a:pt x="3423983" y="540683"/>
                    <a:pt x="3437445" y="542393"/>
                  </a:cubicBezTo>
                  <a:moveTo>
                    <a:pt x="4250980" y="826838"/>
                  </a:moveTo>
                  <a:cubicBezTo>
                    <a:pt x="4250980" y="1000692"/>
                    <a:pt x="4140918" y="1122077"/>
                    <a:pt x="3983364" y="1122077"/>
                  </a:cubicBezTo>
                  <a:cubicBezTo>
                    <a:pt x="3822174" y="1122077"/>
                    <a:pt x="3713875" y="1003466"/>
                    <a:pt x="3713875" y="826838"/>
                  </a:cubicBezTo>
                  <a:cubicBezTo>
                    <a:pt x="3713875" y="649088"/>
                    <a:pt x="3822920" y="529677"/>
                    <a:pt x="3985180" y="529677"/>
                  </a:cubicBezTo>
                  <a:cubicBezTo>
                    <a:pt x="4144179" y="529677"/>
                    <a:pt x="4250980" y="649088"/>
                    <a:pt x="4250980" y="826838"/>
                  </a:cubicBezTo>
                  <a:moveTo>
                    <a:pt x="4435464" y="828654"/>
                  </a:moveTo>
                  <a:cubicBezTo>
                    <a:pt x="4435464" y="557084"/>
                    <a:pt x="4246120" y="359885"/>
                    <a:pt x="3985180" y="359885"/>
                  </a:cubicBezTo>
                  <a:cubicBezTo>
                    <a:pt x="3716818" y="359885"/>
                    <a:pt x="3529338" y="551155"/>
                    <a:pt x="3529338" y="824916"/>
                  </a:cubicBezTo>
                  <a:cubicBezTo>
                    <a:pt x="3529338" y="1099848"/>
                    <a:pt x="3714521" y="1291865"/>
                    <a:pt x="3979622" y="1291865"/>
                  </a:cubicBezTo>
                  <a:cubicBezTo>
                    <a:pt x="4235272" y="1291865"/>
                    <a:pt x="4435464" y="1088418"/>
                    <a:pt x="4435464" y="828654"/>
                  </a:cubicBezTo>
                  <a:moveTo>
                    <a:pt x="5261608" y="828654"/>
                  </a:moveTo>
                  <a:cubicBezTo>
                    <a:pt x="5261608" y="909382"/>
                    <a:pt x="5239596" y="986748"/>
                    <a:pt x="5205508" y="1025854"/>
                  </a:cubicBezTo>
                  <a:cubicBezTo>
                    <a:pt x="5153150" y="1087026"/>
                    <a:pt x="5080062" y="1122077"/>
                    <a:pt x="5005052" y="1122077"/>
                  </a:cubicBezTo>
                  <a:cubicBezTo>
                    <a:pt x="4855296" y="1122077"/>
                    <a:pt x="4746675" y="996361"/>
                    <a:pt x="4746675" y="823153"/>
                  </a:cubicBezTo>
                  <a:cubicBezTo>
                    <a:pt x="4746675" y="650316"/>
                    <a:pt x="4854386" y="529677"/>
                    <a:pt x="5008683" y="529677"/>
                  </a:cubicBezTo>
                  <a:cubicBezTo>
                    <a:pt x="5078193" y="529677"/>
                    <a:pt x="5151652" y="563177"/>
                    <a:pt x="5200378" y="617081"/>
                  </a:cubicBezTo>
                  <a:cubicBezTo>
                    <a:pt x="5246112" y="667892"/>
                    <a:pt x="5261608" y="721266"/>
                    <a:pt x="5261608" y="828654"/>
                  </a:cubicBezTo>
                  <a:moveTo>
                    <a:pt x="5327264" y="1583314"/>
                  </a:moveTo>
                  <a:cubicBezTo>
                    <a:pt x="5409426" y="1504990"/>
                    <a:pt x="5446113" y="1404277"/>
                    <a:pt x="5446113" y="1256819"/>
                  </a:cubicBezTo>
                  <a:lnTo>
                    <a:pt x="5446113" y="380187"/>
                  </a:lnTo>
                  <a:lnTo>
                    <a:pt x="5265239" y="380187"/>
                  </a:lnTo>
                  <a:lnTo>
                    <a:pt x="5265239" y="488537"/>
                  </a:lnTo>
                  <a:cubicBezTo>
                    <a:pt x="5186005" y="398673"/>
                    <a:pt x="5100153" y="359885"/>
                    <a:pt x="4982875" y="359885"/>
                  </a:cubicBezTo>
                  <a:cubicBezTo>
                    <a:pt x="4866567" y="359885"/>
                    <a:pt x="4771201" y="395361"/>
                    <a:pt x="4699394" y="465190"/>
                  </a:cubicBezTo>
                  <a:cubicBezTo>
                    <a:pt x="4611080" y="549710"/>
                    <a:pt x="4558400" y="685574"/>
                    <a:pt x="4558400" y="828654"/>
                  </a:cubicBezTo>
                  <a:cubicBezTo>
                    <a:pt x="4558400" y="1092743"/>
                    <a:pt x="4736097" y="1291865"/>
                    <a:pt x="4971816" y="1291865"/>
                  </a:cubicBezTo>
                  <a:cubicBezTo>
                    <a:pt x="5092032" y="1291865"/>
                    <a:pt x="5185952" y="1246830"/>
                    <a:pt x="5265239" y="1150553"/>
                  </a:cubicBezTo>
                  <a:lnTo>
                    <a:pt x="5265239" y="1267931"/>
                  </a:lnTo>
                  <a:cubicBezTo>
                    <a:pt x="5265239" y="1350745"/>
                    <a:pt x="5245313" y="1414431"/>
                    <a:pt x="5206095" y="1457116"/>
                  </a:cubicBezTo>
                  <a:cubicBezTo>
                    <a:pt x="5162288" y="1504291"/>
                    <a:pt x="5083159" y="1533625"/>
                    <a:pt x="4999546" y="1533625"/>
                  </a:cubicBezTo>
                  <a:cubicBezTo>
                    <a:pt x="4932122" y="1533625"/>
                    <a:pt x="4856471" y="1514979"/>
                    <a:pt x="4811695" y="1487409"/>
                  </a:cubicBezTo>
                  <a:cubicBezTo>
                    <a:pt x="4788777" y="1471596"/>
                    <a:pt x="4771254" y="1455624"/>
                    <a:pt x="4733588" y="1416300"/>
                  </a:cubicBezTo>
                  <a:lnTo>
                    <a:pt x="4719215" y="1401339"/>
                  </a:lnTo>
                  <a:lnTo>
                    <a:pt x="4595103" y="1525451"/>
                  </a:lnTo>
                  <a:lnTo>
                    <a:pt x="4607819" y="1539824"/>
                  </a:lnTo>
                  <a:cubicBezTo>
                    <a:pt x="4703719" y="1647106"/>
                    <a:pt x="4835528" y="1701544"/>
                    <a:pt x="4999546" y="1701544"/>
                  </a:cubicBezTo>
                  <a:cubicBezTo>
                    <a:pt x="5134664" y="1701544"/>
                    <a:pt x="5247981" y="1660675"/>
                    <a:pt x="5327264" y="1583314"/>
                  </a:cubicBezTo>
                  <a:moveTo>
                    <a:pt x="6317923" y="747497"/>
                  </a:moveTo>
                  <a:lnTo>
                    <a:pt x="5805203" y="747497"/>
                  </a:lnTo>
                  <a:cubicBezTo>
                    <a:pt x="5814785" y="696051"/>
                    <a:pt x="5825267" y="667627"/>
                    <a:pt x="5845913" y="635144"/>
                  </a:cubicBezTo>
                  <a:cubicBezTo>
                    <a:pt x="5892024" y="566756"/>
                    <a:pt x="5971327" y="525990"/>
                    <a:pt x="6057989" y="525990"/>
                  </a:cubicBezTo>
                  <a:cubicBezTo>
                    <a:pt x="6144228" y="525990"/>
                    <a:pt x="6225702" y="566274"/>
                    <a:pt x="6275730" y="633487"/>
                  </a:cubicBezTo>
                  <a:cubicBezTo>
                    <a:pt x="6300453" y="669067"/>
                    <a:pt x="6312047" y="699841"/>
                    <a:pt x="6317923" y="747497"/>
                  </a:cubicBezTo>
                  <a:moveTo>
                    <a:pt x="6508188" y="872890"/>
                  </a:moveTo>
                  <a:cubicBezTo>
                    <a:pt x="6510094" y="851683"/>
                    <a:pt x="6510094" y="827426"/>
                    <a:pt x="6510094" y="815779"/>
                  </a:cubicBezTo>
                  <a:cubicBezTo>
                    <a:pt x="6510094" y="555909"/>
                    <a:pt x="6315700" y="359885"/>
                    <a:pt x="6057989" y="359885"/>
                  </a:cubicBezTo>
                  <a:cubicBezTo>
                    <a:pt x="5798109" y="359885"/>
                    <a:pt x="5609538" y="557084"/>
                    <a:pt x="5609538" y="828654"/>
                  </a:cubicBezTo>
                  <a:cubicBezTo>
                    <a:pt x="5609538" y="1097074"/>
                    <a:pt x="5800491" y="1291865"/>
                    <a:pt x="6063495" y="1291865"/>
                  </a:cubicBezTo>
                  <a:cubicBezTo>
                    <a:pt x="6235020" y="1291865"/>
                    <a:pt x="6386956" y="1199867"/>
                    <a:pt x="6460066" y="1051710"/>
                  </a:cubicBezTo>
                  <a:lnTo>
                    <a:pt x="6469966" y="1031572"/>
                  </a:lnTo>
                  <a:lnTo>
                    <a:pt x="6308923" y="971517"/>
                  </a:lnTo>
                  <a:lnTo>
                    <a:pt x="6300559" y="986689"/>
                  </a:lnTo>
                  <a:cubicBezTo>
                    <a:pt x="6254237" y="1068968"/>
                    <a:pt x="6161169" y="1122077"/>
                    <a:pt x="6063495" y="1122077"/>
                  </a:cubicBezTo>
                  <a:cubicBezTo>
                    <a:pt x="5977415" y="1122077"/>
                    <a:pt x="5901923" y="1083664"/>
                    <a:pt x="5850784" y="1013832"/>
                  </a:cubicBezTo>
                  <a:cubicBezTo>
                    <a:pt x="5821932" y="975900"/>
                    <a:pt x="5809438" y="945021"/>
                    <a:pt x="5802132" y="891377"/>
                  </a:cubicBezTo>
                  <a:lnTo>
                    <a:pt x="6506547" y="891377"/>
                  </a:lnTo>
                  <a:lnTo>
                    <a:pt x="6508188" y="872890"/>
                  </a:lnTo>
                  <a:close/>
                  <a:moveTo>
                    <a:pt x="7205139" y="1271563"/>
                  </a:moveTo>
                  <a:lnTo>
                    <a:pt x="7385928" y="1271563"/>
                  </a:lnTo>
                  <a:lnTo>
                    <a:pt x="7385928" y="677294"/>
                  </a:lnTo>
                  <a:cubicBezTo>
                    <a:pt x="7385928" y="554734"/>
                    <a:pt x="7365387" y="491422"/>
                    <a:pt x="7307154" y="435163"/>
                  </a:cubicBezTo>
                  <a:cubicBezTo>
                    <a:pt x="7252520" y="386599"/>
                    <a:pt x="7177557" y="359885"/>
                    <a:pt x="7096189" y="359885"/>
                  </a:cubicBezTo>
                  <a:cubicBezTo>
                    <a:pt x="7000739" y="359885"/>
                    <a:pt x="6929853" y="391193"/>
                    <a:pt x="6863625" y="463694"/>
                  </a:cubicBezTo>
                  <a:lnTo>
                    <a:pt x="6863625" y="380187"/>
                  </a:lnTo>
                  <a:lnTo>
                    <a:pt x="6682836" y="380187"/>
                  </a:lnTo>
                  <a:lnTo>
                    <a:pt x="6682836" y="1271563"/>
                  </a:lnTo>
                  <a:lnTo>
                    <a:pt x="6863625" y="1271563"/>
                  </a:lnTo>
                  <a:lnTo>
                    <a:pt x="6863625" y="732701"/>
                  </a:lnTo>
                  <a:cubicBezTo>
                    <a:pt x="6863625" y="667839"/>
                    <a:pt x="6876278" y="632147"/>
                    <a:pt x="6913971" y="591066"/>
                  </a:cubicBezTo>
                  <a:cubicBezTo>
                    <a:pt x="6951505" y="548481"/>
                    <a:pt x="7002433" y="525990"/>
                    <a:pt x="7061143" y="525990"/>
                  </a:cubicBezTo>
                  <a:cubicBezTo>
                    <a:pt x="7110748" y="525990"/>
                    <a:pt x="7155428" y="544744"/>
                    <a:pt x="7177769" y="575089"/>
                  </a:cubicBezTo>
                  <a:cubicBezTo>
                    <a:pt x="7197410" y="601215"/>
                    <a:pt x="7205139" y="638722"/>
                    <a:pt x="7205139" y="708709"/>
                  </a:cubicBezTo>
                  <a:lnTo>
                    <a:pt x="7205139" y="1271563"/>
                  </a:lnTo>
                  <a:close/>
                  <a:moveTo>
                    <a:pt x="7822309" y="162418"/>
                  </a:moveTo>
                  <a:cubicBezTo>
                    <a:pt x="7822309" y="99268"/>
                    <a:pt x="7774452" y="49847"/>
                    <a:pt x="7713412" y="49847"/>
                  </a:cubicBezTo>
                  <a:cubicBezTo>
                    <a:pt x="7650255" y="49847"/>
                    <a:pt x="7602662" y="97451"/>
                    <a:pt x="7602662" y="160549"/>
                  </a:cubicBezTo>
                  <a:cubicBezTo>
                    <a:pt x="7602662" y="223699"/>
                    <a:pt x="7649514" y="271303"/>
                    <a:pt x="7711560" y="271303"/>
                  </a:cubicBezTo>
                  <a:cubicBezTo>
                    <a:pt x="7773711" y="271303"/>
                    <a:pt x="7822309" y="223432"/>
                    <a:pt x="7822309" y="162418"/>
                  </a:cubicBezTo>
                  <a:moveTo>
                    <a:pt x="8704760" y="826838"/>
                  </a:moveTo>
                  <a:cubicBezTo>
                    <a:pt x="8704760" y="1000692"/>
                    <a:pt x="8594751" y="1122077"/>
                    <a:pt x="8437150" y="1122077"/>
                  </a:cubicBezTo>
                  <a:cubicBezTo>
                    <a:pt x="8276002" y="1122077"/>
                    <a:pt x="8167740" y="1003466"/>
                    <a:pt x="8167740" y="826838"/>
                  </a:cubicBezTo>
                  <a:cubicBezTo>
                    <a:pt x="8167740" y="649088"/>
                    <a:pt x="8276743" y="529677"/>
                    <a:pt x="8439003" y="529677"/>
                  </a:cubicBezTo>
                  <a:cubicBezTo>
                    <a:pt x="8597980" y="529677"/>
                    <a:pt x="8704760" y="649088"/>
                    <a:pt x="8704760" y="826838"/>
                  </a:cubicBezTo>
                  <a:moveTo>
                    <a:pt x="8889307" y="828654"/>
                  </a:moveTo>
                  <a:cubicBezTo>
                    <a:pt x="8889307" y="557084"/>
                    <a:pt x="8699942" y="359885"/>
                    <a:pt x="8439003" y="359885"/>
                  </a:cubicBezTo>
                  <a:cubicBezTo>
                    <a:pt x="8170652" y="359885"/>
                    <a:pt x="7983193" y="551155"/>
                    <a:pt x="7983193" y="824916"/>
                  </a:cubicBezTo>
                  <a:cubicBezTo>
                    <a:pt x="7983193" y="1099848"/>
                    <a:pt x="8168375" y="1291865"/>
                    <a:pt x="8433444" y="1291865"/>
                  </a:cubicBezTo>
                  <a:cubicBezTo>
                    <a:pt x="8689089" y="1291865"/>
                    <a:pt x="8889307" y="1088418"/>
                    <a:pt x="8889307" y="828654"/>
                  </a:cubicBezTo>
                  <a:moveTo>
                    <a:pt x="9658150" y="1197940"/>
                  </a:moveTo>
                  <a:cubicBezTo>
                    <a:pt x="9724854" y="1137144"/>
                    <a:pt x="9749630" y="1068539"/>
                    <a:pt x="9749630" y="944968"/>
                  </a:cubicBezTo>
                  <a:lnTo>
                    <a:pt x="9749630" y="380187"/>
                  </a:lnTo>
                  <a:lnTo>
                    <a:pt x="9566988" y="380187"/>
                  </a:lnTo>
                  <a:lnTo>
                    <a:pt x="9566988" y="944968"/>
                  </a:lnTo>
                  <a:cubicBezTo>
                    <a:pt x="9566988" y="1008437"/>
                    <a:pt x="9558835" y="1039587"/>
                    <a:pt x="9535012" y="1068222"/>
                  </a:cubicBezTo>
                  <a:cubicBezTo>
                    <a:pt x="9503831" y="1104284"/>
                    <a:pt x="9453009" y="1125815"/>
                    <a:pt x="9399010" y="1125815"/>
                  </a:cubicBezTo>
                  <a:cubicBezTo>
                    <a:pt x="9299060" y="1125815"/>
                    <a:pt x="9229233" y="1049947"/>
                    <a:pt x="9229233" y="941225"/>
                  </a:cubicBezTo>
                  <a:lnTo>
                    <a:pt x="9229233" y="380187"/>
                  </a:lnTo>
                  <a:lnTo>
                    <a:pt x="9048391" y="380187"/>
                  </a:lnTo>
                  <a:lnTo>
                    <a:pt x="9048391" y="944968"/>
                  </a:lnTo>
                  <a:cubicBezTo>
                    <a:pt x="9048391" y="1054330"/>
                    <a:pt x="9078249" y="1136392"/>
                    <a:pt x="9139659" y="1195965"/>
                  </a:cubicBezTo>
                  <a:cubicBezTo>
                    <a:pt x="9204563" y="1256925"/>
                    <a:pt x="9299113" y="1291865"/>
                    <a:pt x="9399010" y="1291865"/>
                  </a:cubicBezTo>
                  <a:cubicBezTo>
                    <a:pt x="9499701" y="1291865"/>
                    <a:pt x="9591763" y="1258529"/>
                    <a:pt x="9658150" y="1197945"/>
                  </a:cubicBezTo>
                  <a:moveTo>
                    <a:pt x="10385594" y="653307"/>
                  </a:moveTo>
                  <a:lnTo>
                    <a:pt x="10567335" y="653307"/>
                  </a:lnTo>
                  <a:lnTo>
                    <a:pt x="10566383" y="632041"/>
                  </a:lnTo>
                  <a:cubicBezTo>
                    <a:pt x="10558442" y="459099"/>
                    <a:pt x="10442768" y="359885"/>
                    <a:pt x="10249009" y="359885"/>
                  </a:cubicBezTo>
                  <a:cubicBezTo>
                    <a:pt x="10058003" y="359885"/>
                    <a:pt x="9929730" y="467434"/>
                    <a:pt x="9929730" y="627446"/>
                  </a:cubicBezTo>
                  <a:cubicBezTo>
                    <a:pt x="9929730" y="765666"/>
                    <a:pt x="10016922" y="850825"/>
                    <a:pt x="10212587" y="903611"/>
                  </a:cubicBezTo>
                  <a:cubicBezTo>
                    <a:pt x="10347689" y="937858"/>
                    <a:pt x="10391099" y="968955"/>
                    <a:pt x="10391099" y="1031625"/>
                  </a:cubicBezTo>
                  <a:cubicBezTo>
                    <a:pt x="10391099" y="1095576"/>
                    <a:pt x="10336730" y="1136874"/>
                    <a:pt x="10252715" y="1136874"/>
                  </a:cubicBezTo>
                  <a:cubicBezTo>
                    <a:pt x="10155517" y="1136874"/>
                    <a:pt x="10102102" y="1093384"/>
                    <a:pt x="10093843" y="1007579"/>
                  </a:cubicBezTo>
                  <a:lnTo>
                    <a:pt x="10092096" y="989257"/>
                  </a:lnTo>
                  <a:lnTo>
                    <a:pt x="9913054" y="989257"/>
                  </a:lnTo>
                  <a:lnTo>
                    <a:pt x="9915066" y="1011216"/>
                  </a:lnTo>
                  <a:cubicBezTo>
                    <a:pt x="9930789" y="1194843"/>
                    <a:pt x="10047626" y="1291865"/>
                    <a:pt x="10252715" y="1291865"/>
                  </a:cubicBezTo>
                  <a:cubicBezTo>
                    <a:pt x="10445839" y="1291865"/>
                    <a:pt x="10575647" y="1184371"/>
                    <a:pt x="10575647" y="1024303"/>
                  </a:cubicBezTo>
                  <a:cubicBezTo>
                    <a:pt x="10575647" y="956667"/>
                    <a:pt x="10548542" y="890948"/>
                    <a:pt x="10501426" y="843879"/>
                  </a:cubicBezTo>
                  <a:cubicBezTo>
                    <a:pt x="10457485" y="799913"/>
                    <a:pt x="10397028" y="770955"/>
                    <a:pt x="10285750" y="740769"/>
                  </a:cubicBezTo>
                  <a:cubicBezTo>
                    <a:pt x="10125660" y="696474"/>
                    <a:pt x="10110519" y="671471"/>
                    <a:pt x="10110519" y="616440"/>
                  </a:cubicBezTo>
                  <a:cubicBezTo>
                    <a:pt x="10110519" y="553823"/>
                    <a:pt x="10161447" y="514877"/>
                    <a:pt x="10243398" y="514877"/>
                  </a:cubicBezTo>
                  <a:cubicBezTo>
                    <a:pt x="10329795" y="514877"/>
                    <a:pt x="10385594" y="557672"/>
                    <a:pt x="10385594" y="623762"/>
                  </a:cubicBezTo>
                  <a:lnTo>
                    <a:pt x="10385594" y="653307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928C5FD8-1366-F679-84D5-73DF6AA9F4BC}"/>
              </a:ext>
            </a:extLst>
          </p:cNvPr>
          <p:cNvGrpSpPr/>
          <p:nvPr userDrawn="1"/>
        </p:nvGrpSpPr>
        <p:grpSpPr>
          <a:xfrm rot="5400000">
            <a:off x="-3617983" y="3323777"/>
            <a:ext cx="6854690" cy="213756"/>
            <a:chOff x="-1" y="-286346"/>
            <a:chExt cx="5820565" cy="181508"/>
          </a:xfrm>
        </p:grpSpPr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2706A282-71AB-9691-05A2-9EBBEC5A65E3}"/>
                </a:ext>
              </a:extLst>
            </p:cNvPr>
            <p:cNvGrpSpPr/>
            <p:nvPr userDrawn="1"/>
          </p:nvGrpSpPr>
          <p:grpSpPr>
            <a:xfrm rot="16200000">
              <a:off x="363007" y="-649354"/>
              <a:ext cx="181503" cy="907520"/>
              <a:chOff x="1319213" y="-1663170"/>
              <a:chExt cx="181503" cy="907520"/>
            </a:xfrm>
          </p:grpSpPr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5A1F4955-1791-2A76-7D84-8D3131C3A434}"/>
                  </a:ext>
                </a:extLst>
              </p:cNvPr>
              <p:cNvSpPr/>
              <p:nvPr/>
            </p:nvSpPr>
            <p:spPr>
              <a:xfrm>
                <a:off x="1319213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44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6FBA36CB-0E91-C106-DA48-4F0BC31036AA}"/>
                  </a:ext>
                </a:extLst>
              </p:cNvPr>
              <p:cNvSpPr/>
              <p:nvPr/>
            </p:nvSpPr>
            <p:spPr>
              <a:xfrm>
                <a:off x="1319213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69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F2221E3A-83CA-79CB-BB9B-DE10E4D0B909}"/>
                  </a:ext>
                </a:extLst>
              </p:cNvPr>
              <p:cNvSpPr/>
              <p:nvPr/>
            </p:nvSpPr>
            <p:spPr>
              <a:xfrm>
                <a:off x="1319213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FE8F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E01C77F0-6151-18A2-3C39-3F4DE693FE81}"/>
                  </a:ext>
                </a:extLst>
              </p:cNvPr>
              <p:cNvSpPr/>
              <p:nvPr/>
            </p:nvSpPr>
            <p:spPr>
              <a:xfrm>
                <a:off x="1319213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B4B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AEF0C368-BA9F-10C6-0D06-40F49947A69D}"/>
                  </a:ext>
                </a:extLst>
              </p:cNvPr>
              <p:cNvSpPr/>
              <p:nvPr/>
            </p:nvSpPr>
            <p:spPr>
              <a:xfrm>
                <a:off x="1319213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D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E9685E2E-EC63-2779-B74A-5EB7463BEBC6}"/>
                </a:ext>
              </a:extLst>
            </p:cNvPr>
            <p:cNvGrpSpPr/>
            <p:nvPr userDrawn="1"/>
          </p:nvGrpSpPr>
          <p:grpSpPr>
            <a:xfrm rot="16200000">
              <a:off x="1345616" y="-649354"/>
              <a:ext cx="181503" cy="907520"/>
              <a:chOff x="1319213" y="-664912"/>
              <a:chExt cx="181503" cy="907520"/>
            </a:xfrm>
          </p:grpSpPr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F10056AF-233E-0A1F-DF01-9A262A6B282D}"/>
                  </a:ext>
                </a:extLst>
              </p:cNvPr>
              <p:cNvSpPr/>
              <p:nvPr/>
            </p:nvSpPr>
            <p:spPr>
              <a:xfrm>
                <a:off x="1319213" y="-66491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6400A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DB76B20C-6058-B567-9B0D-A32A272B9443}"/>
                  </a:ext>
                </a:extLst>
              </p:cNvPr>
              <p:cNvSpPr/>
              <p:nvPr/>
            </p:nvSpPr>
            <p:spPr>
              <a:xfrm>
                <a:off x="1319213" y="-483404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33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BCE531EE-282F-14B5-B211-FD0AF1D7B75C}"/>
                  </a:ext>
                </a:extLst>
              </p:cNvPr>
              <p:cNvSpPr/>
              <p:nvPr/>
            </p:nvSpPr>
            <p:spPr>
              <a:xfrm>
                <a:off x="1319213" y="-30189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266C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730A1006-34EF-42B1-2AB1-AA66BDA3CC47}"/>
                  </a:ext>
                </a:extLst>
              </p:cNvPr>
              <p:cNvSpPr/>
              <p:nvPr/>
            </p:nvSpPr>
            <p:spPr>
              <a:xfrm>
                <a:off x="1319213" y="-120387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199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C0F3B49C-CE08-094F-FFB2-75E675FF0CAE}"/>
                  </a:ext>
                </a:extLst>
              </p:cNvPr>
              <p:cNvSpPr/>
              <p:nvPr/>
            </p:nvSpPr>
            <p:spPr>
              <a:xfrm>
                <a:off x="1319213" y="6110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0CC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13155511-5C15-868A-823E-B42F5A3127D4}"/>
                </a:ext>
              </a:extLst>
            </p:cNvPr>
            <p:cNvGrpSpPr/>
            <p:nvPr userDrawn="1"/>
          </p:nvGrpSpPr>
          <p:grpSpPr>
            <a:xfrm rot="16200000">
              <a:off x="2328223" y="-649352"/>
              <a:ext cx="181508" cy="907520"/>
              <a:chOff x="1682219" y="-1663170"/>
              <a:chExt cx="181508" cy="907520"/>
            </a:xfrm>
          </p:grpSpPr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D3EAD76E-E1AA-A06E-389C-0A0670DD8F98}"/>
                  </a:ext>
                </a:extLst>
              </p:cNvPr>
              <p:cNvSpPr/>
              <p:nvPr/>
            </p:nvSpPr>
            <p:spPr>
              <a:xfrm>
                <a:off x="1682219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CC8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EADF0CE7-34E3-00E5-4516-CCD9D0371A40}"/>
                  </a:ext>
                </a:extLst>
              </p:cNvPr>
              <p:cNvSpPr/>
              <p:nvPr/>
            </p:nvSpPr>
            <p:spPr>
              <a:xfrm>
                <a:off x="1682224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3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6FEA364A-A1D4-B104-2323-636C5EAAD9E2}"/>
                  </a:ext>
                </a:extLst>
              </p:cNvPr>
              <p:cNvSpPr/>
              <p:nvPr/>
            </p:nvSpPr>
            <p:spPr>
              <a:xfrm>
                <a:off x="1682224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ADE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13724F01-2349-3591-377B-9E7B65BD26B7}"/>
                  </a:ext>
                </a:extLst>
              </p:cNvPr>
              <p:cNvSpPr/>
              <p:nvPr/>
            </p:nvSpPr>
            <p:spPr>
              <a:xfrm>
                <a:off x="1682224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E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D6ACAF96-9B2F-B2DF-CF20-BC10236ED5DB}"/>
                  </a:ext>
                </a:extLst>
              </p:cNvPr>
              <p:cNvSpPr/>
              <p:nvPr/>
            </p:nvSpPr>
            <p:spPr>
              <a:xfrm>
                <a:off x="1682219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8F4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89F0137D-42DD-5945-0D02-1A923260C5FF}"/>
                </a:ext>
              </a:extLst>
            </p:cNvPr>
            <p:cNvGrpSpPr/>
            <p:nvPr userDrawn="1"/>
          </p:nvGrpSpPr>
          <p:grpSpPr>
            <a:xfrm rot="16200000">
              <a:off x="5276052" y="-649354"/>
              <a:ext cx="181503" cy="907520"/>
              <a:chOff x="2226738" y="-1663170"/>
              <a:chExt cx="181503" cy="907520"/>
            </a:xfrm>
          </p:grpSpPr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1145A1A7-DD9E-0D40-17A6-D4088090FEBB}"/>
                  </a:ext>
                </a:extLst>
              </p:cNvPr>
              <p:cNvSpPr/>
              <p:nvPr/>
            </p:nvSpPr>
            <p:spPr>
              <a:xfrm>
                <a:off x="2226738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B01AB2B5-7784-2EED-B824-7E51FF3A907C}"/>
                  </a:ext>
                </a:extLst>
              </p:cNvPr>
              <p:cNvSpPr/>
              <p:nvPr/>
            </p:nvSpPr>
            <p:spPr>
              <a:xfrm>
                <a:off x="2226738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5757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A231951A-C058-A8F9-2F41-9CE82297962E}"/>
                  </a:ext>
                </a:extLst>
              </p:cNvPr>
              <p:cNvSpPr/>
              <p:nvPr/>
            </p:nvSpPr>
            <p:spPr>
              <a:xfrm>
                <a:off x="2226738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8787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90288F31-7988-3003-C9A1-6A267FF5A7CD}"/>
                  </a:ext>
                </a:extLst>
              </p:cNvPr>
              <p:cNvSpPr/>
              <p:nvPr/>
            </p:nvSpPr>
            <p:spPr>
              <a:xfrm>
                <a:off x="2226738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2B2B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9DF2AE47-1D27-D801-5886-5260D3681DAB}"/>
                  </a:ext>
                </a:extLst>
              </p:cNvPr>
              <p:cNvSpPr/>
              <p:nvPr/>
            </p:nvSpPr>
            <p:spPr>
              <a:xfrm>
                <a:off x="2226738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DA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12A822FF-4D24-F239-08AB-A6539EF32960}"/>
                </a:ext>
              </a:extLst>
            </p:cNvPr>
            <p:cNvGrpSpPr/>
            <p:nvPr userDrawn="1"/>
          </p:nvGrpSpPr>
          <p:grpSpPr>
            <a:xfrm rot="16200000">
              <a:off x="3310834" y="-649354"/>
              <a:ext cx="181503" cy="907520"/>
              <a:chOff x="1863727" y="-1663170"/>
              <a:chExt cx="181503" cy="907520"/>
            </a:xfrm>
          </p:grpSpPr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0931C37F-7CDC-67EA-C6BC-DB9AC4A2C389}"/>
                  </a:ext>
                </a:extLst>
              </p:cNvPr>
              <p:cNvSpPr/>
              <p:nvPr/>
            </p:nvSpPr>
            <p:spPr>
              <a:xfrm>
                <a:off x="1863727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2A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0BB20F2B-F07D-5ACF-65EB-A9440BD91B8B}"/>
                  </a:ext>
                </a:extLst>
              </p:cNvPr>
              <p:cNvSpPr/>
              <p:nvPr/>
            </p:nvSpPr>
            <p:spPr>
              <a:xfrm>
                <a:off x="1863727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5DB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C1F0BD2D-A1C2-192C-AD75-E4DE94B7683F}"/>
                  </a:ext>
                </a:extLst>
              </p:cNvPr>
              <p:cNvSpPr/>
              <p:nvPr/>
            </p:nvSpPr>
            <p:spPr>
              <a:xfrm>
                <a:off x="1863727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8E4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B02A5EF6-96C1-532E-C9B3-83722B1D6FDD}"/>
                  </a:ext>
                </a:extLst>
              </p:cNvPr>
              <p:cNvSpPr/>
              <p:nvPr/>
            </p:nvSpPr>
            <p:spPr>
              <a:xfrm>
                <a:off x="1863727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ED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EE6E7403-9521-4ABA-0BAC-4F25C27CD0B0}"/>
                  </a:ext>
                </a:extLst>
              </p:cNvPr>
              <p:cNvSpPr/>
              <p:nvPr/>
            </p:nvSpPr>
            <p:spPr>
              <a:xfrm>
                <a:off x="1863727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DF6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AB8E07E6-89BC-A9AC-5319-1BC04DA615F2}"/>
                </a:ext>
              </a:extLst>
            </p:cNvPr>
            <p:cNvGrpSpPr/>
            <p:nvPr userDrawn="1"/>
          </p:nvGrpSpPr>
          <p:grpSpPr>
            <a:xfrm rot="16200000">
              <a:off x="4293441" y="-649352"/>
              <a:ext cx="181508" cy="907520"/>
              <a:chOff x="2045230" y="-1663170"/>
              <a:chExt cx="181508" cy="907520"/>
            </a:xfrm>
          </p:grpSpPr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77996B57-9DF7-279F-3062-DF2AFC3F386F}"/>
                  </a:ext>
                </a:extLst>
              </p:cNvPr>
              <p:cNvSpPr/>
              <p:nvPr/>
            </p:nvSpPr>
            <p:spPr>
              <a:xfrm>
                <a:off x="2045230" y="-937158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9F7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B6FEF5DF-F3ED-5E90-F8D8-F2FEAAC406D2}"/>
                  </a:ext>
                </a:extLst>
              </p:cNvPr>
              <p:cNvSpPr/>
              <p:nvPr/>
            </p:nvSpPr>
            <p:spPr>
              <a:xfrm>
                <a:off x="2045230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FED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AC545A4A-27E1-9379-3F33-7F1AE5F209B3}"/>
                  </a:ext>
                </a:extLst>
              </p:cNvPr>
              <p:cNvSpPr/>
              <p:nvPr/>
            </p:nvSpPr>
            <p:spPr>
              <a:xfrm>
                <a:off x="2045230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5E3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B9E58BE6-80F3-C0EF-CA4D-E888090CB0A1}"/>
                  </a:ext>
                </a:extLst>
              </p:cNvPr>
              <p:cNvSpPr/>
              <p:nvPr/>
            </p:nvSpPr>
            <p:spPr>
              <a:xfrm>
                <a:off x="2045230" y="-1663170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CFC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7B01F88A-9817-916B-B582-81DD5571C920}"/>
                  </a:ext>
                </a:extLst>
              </p:cNvPr>
              <p:cNvSpPr/>
              <p:nvPr/>
            </p:nvSpPr>
            <p:spPr>
              <a:xfrm>
                <a:off x="2045230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BD9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7399462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 (red) and Content 1/3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Grafik 47">
            <a:extLst>
              <a:ext uri="{FF2B5EF4-FFF2-40B4-BE49-F238E27FC236}">
                <a16:creationId xmlns:a16="http://schemas.microsoft.com/office/drawing/2014/main" id="{04E8D71A-3059-A8EA-3E2C-75A5741970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7170" y="0"/>
            <a:ext cx="8124830" cy="6857999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05350" y="1304925"/>
            <a:ext cx="6827836" cy="50514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FDC01C9A-5B99-87F0-F647-71E0D7C324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05350" y="397755"/>
            <a:ext cx="5223902" cy="753386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00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964FA6FD-B18C-64CF-40CD-9C782D91C43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415668" y="503483"/>
            <a:ext cx="1289916" cy="180000"/>
            <a:chOff x="-161925" y="-1630732"/>
            <a:chExt cx="12193587" cy="1701544"/>
          </a:xfrm>
          <a:solidFill>
            <a:schemeClr val="bg1"/>
          </a:solidFill>
        </p:grpSpPr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0BAA8276-ECA1-E336-BCFB-04B3EC51B77A}"/>
                </a:ext>
              </a:extLst>
            </p:cNvPr>
            <p:cNvSpPr/>
            <p:nvPr/>
          </p:nvSpPr>
          <p:spPr>
            <a:xfrm>
              <a:off x="10774928" y="-1247713"/>
              <a:ext cx="1256734" cy="356304"/>
            </a:xfrm>
            <a:custGeom>
              <a:avLst/>
              <a:gdLst>
                <a:gd name="connsiteX0" fmla="*/ 1226823 w 1256734"/>
                <a:gd name="connsiteY0" fmla="*/ 269166 h 356304"/>
                <a:gd name="connsiteX1" fmla="*/ 1133491 w 1256734"/>
                <a:gd name="connsiteY1" fmla="*/ 316610 h 356304"/>
                <a:gd name="connsiteX2" fmla="*/ 1010248 w 1256734"/>
                <a:gd name="connsiteY2" fmla="*/ 178448 h 356304"/>
                <a:gd name="connsiteX3" fmla="*/ 1131426 w 1256734"/>
                <a:gd name="connsiteY3" fmla="*/ 39696 h 356304"/>
                <a:gd name="connsiteX4" fmla="*/ 1226823 w 1256734"/>
                <a:gd name="connsiteY4" fmla="*/ 86659 h 356304"/>
                <a:gd name="connsiteX5" fmla="*/ 1256735 w 1256734"/>
                <a:gd name="connsiteY5" fmla="*/ 58823 h 356304"/>
                <a:gd name="connsiteX6" fmla="*/ 1216553 w 1256734"/>
                <a:gd name="connsiteY6" fmla="*/ 23241 h 356304"/>
                <a:gd name="connsiteX7" fmla="*/ 1130420 w 1256734"/>
                <a:gd name="connsiteY7" fmla="*/ 0 h 356304"/>
                <a:gd name="connsiteX8" fmla="*/ 965885 w 1256734"/>
                <a:gd name="connsiteY8" fmla="*/ 178448 h 356304"/>
                <a:gd name="connsiteX9" fmla="*/ 1011783 w 1256734"/>
                <a:gd name="connsiteY9" fmla="*/ 305763 h 356304"/>
                <a:gd name="connsiteX10" fmla="*/ 1129892 w 1256734"/>
                <a:gd name="connsiteY10" fmla="*/ 356305 h 356304"/>
                <a:gd name="connsiteX11" fmla="*/ 1255676 w 1256734"/>
                <a:gd name="connsiteY11" fmla="*/ 298071 h 356304"/>
                <a:gd name="connsiteX12" fmla="*/ 1226823 w 1256734"/>
                <a:gd name="connsiteY12" fmla="*/ 269166 h 356304"/>
                <a:gd name="connsiteX13" fmla="*/ 679216 w 1256734"/>
                <a:gd name="connsiteY13" fmla="*/ 197999 h 356304"/>
                <a:gd name="connsiteX14" fmla="*/ 846824 w 1256734"/>
                <a:gd name="connsiteY14" fmla="*/ 197999 h 356304"/>
                <a:gd name="connsiteX15" fmla="*/ 846824 w 1256734"/>
                <a:gd name="connsiteY15" fmla="*/ 350105 h 356304"/>
                <a:gd name="connsiteX16" fmla="*/ 890075 w 1256734"/>
                <a:gd name="connsiteY16" fmla="*/ 350105 h 356304"/>
                <a:gd name="connsiteX17" fmla="*/ 890075 w 1256734"/>
                <a:gd name="connsiteY17" fmla="*/ 6198 h 356304"/>
                <a:gd name="connsiteX18" fmla="*/ 846824 w 1256734"/>
                <a:gd name="connsiteY18" fmla="*/ 6198 h 356304"/>
                <a:gd name="connsiteX19" fmla="*/ 846824 w 1256734"/>
                <a:gd name="connsiteY19" fmla="*/ 160920 h 356304"/>
                <a:gd name="connsiteX20" fmla="*/ 679216 w 1256734"/>
                <a:gd name="connsiteY20" fmla="*/ 160920 h 356304"/>
                <a:gd name="connsiteX21" fmla="*/ 679216 w 1256734"/>
                <a:gd name="connsiteY21" fmla="*/ 6198 h 356304"/>
                <a:gd name="connsiteX22" fmla="*/ 635912 w 1256734"/>
                <a:gd name="connsiteY22" fmla="*/ 6198 h 356304"/>
                <a:gd name="connsiteX23" fmla="*/ 635912 w 1256734"/>
                <a:gd name="connsiteY23" fmla="*/ 350105 h 356304"/>
                <a:gd name="connsiteX24" fmla="*/ 679216 w 1256734"/>
                <a:gd name="connsiteY24" fmla="*/ 350105 h 356304"/>
                <a:gd name="connsiteX25" fmla="*/ 679216 w 1256734"/>
                <a:gd name="connsiteY25" fmla="*/ 197999 h 356304"/>
                <a:gd name="connsiteX26" fmla="*/ 392018 w 1256734"/>
                <a:gd name="connsiteY26" fmla="*/ 40230 h 356304"/>
                <a:gd name="connsiteX27" fmla="*/ 476563 w 1256734"/>
                <a:gd name="connsiteY27" fmla="*/ 75813 h 356304"/>
                <a:gd name="connsiteX28" fmla="*/ 515792 w 1256734"/>
                <a:gd name="connsiteY28" fmla="*/ 181011 h 356304"/>
                <a:gd name="connsiteX29" fmla="*/ 482758 w 1256734"/>
                <a:gd name="connsiteY29" fmla="*/ 275365 h 356304"/>
                <a:gd name="connsiteX30" fmla="*/ 390960 w 1256734"/>
                <a:gd name="connsiteY30" fmla="*/ 316610 h 356304"/>
                <a:gd name="connsiteX31" fmla="*/ 267239 w 1256734"/>
                <a:gd name="connsiteY31" fmla="*/ 178448 h 356304"/>
                <a:gd name="connsiteX32" fmla="*/ 392018 w 1256734"/>
                <a:gd name="connsiteY32" fmla="*/ 40230 h 356304"/>
                <a:gd name="connsiteX33" fmla="*/ 393077 w 1256734"/>
                <a:gd name="connsiteY33" fmla="*/ 0 h 356304"/>
                <a:gd name="connsiteX34" fmla="*/ 222876 w 1256734"/>
                <a:gd name="connsiteY34" fmla="*/ 179994 h 356304"/>
                <a:gd name="connsiteX35" fmla="*/ 258982 w 1256734"/>
                <a:gd name="connsiteY35" fmla="*/ 291872 h 356304"/>
                <a:gd name="connsiteX36" fmla="*/ 392018 w 1256734"/>
                <a:gd name="connsiteY36" fmla="*/ 356305 h 356304"/>
                <a:gd name="connsiteX37" fmla="*/ 501868 w 1256734"/>
                <a:gd name="connsiteY37" fmla="*/ 315059 h 356304"/>
                <a:gd name="connsiteX38" fmla="*/ 560155 w 1256734"/>
                <a:gd name="connsiteY38" fmla="*/ 181545 h 356304"/>
                <a:gd name="connsiteX39" fmla="*/ 519921 w 1256734"/>
                <a:gd name="connsiteY39" fmla="*/ 59304 h 356304"/>
                <a:gd name="connsiteX40" fmla="*/ 393077 w 1256734"/>
                <a:gd name="connsiteY40" fmla="*/ 0 h 356304"/>
                <a:gd name="connsiteX41" fmla="*/ 43306 w 1256734"/>
                <a:gd name="connsiteY41" fmla="*/ 310946 h 356304"/>
                <a:gd name="connsiteX42" fmla="*/ 43306 w 1256734"/>
                <a:gd name="connsiteY42" fmla="*/ 6198 h 356304"/>
                <a:gd name="connsiteX43" fmla="*/ 0 w 1256734"/>
                <a:gd name="connsiteY43" fmla="*/ 6198 h 356304"/>
                <a:gd name="connsiteX44" fmla="*/ 0 w 1256734"/>
                <a:gd name="connsiteY44" fmla="*/ 350105 h 356304"/>
                <a:gd name="connsiteX45" fmla="*/ 194237 w 1256734"/>
                <a:gd name="connsiteY45" fmla="*/ 350105 h 356304"/>
                <a:gd name="connsiteX46" fmla="*/ 194237 w 1256734"/>
                <a:gd name="connsiteY46" fmla="*/ 310946 h 356304"/>
                <a:gd name="connsiteX47" fmla="*/ 43306 w 1256734"/>
                <a:gd name="connsiteY47" fmla="*/ 310946 h 35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256734" h="356304">
                  <a:moveTo>
                    <a:pt x="1226823" y="269166"/>
                  </a:moveTo>
                  <a:cubicBezTo>
                    <a:pt x="1200037" y="301650"/>
                    <a:pt x="1171131" y="316610"/>
                    <a:pt x="1133491" y="316610"/>
                  </a:cubicBezTo>
                  <a:cubicBezTo>
                    <a:pt x="1062341" y="316610"/>
                    <a:pt x="1010248" y="258371"/>
                    <a:pt x="1010248" y="178448"/>
                  </a:cubicBezTo>
                  <a:cubicBezTo>
                    <a:pt x="1010248" y="97985"/>
                    <a:pt x="1061334" y="39696"/>
                    <a:pt x="1131426" y="39696"/>
                  </a:cubicBezTo>
                  <a:cubicBezTo>
                    <a:pt x="1168008" y="39696"/>
                    <a:pt x="1193313" y="52092"/>
                    <a:pt x="1226823" y="86659"/>
                  </a:cubicBezTo>
                  <a:lnTo>
                    <a:pt x="1256735" y="58823"/>
                  </a:lnTo>
                  <a:cubicBezTo>
                    <a:pt x="1239742" y="40230"/>
                    <a:pt x="1230424" y="32003"/>
                    <a:pt x="1216553" y="23241"/>
                  </a:cubicBezTo>
                  <a:cubicBezTo>
                    <a:pt x="1191725" y="8281"/>
                    <a:pt x="1161338" y="0"/>
                    <a:pt x="1130420" y="0"/>
                  </a:cubicBezTo>
                  <a:cubicBezTo>
                    <a:pt x="1035500" y="0"/>
                    <a:pt x="965885" y="75279"/>
                    <a:pt x="965885" y="178448"/>
                  </a:cubicBezTo>
                  <a:cubicBezTo>
                    <a:pt x="965885" y="226369"/>
                    <a:pt x="982931" y="273279"/>
                    <a:pt x="1011783" y="305763"/>
                  </a:cubicBezTo>
                  <a:cubicBezTo>
                    <a:pt x="1041165" y="338782"/>
                    <a:pt x="1081928" y="356305"/>
                    <a:pt x="1129892" y="356305"/>
                  </a:cubicBezTo>
                  <a:cubicBezTo>
                    <a:pt x="1182990" y="356305"/>
                    <a:pt x="1221107" y="338782"/>
                    <a:pt x="1255676" y="298071"/>
                  </a:cubicBezTo>
                  <a:lnTo>
                    <a:pt x="1226823" y="269166"/>
                  </a:lnTo>
                  <a:close/>
                  <a:moveTo>
                    <a:pt x="679216" y="197999"/>
                  </a:moveTo>
                  <a:lnTo>
                    <a:pt x="846824" y="197999"/>
                  </a:lnTo>
                  <a:lnTo>
                    <a:pt x="846824" y="350105"/>
                  </a:lnTo>
                  <a:lnTo>
                    <a:pt x="890075" y="350105"/>
                  </a:lnTo>
                  <a:lnTo>
                    <a:pt x="890075" y="6198"/>
                  </a:lnTo>
                  <a:lnTo>
                    <a:pt x="846824" y="6198"/>
                  </a:lnTo>
                  <a:lnTo>
                    <a:pt x="846824" y="160920"/>
                  </a:lnTo>
                  <a:lnTo>
                    <a:pt x="679216" y="160920"/>
                  </a:lnTo>
                  <a:lnTo>
                    <a:pt x="679216" y="6198"/>
                  </a:lnTo>
                  <a:lnTo>
                    <a:pt x="635912" y="6198"/>
                  </a:lnTo>
                  <a:lnTo>
                    <a:pt x="635912" y="350105"/>
                  </a:lnTo>
                  <a:lnTo>
                    <a:pt x="679216" y="350105"/>
                  </a:lnTo>
                  <a:lnTo>
                    <a:pt x="679216" y="197999"/>
                  </a:lnTo>
                  <a:close/>
                  <a:moveTo>
                    <a:pt x="392018" y="40230"/>
                  </a:moveTo>
                  <a:cubicBezTo>
                    <a:pt x="422459" y="40230"/>
                    <a:pt x="453904" y="53641"/>
                    <a:pt x="476563" y="75813"/>
                  </a:cubicBezTo>
                  <a:cubicBezTo>
                    <a:pt x="503404" y="101618"/>
                    <a:pt x="515792" y="135117"/>
                    <a:pt x="515792" y="181011"/>
                  </a:cubicBezTo>
                  <a:cubicBezTo>
                    <a:pt x="515792" y="216057"/>
                    <a:pt x="502874" y="253189"/>
                    <a:pt x="482758" y="275365"/>
                  </a:cubicBezTo>
                  <a:cubicBezTo>
                    <a:pt x="459569" y="301650"/>
                    <a:pt x="425530" y="316610"/>
                    <a:pt x="390960" y="316610"/>
                  </a:cubicBezTo>
                  <a:cubicBezTo>
                    <a:pt x="319809" y="316610"/>
                    <a:pt x="267239" y="258371"/>
                    <a:pt x="267239" y="178448"/>
                  </a:cubicBezTo>
                  <a:cubicBezTo>
                    <a:pt x="267239" y="99000"/>
                    <a:pt x="320338" y="40230"/>
                    <a:pt x="392018" y="40230"/>
                  </a:cubicBezTo>
                  <a:moveTo>
                    <a:pt x="393077" y="0"/>
                  </a:moveTo>
                  <a:cubicBezTo>
                    <a:pt x="295615" y="0"/>
                    <a:pt x="222876" y="77362"/>
                    <a:pt x="222876" y="179994"/>
                  </a:cubicBezTo>
                  <a:cubicBezTo>
                    <a:pt x="222876" y="223273"/>
                    <a:pt x="235318" y="261956"/>
                    <a:pt x="258982" y="291872"/>
                  </a:cubicBezTo>
                  <a:cubicBezTo>
                    <a:pt x="290957" y="332101"/>
                    <a:pt x="340985" y="356305"/>
                    <a:pt x="392018" y="356305"/>
                  </a:cubicBezTo>
                  <a:cubicBezTo>
                    <a:pt x="431723" y="356305"/>
                    <a:pt x="470899" y="341879"/>
                    <a:pt x="501868" y="315059"/>
                  </a:cubicBezTo>
                  <a:cubicBezTo>
                    <a:pt x="539509" y="283110"/>
                    <a:pt x="560155" y="235131"/>
                    <a:pt x="560155" y="181545"/>
                  </a:cubicBezTo>
                  <a:cubicBezTo>
                    <a:pt x="560155" y="129935"/>
                    <a:pt x="547715" y="91788"/>
                    <a:pt x="519921" y="59304"/>
                  </a:cubicBezTo>
                  <a:cubicBezTo>
                    <a:pt x="486886" y="21691"/>
                    <a:pt x="440988" y="0"/>
                    <a:pt x="393077" y="0"/>
                  </a:cubicBezTo>
                  <a:moveTo>
                    <a:pt x="43306" y="310946"/>
                  </a:moveTo>
                  <a:lnTo>
                    <a:pt x="43306" y="6198"/>
                  </a:lnTo>
                  <a:lnTo>
                    <a:pt x="0" y="6198"/>
                  </a:lnTo>
                  <a:lnTo>
                    <a:pt x="0" y="350105"/>
                  </a:lnTo>
                  <a:lnTo>
                    <a:pt x="194237" y="350105"/>
                  </a:lnTo>
                  <a:lnTo>
                    <a:pt x="194237" y="310946"/>
                  </a:lnTo>
                  <a:lnTo>
                    <a:pt x="43306" y="310946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B77DA9CA-81E3-9C95-68A3-BFADB2CD7E3C}"/>
                </a:ext>
              </a:extLst>
            </p:cNvPr>
            <p:cNvSpPr/>
            <p:nvPr/>
          </p:nvSpPr>
          <p:spPr>
            <a:xfrm>
              <a:off x="-161925" y="-1630732"/>
              <a:ext cx="10575647" cy="1701544"/>
            </a:xfrm>
            <a:custGeom>
              <a:avLst/>
              <a:gdLst>
                <a:gd name="connsiteX0" fmla="*/ 7802033 w 10575647"/>
                <a:gd name="connsiteY0" fmla="*/ 380187 h 1701544"/>
                <a:gd name="connsiteX1" fmla="*/ 7621138 w 10575647"/>
                <a:gd name="connsiteY1" fmla="*/ 380187 h 1701544"/>
                <a:gd name="connsiteX2" fmla="*/ 7621138 w 10575647"/>
                <a:gd name="connsiteY2" fmla="*/ 1271563 h 1701544"/>
                <a:gd name="connsiteX3" fmla="*/ 7802033 w 10575647"/>
                <a:gd name="connsiteY3" fmla="*/ 1271563 h 1701544"/>
                <a:gd name="connsiteX4" fmla="*/ 7802033 w 10575647"/>
                <a:gd name="connsiteY4" fmla="*/ 380187 h 1701544"/>
                <a:gd name="connsiteX5" fmla="*/ 706522 w 10575647"/>
                <a:gd name="connsiteY5" fmla="*/ 1271563 h 1701544"/>
                <a:gd name="connsiteX6" fmla="*/ 902065 w 10575647"/>
                <a:gd name="connsiteY6" fmla="*/ 1271563 h 1701544"/>
                <a:gd name="connsiteX7" fmla="*/ 902065 w 10575647"/>
                <a:gd name="connsiteY7" fmla="*/ 0 h 1701544"/>
                <a:gd name="connsiteX8" fmla="*/ 706522 w 10575647"/>
                <a:gd name="connsiteY8" fmla="*/ 0 h 1701544"/>
                <a:gd name="connsiteX9" fmla="*/ 706522 w 10575647"/>
                <a:gd name="connsiteY9" fmla="*/ 553717 h 1701544"/>
                <a:gd name="connsiteX10" fmla="*/ 195543 w 10575647"/>
                <a:gd name="connsiteY10" fmla="*/ 553717 h 1701544"/>
                <a:gd name="connsiteX11" fmla="*/ 195543 w 10575647"/>
                <a:gd name="connsiteY11" fmla="*/ 0 h 1701544"/>
                <a:gd name="connsiteX12" fmla="*/ 0 w 10575647"/>
                <a:gd name="connsiteY12" fmla="*/ 0 h 1701544"/>
                <a:gd name="connsiteX13" fmla="*/ 0 w 10575647"/>
                <a:gd name="connsiteY13" fmla="*/ 1271563 h 1701544"/>
                <a:gd name="connsiteX14" fmla="*/ 195543 w 10575647"/>
                <a:gd name="connsiteY14" fmla="*/ 1271563 h 1701544"/>
                <a:gd name="connsiteX15" fmla="*/ 195543 w 10575647"/>
                <a:gd name="connsiteY15" fmla="*/ 727142 h 1701544"/>
                <a:gd name="connsiteX16" fmla="*/ 706522 w 10575647"/>
                <a:gd name="connsiteY16" fmla="*/ 727142 h 1701544"/>
                <a:gd name="connsiteX17" fmla="*/ 706522 w 10575647"/>
                <a:gd name="connsiteY17" fmla="*/ 1271563 h 1701544"/>
                <a:gd name="connsiteX18" fmla="*/ 1306185 w 10575647"/>
                <a:gd name="connsiteY18" fmla="*/ 1690649 h 1701544"/>
                <a:gd name="connsiteX19" fmla="*/ 1654904 w 10575647"/>
                <a:gd name="connsiteY19" fmla="*/ 1036061 h 1701544"/>
                <a:gd name="connsiteX20" fmla="*/ 1306185 w 10575647"/>
                <a:gd name="connsiteY20" fmla="*/ 381469 h 1701544"/>
                <a:gd name="connsiteX21" fmla="*/ 1090234 w 10575647"/>
                <a:gd name="connsiteY21" fmla="*/ 381469 h 1701544"/>
                <a:gd name="connsiteX22" fmla="*/ 1438900 w 10575647"/>
                <a:gd name="connsiteY22" fmla="*/ 1036061 h 1701544"/>
                <a:gd name="connsiteX23" fmla="*/ 1090234 w 10575647"/>
                <a:gd name="connsiteY23" fmla="*/ 1690649 h 1701544"/>
                <a:gd name="connsiteX24" fmla="*/ 1306185 w 10575647"/>
                <a:gd name="connsiteY24" fmla="*/ 1690649 h 1701544"/>
                <a:gd name="connsiteX25" fmla="*/ 2581808 w 10575647"/>
                <a:gd name="connsiteY25" fmla="*/ 828654 h 1701544"/>
                <a:gd name="connsiteX26" fmla="*/ 2317883 w 10575647"/>
                <a:gd name="connsiteY26" fmla="*/ 1129505 h 1701544"/>
                <a:gd name="connsiteX27" fmla="*/ 2065011 w 10575647"/>
                <a:gd name="connsiteY27" fmla="*/ 832338 h 1701544"/>
                <a:gd name="connsiteX28" fmla="*/ 2327068 w 10575647"/>
                <a:gd name="connsiteY28" fmla="*/ 525990 h 1701544"/>
                <a:gd name="connsiteX29" fmla="*/ 2581808 w 10575647"/>
                <a:gd name="connsiteY29" fmla="*/ 828654 h 1701544"/>
                <a:gd name="connsiteX30" fmla="*/ 2581808 w 10575647"/>
                <a:gd name="connsiteY30" fmla="*/ 1271563 h 1701544"/>
                <a:gd name="connsiteX31" fmla="*/ 2762608 w 10575647"/>
                <a:gd name="connsiteY31" fmla="*/ 1271563 h 1701544"/>
                <a:gd name="connsiteX32" fmla="*/ 2762608 w 10575647"/>
                <a:gd name="connsiteY32" fmla="*/ 0 h 1701544"/>
                <a:gd name="connsiteX33" fmla="*/ 2581808 w 10575647"/>
                <a:gd name="connsiteY33" fmla="*/ 0 h 1701544"/>
                <a:gd name="connsiteX34" fmla="*/ 2581808 w 10575647"/>
                <a:gd name="connsiteY34" fmla="*/ 476356 h 1701544"/>
                <a:gd name="connsiteX35" fmla="*/ 2297581 w 10575647"/>
                <a:gd name="connsiteY35" fmla="*/ 359885 h 1701544"/>
                <a:gd name="connsiteX36" fmla="*/ 1876785 w 10575647"/>
                <a:gd name="connsiteY36" fmla="*/ 830470 h 1701544"/>
                <a:gd name="connsiteX37" fmla="*/ 2297581 w 10575647"/>
                <a:gd name="connsiteY37" fmla="*/ 1291865 h 1701544"/>
                <a:gd name="connsiteX38" fmla="*/ 2581808 w 10575647"/>
                <a:gd name="connsiteY38" fmla="*/ 1163217 h 1701544"/>
                <a:gd name="connsiteX39" fmla="*/ 2581808 w 10575647"/>
                <a:gd name="connsiteY39" fmla="*/ 1271563 h 1701544"/>
                <a:gd name="connsiteX40" fmla="*/ 3437445 w 10575647"/>
                <a:gd name="connsiteY40" fmla="*/ 542393 h 1701544"/>
                <a:gd name="connsiteX41" fmla="*/ 3460310 w 10575647"/>
                <a:gd name="connsiteY41" fmla="*/ 545331 h 1701544"/>
                <a:gd name="connsiteX42" fmla="*/ 3460310 w 10575647"/>
                <a:gd name="connsiteY42" fmla="*/ 359885 h 1701544"/>
                <a:gd name="connsiteX43" fmla="*/ 3406830 w 10575647"/>
                <a:gd name="connsiteY43" fmla="*/ 359885 h 1701544"/>
                <a:gd name="connsiteX44" fmla="*/ 3231965 w 10575647"/>
                <a:gd name="connsiteY44" fmla="*/ 415877 h 1701544"/>
                <a:gd name="connsiteX45" fmla="*/ 3187194 w 10575647"/>
                <a:gd name="connsiteY45" fmla="*/ 462091 h 1701544"/>
                <a:gd name="connsiteX46" fmla="*/ 3187194 w 10575647"/>
                <a:gd name="connsiteY46" fmla="*/ 380187 h 1701544"/>
                <a:gd name="connsiteX47" fmla="*/ 3006395 w 10575647"/>
                <a:gd name="connsiteY47" fmla="*/ 380187 h 1701544"/>
                <a:gd name="connsiteX48" fmla="*/ 3006395 w 10575647"/>
                <a:gd name="connsiteY48" fmla="*/ 1271563 h 1701544"/>
                <a:gd name="connsiteX49" fmla="*/ 3187194 w 10575647"/>
                <a:gd name="connsiteY49" fmla="*/ 1271563 h 1701544"/>
                <a:gd name="connsiteX50" fmla="*/ 3187194 w 10575647"/>
                <a:gd name="connsiteY50" fmla="*/ 819411 h 1701544"/>
                <a:gd name="connsiteX51" fmla="*/ 3233517 w 10575647"/>
                <a:gd name="connsiteY51" fmla="*/ 629638 h 1701544"/>
                <a:gd name="connsiteX52" fmla="*/ 3401277 w 10575647"/>
                <a:gd name="connsiteY52" fmla="*/ 540683 h 1701544"/>
                <a:gd name="connsiteX53" fmla="*/ 3437445 w 10575647"/>
                <a:gd name="connsiteY53" fmla="*/ 542393 h 1701544"/>
                <a:gd name="connsiteX54" fmla="*/ 4250980 w 10575647"/>
                <a:gd name="connsiteY54" fmla="*/ 826838 h 1701544"/>
                <a:gd name="connsiteX55" fmla="*/ 3983364 w 10575647"/>
                <a:gd name="connsiteY55" fmla="*/ 1122077 h 1701544"/>
                <a:gd name="connsiteX56" fmla="*/ 3713875 w 10575647"/>
                <a:gd name="connsiteY56" fmla="*/ 826838 h 1701544"/>
                <a:gd name="connsiteX57" fmla="*/ 3985180 w 10575647"/>
                <a:gd name="connsiteY57" fmla="*/ 529677 h 1701544"/>
                <a:gd name="connsiteX58" fmla="*/ 4250980 w 10575647"/>
                <a:gd name="connsiteY58" fmla="*/ 826838 h 1701544"/>
                <a:gd name="connsiteX59" fmla="*/ 4435464 w 10575647"/>
                <a:gd name="connsiteY59" fmla="*/ 828654 h 1701544"/>
                <a:gd name="connsiteX60" fmla="*/ 3985180 w 10575647"/>
                <a:gd name="connsiteY60" fmla="*/ 359885 h 1701544"/>
                <a:gd name="connsiteX61" fmla="*/ 3529338 w 10575647"/>
                <a:gd name="connsiteY61" fmla="*/ 824916 h 1701544"/>
                <a:gd name="connsiteX62" fmla="*/ 3979622 w 10575647"/>
                <a:gd name="connsiteY62" fmla="*/ 1291865 h 1701544"/>
                <a:gd name="connsiteX63" fmla="*/ 4435464 w 10575647"/>
                <a:gd name="connsiteY63" fmla="*/ 828654 h 1701544"/>
                <a:gd name="connsiteX64" fmla="*/ 5261608 w 10575647"/>
                <a:gd name="connsiteY64" fmla="*/ 828654 h 1701544"/>
                <a:gd name="connsiteX65" fmla="*/ 5205508 w 10575647"/>
                <a:gd name="connsiteY65" fmla="*/ 1025854 h 1701544"/>
                <a:gd name="connsiteX66" fmla="*/ 5005052 w 10575647"/>
                <a:gd name="connsiteY66" fmla="*/ 1122077 h 1701544"/>
                <a:gd name="connsiteX67" fmla="*/ 4746675 w 10575647"/>
                <a:gd name="connsiteY67" fmla="*/ 823153 h 1701544"/>
                <a:gd name="connsiteX68" fmla="*/ 5008683 w 10575647"/>
                <a:gd name="connsiteY68" fmla="*/ 529677 h 1701544"/>
                <a:gd name="connsiteX69" fmla="*/ 5200378 w 10575647"/>
                <a:gd name="connsiteY69" fmla="*/ 617081 h 1701544"/>
                <a:gd name="connsiteX70" fmla="*/ 5261608 w 10575647"/>
                <a:gd name="connsiteY70" fmla="*/ 828654 h 1701544"/>
                <a:gd name="connsiteX71" fmla="*/ 5327264 w 10575647"/>
                <a:gd name="connsiteY71" fmla="*/ 1583314 h 1701544"/>
                <a:gd name="connsiteX72" fmla="*/ 5446113 w 10575647"/>
                <a:gd name="connsiteY72" fmla="*/ 1256819 h 1701544"/>
                <a:gd name="connsiteX73" fmla="*/ 5446113 w 10575647"/>
                <a:gd name="connsiteY73" fmla="*/ 380187 h 1701544"/>
                <a:gd name="connsiteX74" fmla="*/ 5265239 w 10575647"/>
                <a:gd name="connsiteY74" fmla="*/ 380187 h 1701544"/>
                <a:gd name="connsiteX75" fmla="*/ 5265239 w 10575647"/>
                <a:gd name="connsiteY75" fmla="*/ 488537 h 1701544"/>
                <a:gd name="connsiteX76" fmla="*/ 4982875 w 10575647"/>
                <a:gd name="connsiteY76" fmla="*/ 359885 h 1701544"/>
                <a:gd name="connsiteX77" fmla="*/ 4699394 w 10575647"/>
                <a:gd name="connsiteY77" fmla="*/ 465190 h 1701544"/>
                <a:gd name="connsiteX78" fmla="*/ 4558400 w 10575647"/>
                <a:gd name="connsiteY78" fmla="*/ 828654 h 1701544"/>
                <a:gd name="connsiteX79" fmla="*/ 4971816 w 10575647"/>
                <a:gd name="connsiteY79" fmla="*/ 1291865 h 1701544"/>
                <a:gd name="connsiteX80" fmla="*/ 5265239 w 10575647"/>
                <a:gd name="connsiteY80" fmla="*/ 1150553 h 1701544"/>
                <a:gd name="connsiteX81" fmla="*/ 5265239 w 10575647"/>
                <a:gd name="connsiteY81" fmla="*/ 1267931 h 1701544"/>
                <a:gd name="connsiteX82" fmla="*/ 5206095 w 10575647"/>
                <a:gd name="connsiteY82" fmla="*/ 1457116 h 1701544"/>
                <a:gd name="connsiteX83" fmla="*/ 4999546 w 10575647"/>
                <a:gd name="connsiteY83" fmla="*/ 1533625 h 1701544"/>
                <a:gd name="connsiteX84" fmla="*/ 4811695 w 10575647"/>
                <a:gd name="connsiteY84" fmla="*/ 1487409 h 1701544"/>
                <a:gd name="connsiteX85" fmla="*/ 4733588 w 10575647"/>
                <a:gd name="connsiteY85" fmla="*/ 1416300 h 1701544"/>
                <a:gd name="connsiteX86" fmla="*/ 4719215 w 10575647"/>
                <a:gd name="connsiteY86" fmla="*/ 1401339 h 1701544"/>
                <a:gd name="connsiteX87" fmla="*/ 4595103 w 10575647"/>
                <a:gd name="connsiteY87" fmla="*/ 1525451 h 1701544"/>
                <a:gd name="connsiteX88" fmla="*/ 4607819 w 10575647"/>
                <a:gd name="connsiteY88" fmla="*/ 1539824 h 1701544"/>
                <a:gd name="connsiteX89" fmla="*/ 4999546 w 10575647"/>
                <a:gd name="connsiteY89" fmla="*/ 1701544 h 1701544"/>
                <a:gd name="connsiteX90" fmla="*/ 5327264 w 10575647"/>
                <a:gd name="connsiteY90" fmla="*/ 1583314 h 1701544"/>
                <a:gd name="connsiteX91" fmla="*/ 6317923 w 10575647"/>
                <a:gd name="connsiteY91" fmla="*/ 747497 h 1701544"/>
                <a:gd name="connsiteX92" fmla="*/ 5805203 w 10575647"/>
                <a:gd name="connsiteY92" fmla="*/ 747497 h 1701544"/>
                <a:gd name="connsiteX93" fmla="*/ 5845913 w 10575647"/>
                <a:gd name="connsiteY93" fmla="*/ 635144 h 1701544"/>
                <a:gd name="connsiteX94" fmla="*/ 6057989 w 10575647"/>
                <a:gd name="connsiteY94" fmla="*/ 525990 h 1701544"/>
                <a:gd name="connsiteX95" fmla="*/ 6275730 w 10575647"/>
                <a:gd name="connsiteY95" fmla="*/ 633487 h 1701544"/>
                <a:gd name="connsiteX96" fmla="*/ 6317923 w 10575647"/>
                <a:gd name="connsiteY96" fmla="*/ 747497 h 1701544"/>
                <a:gd name="connsiteX97" fmla="*/ 6508188 w 10575647"/>
                <a:gd name="connsiteY97" fmla="*/ 872890 h 1701544"/>
                <a:gd name="connsiteX98" fmla="*/ 6510094 w 10575647"/>
                <a:gd name="connsiteY98" fmla="*/ 815779 h 1701544"/>
                <a:gd name="connsiteX99" fmla="*/ 6057989 w 10575647"/>
                <a:gd name="connsiteY99" fmla="*/ 359885 h 1701544"/>
                <a:gd name="connsiteX100" fmla="*/ 5609538 w 10575647"/>
                <a:gd name="connsiteY100" fmla="*/ 828654 h 1701544"/>
                <a:gd name="connsiteX101" fmla="*/ 6063495 w 10575647"/>
                <a:gd name="connsiteY101" fmla="*/ 1291865 h 1701544"/>
                <a:gd name="connsiteX102" fmla="*/ 6460066 w 10575647"/>
                <a:gd name="connsiteY102" fmla="*/ 1051710 h 1701544"/>
                <a:gd name="connsiteX103" fmla="*/ 6469966 w 10575647"/>
                <a:gd name="connsiteY103" fmla="*/ 1031572 h 1701544"/>
                <a:gd name="connsiteX104" fmla="*/ 6308923 w 10575647"/>
                <a:gd name="connsiteY104" fmla="*/ 971517 h 1701544"/>
                <a:gd name="connsiteX105" fmla="*/ 6300559 w 10575647"/>
                <a:gd name="connsiteY105" fmla="*/ 986689 h 1701544"/>
                <a:gd name="connsiteX106" fmla="*/ 6063495 w 10575647"/>
                <a:gd name="connsiteY106" fmla="*/ 1122077 h 1701544"/>
                <a:gd name="connsiteX107" fmla="*/ 5850784 w 10575647"/>
                <a:gd name="connsiteY107" fmla="*/ 1013832 h 1701544"/>
                <a:gd name="connsiteX108" fmla="*/ 5802132 w 10575647"/>
                <a:gd name="connsiteY108" fmla="*/ 891377 h 1701544"/>
                <a:gd name="connsiteX109" fmla="*/ 6506547 w 10575647"/>
                <a:gd name="connsiteY109" fmla="*/ 891377 h 1701544"/>
                <a:gd name="connsiteX110" fmla="*/ 6508188 w 10575647"/>
                <a:gd name="connsiteY110" fmla="*/ 872890 h 1701544"/>
                <a:gd name="connsiteX111" fmla="*/ 7205139 w 10575647"/>
                <a:gd name="connsiteY111" fmla="*/ 1271563 h 1701544"/>
                <a:gd name="connsiteX112" fmla="*/ 7385928 w 10575647"/>
                <a:gd name="connsiteY112" fmla="*/ 1271563 h 1701544"/>
                <a:gd name="connsiteX113" fmla="*/ 7385928 w 10575647"/>
                <a:gd name="connsiteY113" fmla="*/ 677294 h 1701544"/>
                <a:gd name="connsiteX114" fmla="*/ 7307154 w 10575647"/>
                <a:gd name="connsiteY114" fmla="*/ 435163 h 1701544"/>
                <a:gd name="connsiteX115" fmla="*/ 7096189 w 10575647"/>
                <a:gd name="connsiteY115" fmla="*/ 359885 h 1701544"/>
                <a:gd name="connsiteX116" fmla="*/ 6863625 w 10575647"/>
                <a:gd name="connsiteY116" fmla="*/ 463694 h 1701544"/>
                <a:gd name="connsiteX117" fmla="*/ 6863625 w 10575647"/>
                <a:gd name="connsiteY117" fmla="*/ 380187 h 1701544"/>
                <a:gd name="connsiteX118" fmla="*/ 6682836 w 10575647"/>
                <a:gd name="connsiteY118" fmla="*/ 380187 h 1701544"/>
                <a:gd name="connsiteX119" fmla="*/ 6682836 w 10575647"/>
                <a:gd name="connsiteY119" fmla="*/ 1271563 h 1701544"/>
                <a:gd name="connsiteX120" fmla="*/ 6863625 w 10575647"/>
                <a:gd name="connsiteY120" fmla="*/ 1271563 h 1701544"/>
                <a:gd name="connsiteX121" fmla="*/ 6863625 w 10575647"/>
                <a:gd name="connsiteY121" fmla="*/ 732701 h 1701544"/>
                <a:gd name="connsiteX122" fmla="*/ 6913971 w 10575647"/>
                <a:gd name="connsiteY122" fmla="*/ 591066 h 1701544"/>
                <a:gd name="connsiteX123" fmla="*/ 7061143 w 10575647"/>
                <a:gd name="connsiteY123" fmla="*/ 525990 h 1701544"/>
                <a:gd name="connsiteX124" fmla="*/ 7177769 w 10575647"/>
                <a:gd name="connsiteY124" fmla="*/ 575089 h 1701544"/>
                <a:gd name="connsiteX125" fmla="*/ 7205139 w 10575647"/>
                <a:gd name="connsiteY125" fmla="*/ 708709 h 1701544"/>
                <a:gd name="connsiteX126" fmla="*/ 7205139 w 10575647"/>
                <a:gd name="connsiteY126" fmla="*/ 1271563 h 1701544"/>
                <a:gd name="connsiteX127" fmla="*/ 7822309 w 10575647"/>
                <a:gd name="connsiteY127" fmla="*/ 162418 h 1701544"/>
                <a:gd name="connsiteX128" fmla="*/ 7713412 w 10575647"/>
                <a:gd name="connsiteY128" fmla="*/ 49847 h 1701544"/>
                <a:gd name="connsiteX129" fmla="*/ 7602662 w 10575647"/>
                <a:gd name="connsiteY129" fmla="*/ 160549 h 1701544"/>
                <a:gd name="connsiteX130" fmla="*/ 7711560 w 10575647"/>
                <a:gd name="connsiteY130" fmla="*/ 271303 h 1701544"/>
                <a:gd name="connsiteX131" fmla="*/ 7822309 w 10575647"/>
                <a:gd name="connsiteY131" fmla="*/ 162418 h 1701544"/>
                <a:gd name="connsiteX132" fmla="*/ 8704760 w 10575647"/>
                <a:gd name="connsiteY132" fmla="*/ 826838 h 1701544"/>
                <a:gd name="connsiteX133" fmla="*/ 8437150 w 10575647"/>
                <a:gd name="connsiteY133" fmla="*/ 1122077 h 1701544"/>
                <a:gd name="connsiteX134" fmla="*/ 8167740 w 10575647"/>
                <a:gd name="connsiteY134" fmla="*/ 826838 h 1701544"/>
                <a:gd name="connsiteX135" fmla="*/ 8439003 w 10575647"/>
                <a:gd name="connsiteY135" fmla="*/ 529677 h 1701544"/>
                <a:gd name="connsiteX136" fmla="*/ 8704760 w 10575647"/>
                <a:gd name="connsiteY136" fmla="*/ 826838 h 1701544"/>
                <a:gd name="connsiteX137" fmla="*/ 8889307 w 10575647"/>
                <a:gd name="connsiteY137" fmla="*/ 828654 h 1701544"/>
                <a:gd name="connsiteX138" fmla="*/ 8439003 w 10575647"/>
                <a:gd name="connsiteY138" fmla="*/ 359885 h 1701544"/>
                <a:gd name="connsiteX139" fmla="*/ 7983193 w 10575647"/>
                <a:gd name="connsiteY139" fmla="*/ 824916 h 1701544"/>
                <a:gd name="connsiteX140" fmla="*/ 8433444 w 10575647"/>
                <a:gd name="connsiteY140" fmla="*/ 1291865 h 1701544"/>
                <a:gd name="connsiteX141" fmla="*/ 8889307 w 10575647"/>
                <a:gd name="connsiteY141" fmla="*/ 828654 h 1701544"/>
                <a:gd name="connsiteX142" fmla="*/ 9658150 w 10575647"/>
                <a:gd name="connsiteY142" fmla="*/ 1197940 h 1701544"/>
                <a:gd name="connsiteX143" fmla="*/ 9749630 w 10575647"/>
                <a:gd name="connsiteY143" fmla="*/ 944968 h 1701544"/>
                <a:gd name="connsiteX144" fmla="*/ 9749630 w 10575647"/>
                <a:gd name="connsiteY144" fmla="*/ 380187 h 1701544"/>
                <a:gd name="connsiteX145" fmla="*/ 9566988 w 10575647"/>
                <a:gd name="connsiteY145" fmla="*/ 380187 h 1701544"/>
                <a:gd name="connsiteX146" fmla="*/ 9566988 w 10575647"/>
                <a:gd name="connsiteY146" fmla="*/ 944968 h 1701544"/>
                <a:gd name="connsiteX147" fmla="*/ 9535012 w 10575647"/>
                <a:gd name="connsiteY147" fmla="*/ 1068222 h 1701544"/>
                <a:gd name="connsiteX148" fmla="*/ 9399010 w 10575647"/>
                <a:gd name="connsiteY148" fmla="*/ 1125815 h 1701544"/>
                <a:gd name="connsiteX149" fmla="*/ 9229233 w 10575647"/>
                <a:gd name="connsiteY149" fmla="*/ 941225 h 1701544"/>
                <a:gd name="connsiteX150" fmla="*/ 9229233 w 10575647"/>
                <a:gd name="connsiteY150" fmla="*/ 380187 h 1701544"/>
                <a:gd name="connsiteX151" fmla="*/ 9048391 w 10575647"/>
                <a:gd name="connsiteY151" fmla="*/ 380187 h 1701544"/>
                <a:gd name="connsiteX152" fmla="*/ 9048391 w 10575647"/>
                <a:gd name="connsiteY152" fmla="*/ 944968 h 1701544"/>
                <a:gd name="connsiteX153" fmla="*/ 9139659 w 10575647"/>
                <a:gd name="connsiteY153" fmla="*/ 1195965 h 1701544"/>
                <a:gd name="connsiteX154" fmla="*/ 9399010 w 10575647"/>
                <a:gd name="connsiteY154" fmla="*/ 1291865 h 1701544"/>
                <a:gd name="connsiteX155" fmla="*/ 9658150 w 10575647"/>
                <a:gd name="connsiteY155" fmla="*/ 1197945 h 1701544"/>
                <a:gd name="connsiteX156" fmla="*/ 10385594 w 10575647"/>
                <a:gd name="connsiteY156" fmla="*/ 653307 h 1701544"/>
                <a:gd name="connsiteX157" fmla="*/ 10567335 w 10575647"/>
                <a:gd name="connsiteY157" fmla="*/ 653307 h 1701544"/>
                <a:gd name="connsiteX158" fmla="*/ 10566383 w 10575647"/>
                <a:gd name="connsiteY158" fmla="*/ 632041 h 1701544"/>
                <a:gd name="connsiteX159" fmla="*/ 10249009 w 10575647"/>
                <a:gd name="connsiteY159" fmla="*/ 359885 h 1701544"/>
                <a:gd name="connsiteX160" fmla="*/ 9929730 w 10575647"/>
                <a:gd name="connsiteY160" fmla="*/ 627446 h 1701544"/>
                <a:gd name="connsiteX161" fmla="*/ 10212587 w 10575647"/>
                <a:gd name="connsiteY161" fmla="*/ 903611 h 1701544"/>
                <a:gd name="connsiteX162" fmla="*/ 10391099 w 10575647"/>
                <a:gd name="connsiteY162" fmla="*/ 1031625 h 1701544"/>
                <a:gd name="connsiteX163" fmla="*/ 10252715 w 10575647"/>
                <a:gd name="connsiteY163" fmla="*/ 1136874 h 1701544"/>
                <a:gd name="connsiteX164" fmla="*/ 10093843 w 10575647"/>
                <a:gd name="connsiteY164" fmla="*/ 1007579 h 1701544"/>
                <a:gd name="connsiteX165" fmla="*/ 10092096 w 10575647"/>
                <a:gd name="connsiteY165" fmla="*/ 989257 h 1701544"/>
                <a:gd name="connsiteX166" fmla="*/ 9913054 w 10575647"/>
                <a:gd name="connsiteY166" fmla="*/ 989257 h 1701544"/>
                <a:gd name="connsiteX167" fmla="*/ 9915066 w 10575647"/>
                <a:gd name="connsiteY167" fmla="*/ 1011216 h 1701544"/>
                <a:gd name="connsiteX168" fmla="*/ 10252715 w 10575647"/>
                <a:gd name="connsiteY168" fmla="*/ 1291865 h 1701544"/>
                <a:gd name="connsiteX169" fmla="*/ 10575647 w 10575647"/>
                <a:gd name="connsiteY169" fmla="*/ 1024303 h 1701544"/>
                <a:gd name="connsiteX170" fmla="*/ 10501426 w 10575647"/>
                <a:gd name="connsiteY170" fmla="*/ 843879 h 1701544"/>
                <a:gd name="connsiteX171" fmla="*/ 10285750 w 10575647"/>
                <a:gd name="connsiteY171" fmla="*/ 740769 h 1701544"/>
                <a:gd name="connsiteX172" fmla="*/ 10110519 w 10575647"/>
                <a:gd name="connsiteY172" fmla="*/ 616440 h 1701544"/>
                <a:gd name="connsiteX173" fmla="*/ 10243398 w 10575647"/>
                <a:gd name="connsiteY173" fmla="*/ 514877 h 1701544"/>
                <a:gd name="connsiteX174" fmla="*/ 10385594 w 10575647"/>
                <a:gd name="connsiteY174" fmla="*/ 623762 h 1701544"/>
                <a:gd name="connsiteX175" fmla="*/ 10385594 w 10575647"/>
                <a:gd name="connsiteY175" fmla="*/ 653307 h 170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10575647" h="1701544">
                  <a:moveTo>
                    <a:pt x="7802033" y="380187"/>
                  </a:moveTo>
                  <a:lnTo>
                    <a:pt x="7621138" y="380187"/>
                  </a:lnTo>
                  <a:lnTo>
                    <a:pt x="7621138" y="1271563"/>
                  </a:lnTo>
                  <a:lnTo>
                    <a:pt x="7802033" y="1271563"/>
                  </a:lnTo>
                  <a:lnTo>
                    <a:pt x="7802033" y="380187"/>
                  </a:lnTo>
                  <a:close/>
                  <a:moveTo>
                    <a:pt x="706522" y="1271563"/>
                  </a:moveTo>
                  <a:lnTo>
                    <a:pt x="902065" y="1271563"/>
                  </a:lnTo>
                  <a:lnTo>
                    <a:pt x="902065" y="0"/>
                  </a:lnTo>
                  <a:lnTo>
                    <a:pt x="706522" y="0"/>
                  </a:lnTo>
                  <a:lnTo>
                    <a:pt x="706522" y="553717"/>
                  </a:lnTo>
                  <a:lnTo>
                    <a:pt x="195543" y="553717"/>
                  </a:lnTo>
                  <a:lnTo>
                    <a:pt x="195543" y="0"/>
                  </a:lnTo>
                  <a:lnTo>
                    <a:pt x="0" y="0"/>
                  </a:lnTo>
                  <a:lnTo>
                    <a:pt x="0" y="1271563"/>
                  </a:lnTo>
                  <a:lnTo>
                    <a:pt x="195543" y="1271563"/>
                  </a:lnTo>
                  <a:lnTo>
                    <a:pt x="195543" y="727142"/>
                  </a:lnTo>
                  <a:lnTo>
                    <a:pt x="706522" y="727142"/>
                  </a:lnTo>
                  <a:lnTo>
                    <a:pt x="706522" y="1271563"/>
                  </a:lnTo>
                  <a:close/>
                  <a:moveTo>
                    <a:pt x="1306185" y="1690649"/>
                  </a:moveTo>
                  <a:lnTo>
                    <a:pt x="1654904" y="1036061"/>
                  </a:lnTo>
                  <a:lnTo>
                    <a:pt x="1306185" y="381469"/>
                  </a:lnTo>
                  <a:lnTo>
                    <a:pt x="1090234" y="381469"/>
                  </a:lnTo>
                  <a:lnTo>
                    <a:pt x="1438900" y="1036061"/>
                  </a:lnTo>
                  <a:lnTo>
                    <a:pt x="1090234" y="1690649"/>
                  </a:lnTo>
                  <a:lnTo>
                    <a:pt x="1306185" y="1690649"/>
                  </a:lnTo>
                  <a:close/>
                  <a:moveTo>
                    <a:pt x="2581808" y="828654"/>
                  </a:moveTo>
                  <a:cubicBezTo>
                    <a:pt x="2581808" y="1002989"/>
                    <a:pt x="2470789" y="1129505"/>
                    <a:pt x="2317883" y="1129505"/>
                  </a:cubicBezTo>
                  <a:cubicBezTo>
                    <a:pt x="2168980" y="1129505"/>
                    <a:pt x="2065011" y="1007262"/>
                    <a:pt x="2065011" y="832338"/>
                  </a:cubicBezTo>
                  <a:cubicBezTo>
                    <a:pt x="2065011" y="649088"/>
                    <a:pt x="2170314" y="525990"/>
                    <a:pt x="2327068" y="525990"/>
                  </a:cubicBezTo>
                  <a:cubicBezTo>
                    <a:pt x="2479444" y="525990"/>
                    <a:pt x="2581808" y="647590"/>
                    <a:pt x="2581808" y="828654"/>
                  </a:cubicBezTo>
                  <a:moveTo>
                    <a:pt x="2581808" y="1271563"/>
                  </a:moveTo>
                  <a:lnTo>
                    <a:pt x="2762608" y="1271563"/>
                  </a:lnTo>
                  <a:lnTo>
                    <a:pt x="2762608" y="0"/>
                  </a:lnTo>
                  <a:lnTo>
                    <a:pt x="2581808" y="0"/>
                  </a:lnTo>
                  <a:lnTo>
                    <a:pt x="2581808" y="476356"/>
                  </a:lnTo>
                  <a:cubicBezTo>
                    <a:pt x="2503431" y="397017"/>
                    <a:pt x="2412449" y="359885"/>
                    <a:pt x="2297581" y="359885"/>
                  </a:cubicBezTo>
                  <a:cubicBezTo>
                    <a:pt x="2057690" y="359885"/>
                    <a:pt x="1876785" y="562214"/>
                    <a:pt x="1876785" y="830470"/>
                  </a:cubicBezTo>
                  <a:cubicBezTo>
                    <a:pt x="1876785" y="1102145"/>
                    <a:pt x="2049839" y="1291865"/>
                    <a:pt x="2297581" y="1291865"/>
                  </a:cubicBezTo>
                  <a:cubicBezTo>
                    <a:pt x="2414371" y="1291865"/>
                    <a:pt x="2503061" y="1251959"/>
                    <a:pt x="2581808" y="1163217"/>
                  </a:cubicBezTo>
                  <a:lnTo>
                    <a:pt x="2581808" y="1271563"/>
                  </a:lnTo>
                  <a:close/>
                  <a:moveTo>
                    <a:pt x="3437445" y="542393"/>
                  </a:moveTo>
                  <a:lnTo>
                    <a:pt x="3460310" y="545331"/>
                  </a:lnTo>
                  <a:lnTo>
                    <a:pt x="3460310" y="359885"/>
                  </a:lnTo>
                  <a:lnTo>
                    <a:pt x="3406830" y="359885"/>
                  </a:lnTo>
                  <a:cubicBezTo>
                    <a:pt x="3341169" y="359885"/>
                    <a:pt x="3277430" y="380294"/>
                    <a:pt x="3231965" y="415877"/>
                  </a:cubicBezTo>
                  <a:cubicBezTo>
                    <a:pt x="3213690" y="430035"/>
                    <a:pt x="3199693" y="444353"/>
                    <a:pt x="3187194" y="462091"/>
                  </a:cubicBezTo>
                  <a:lnTo>
                    <a:pt x="3187194" y="380187"/>
                  </a:lnTo>
                  <a:lnTo>
                    <a:pt x="3006395" y="380187"/>
                  </a:lnTo>
                  <a:lnTo>
                    <a:pt x="3006395" y="1271563"/>
                  </a:lnTo>
                  <a:lnTo>
                    <a:pt x="3187194" y="1271563"/>
                  </a:lnTo>
                  <a:lnTo>
                    <a:pt x="3187194" y="819411"/>
                  </a:lnTo>
                  <a:cubicBezTo>
                    <a:pt x="3187194" y="727783"/>
                    <a:pt x="3198894" y="679915"/>
                    <a:pt x="3233517" y="629638"/>
                  </a:cubicBezTo>
                  <a:cubicBezTo>
                    <a:pt x="3272300" y="572310"/>
                    <a:pt x="3331926" y="540683"/>
                    <a:pt x="3401277" y="540683"/>
                  </a:cubicBezTo>
                  <a:cubicBezTo>
                    <a:pt x="3410356" y="540683"/>
                    <a:pt x="3423983" y="540683"/>
                    <a:pt x="3437445" y="542393"/>
                  </a:cubicBezTo>
                  <a:moveTo>
                    <a:pt x="4250980" y="826838"/>
                  </a:moveTo>
                  <a:cubicBezTo>
                    <a:pt x="4250980" y="1000692"/>
                    <a:pt x="4140918" y="1122077"/>
                    <a:pt x="3983364" y="1122077"/>
                  </a:cubicBezTo>
                  <a:cubicBezTo>
                    <a:pt x="3822174" y="1122077"/>
                    <a:pt x="3713875" y="1003466"/>
                    <a:pt x="3713875" y="826838"/>
                  </a:cubicBezTo>
                  <a:cubicBezTo>
                    <a:pt x="3713875" y="649088"/>
                    <a:pt x="3822920" y="529677"/>
                    <a:pt x="3985180" y="529677"/>
                  </a:cubicBezTo>
                  <a:cubicBezTo>
                    <a:pt x="4144179" y="529677"/>
                    <a:pt x="4250980" y="649088"/>
                    <a:pt x="4250980" y="826838"/>
                  </a:cubicBezTo>
                  <a:moveTo>
                    <a:pt x="4435464" y="828654"/>
                  </a:moveTo>
                  <a:cubicBezTo>
                    <a:pt x="4435464" y="557084"/>
                    <a:pt x="4246120" y="359885"/>
                    <a:pt x="3985180" y="359885"/>
                  </a:cubicBezTo>
                  <a:cubicBezTo>
                    <a:pt x="3716818" y="359885"/>
                    <a:pt x="3529338" y="551155"/>
                    <a:pt x="3529338" y="824916"/>
                  </a:cubicBezTo>
                  <a:cubicBezTo>
                    <a:pt x="3529338" y="1099848"/>
                    <a:pt x="3714521" y="1291865"/>
                    <a:pt x="3979622" y="1291865"/>
                  </a:cubicBezTo>
                  <a:cubicBezTo>
                    <a:pt x="4235272" y="1291865"/>
                    <a:pt x="4435464" y="1088418"/>
                    <a:pt x="4435464" y="828654"/>
                  </a:cubicBezTo>
                  <a:moveTo>
                    <a:pt x="5261608" y="828654"/>
                  </a:moveTo>
                  <a:cubicBezTo>
                    <a:pt x="5261608" y="909382"/>
                    <a:pt x="5239596" y="986748"/>
                    <a:pt x="5205508" y="1025854"/>
                  </a:cubicBezTo>
                  <a:cubicBezTo>
                    <a:pt x="5153150" y="1087026"/>
                    <a:pt x="5080062" y="1122077"/>
                    <a:pt x="5005052" y="1122077"/>
                  </a:cubicBezTo>
                  <a:cubicBezTo>
                    <a:pt x="4855296" y="1122077"/>
                    <a:pt x="4746675" y="996361"/>
                    <a:pt x="4746675" y="823153"/>
                  </a:cubicBezTo>
                  <a:cubicBezTo>
                    <a:pt x="4746675" y="650316"/>
                    <a:pt x="4854386" y="529677"/>
                    <a:pt x="5008683" y="529677"/>
                  </a:cubicBezTo>
                  <a:cubicBezTo>
                    <a:pt x="5078193" y="529677"/>
                    <a:pt x="5151652" y="563177"/>
                    <a:pt x="5200378" y="617081"/>
                  </a:cubicBezTo>
                  <a:cubicBezTo>
                    <a:pt x="5246112" y="667892"/>
                    <a:pt x="5261608" y="721266"/>
                    <a:pt x="5261608" y="828654"/>
                  </a:cubicBezTo>
                  <a:moveTo>
                    <a:pt x="5327264" y="1583314"/>
                  </a:moveTo>
                  <a:cubicBezTo>
                    <a:pt x="5409426" y="1504990"/>
                    <a:pt x="5446113" y="1404277"/>
                    <a:pt x="5446113" y="1256819"/>
                  </a:cubicBezTo>
                  <a:lnTo>
                    <a:pt x="5446113" y="380187"/>
                  </a:lnTo>
                  <a:lnTo>
                    <a:pt x="5265239" y="380187"/>
                  </a:lnTo>
                  <a:lnTo>
                    <a:pt x="5265239" y="488537"/>
                  </a:lnTo>
                  <a:cubicBezTo>
                    <a:pt x="5186005" y="398673"/>
                    <a:pt x="5100153" y="359885"/>
                    <a:pt x="4982875" y="359885"/>
                  </a:cubicBezTo>
                  <a:cubicBezTo>
                    <a:pt x="4866567" y="359885"/>
                    <a:pt x="4771201" y="395361"/>
                    <a:pt x="4699394" y="465190"/>
                  </a:cubicBezTo>
                  <a:cubicBezTo>
                    <a:pt x="4611080" y="549710"/>
                    <a:pt x="4558400" y="685574"/>
                    <a:pt x="4558400" y="828654"/>
                  </a:cubicBezTo>
                  <a:cubicBezTo>
                    <a:pt x="4558400" y="1092743"/>
                    <a:pt x="4736097" y="1291865"/>
                    <a:pt x="4971816" y="1291865"/>
                  </a:cubicBezTo>
                  <a:cubicBezTo>
                    <a:pt x="5092032" y="1291865"/>
                    <a:pt x="5185952" y="1246830"/>
                    <a:pt x="5265239" y="1150553"/>
                  </a:cubicBezTo>
                  <a:lnTo>
                    <a:pt x="5265239" y="1267931"/>
                  </a:lnTo>
                  <a:cubicBezTo>
                    <a:pt x="5265239" y="1350745"/>
                    <a:pt x="5245313" y="1414431"/>
                    <a:pt x="5206095" y="1457116"/>
                  </a:cubicBezTo>
                  <a:cubicBezTo>
                    <a:pt x="5162288" y="1504291"/>
                    <a:pt x="5083159" y="1533625"/>
                    <a:pt x="4999546" y="1533625"/>
                  </a:cubicBezTo>
                  <a:cubicBezTo>
                    <a:pt x="4932122" y="1533625"/>
                    <a:pt x="4856471" y="1514979"/>
                    <a:pt x="4811695" y="1487409"/>
                  </a:cubicBezTo>
                  <a:cubicBezTo>
                    <a:pt x="4788777" y="1471596"/>
                    <a:pt x="4771254" y="1455624"/>
                    <a:pt x="4733588" y="1416300"/>
                  </a:cubicBezTo>
                  <a:lnTo>
                    <a:pt x="4719215" y="1401339"/>
                  </a:lnTo>
                  <a:lnTo>
                    <a:pt x="4595103" y="1525451"/>
                  </a:lnTo>
                  <a:lnTo>
                    <a:pt x="4607819" y="1539824"/>
                  </a:lnTo>
                  <a:cubicBezTo>
                    <a:pt x="4703719" y="1647106"/>
                    <a:pt x="4835528" y="1701544"/>
                    <a:pt x="4999546" y="1701544"/>
                  </a:cubicBezTo>
                  <a:cubicBezTo>
                    <a:pt x="5134664" y="1701544"/>
                    <a:pt x="5247981" y="1660675"/>
                    <a:pt x="5327264" y="1583314"/>
                  </a:cubicBezTo>
                  <a:moveTo>
                    <a:pt x="6317923" y="747497"/>
                  </a:moveTo>
                  <a:lnTo>
                    <a:pt x="5805203" y="747497"/>
                  </a:lnTo>
                  <a:cubicBezTo>
                    <a:pt x="5814785" y="696051"/>
                    <a:pt x="5825267" y="667627"/>
                    <a:pt x="5845913" y="635144"/>
                  </a:cubicBezTo>
                  <a:cubicBezTo>
                    <a:pt x="5892024" y="566756"/>
                    <a:pt x="5971327" y="525990"/>
                    <a:pt x="6057989" y="525990"/>
                  </a:cubicBezTo>
                  <a:cubicBezTo>
                    <a:pt x="6144228" y="525990"/>
                    <a:pt x="6225702" y="566274"/>
                    <a:pt x="6275730" y="633487"/>
                  </a:cubicBezTo>
                  <a:cubicBezTo>
                    <a:pt x="6300453" y="669067"/>
                    <a:pt x="6312047" y="699841"/>
                    <a:pt x="6317923" y="747497"/>
                  </a:cubicBezTo>
                  <a:moveTo>
                    <a:pt x="6508188" y="872890"/>
                  </a:moveTo>
                  <a:cubicBezTo>
                    <a:pt x="6510094" y="851683"/>
                    <a:pt x="6510094" y="827426"/>
                    <a:pt x="6510094" y="815779"/>
                  </a:cubicBezTo>
                  <a:cubicBezTo>
                    <a:pt x="6510094" y="555909"/>
                    <a:pt x="6315700" y="359885"/>
                    <a:pt x="6057989" y="359885"/>
                  </a:cubicBezTo>
                  <a:cubicBezTo>
                    <a:pt x="5798109" y="359885"/>
                    <a:pt x="5609538" y="557084"/>
                    <a:pt x="5609538" y="828654"/>
                  </a:cubicBezTo>
                  <a:cubicBezTo>
                    <a:pt x="5609538" y="1097074"/>
                    <a:pt x="5800491" y="1291865"/>
                    <a:pt x="6063495" y="1291865"/>
                  </a:cubicBezTo>
                  <a:cubicBezTo>
                    <a:pt x="6235020" y="1291865"/>
                    <a:pt x="6386956" y="1199867"/>
                    <a:pt x="6460066" y="1051710"/>
                  </a:cubicBezTo>
                  <a:lnTo>
                    <a:pt x="6469966" y="1031572"/>
                  </a:lnTo>
                  <a:lnTo>
                    <a:pt x="6308923" y="971517"/>
                  </a:lnTo>
                  <a:lnTo>
                    <a:pt x="6300559" y="986689"/>
                  </a:lnTo>
                  <a:cubicBezTo>
                    <a:pt x="6254237" y="1068968"/>
                    <a:pt x="6161169" y="1122077"/>
                    <a:pt x="6063495" y="1122077"/>
                  </a:cubicBezTo>
                  <a:cubicBezTo>
                    <a:pt x="5977415" y="1122077"/>
                    <a:pt x="5901923" y="1083664"/>
                    <a:pt x="5850784" y="1013832"/>
                  </a:cubicBezTo>
                  <a:cubicBezTo>
                    <a:pt x="5821932" y="975900"/>
                    <a:pt x="5809438" y="945021"/>
                    <a:pt x="5802132" y="891377"/>
                  </a:cubicBezTo>
                  <a:lnTo>
                    <a:pt x="6506547" y="891377"/>
                  </a:lnTo>
                  <a:lnTo>
                    <a:pt x="6508188" y="872890"/>
                  </a:lnTo>
                  <a:close/>
                  <a:moveTo>
                    <a:pt x="7205139" y="1271563"/>
                  </a:moveTo>
                  <a:lnTo>
                    <a:pt x="7385928" y="1271563"/>
                  </a:lnTo>
                  <a:lnTo>
                    <a:pt x="7385928" y="677294"/>
                  </a:lnTo>
                  <a:cubicBezTo>
                    <a:pt x="7385928" y="554734"/>
                    <a:pt x="7365387" y="491422"/>
                    <a:pt x="7307154" y="435163"/>
                  </a:cubicBezTo>
                  <a:cubicBezTo>
                    <a:pt x="7252520" y="386599"/>
                    <a:pt x="7177557" y="359885"/>
                    <a:pt x="7096189" y="359885"/>
                  </a:cubicBezTo>
                  <a:cubicBezTo>
                    <a:pt x="7000739" y="359885"/>
                    <a:pt x="6929853" y="391193"/>
                    <a:pt x="6863625" y="463694"/>
                  </a:cubicBezTo>
                  <a:lnTo>
                    <a:pt x="6863625" y="380187"/>
                  </a:lnTo>
                  <a:lnTo>
                    <a:pt x="6682836" y="380187"/>
                  </a:lnTo>
                  <a:lnTo>
                    <a:pt x="6682836" y="1271563"/>
                  </a:lnTo>
                  <a:lnTo>
                    <a:pt x="6863625" y="1271563"/>
                  </a:lnTo>
                  <a:lnTo>
                    <a:pt x="6863625" y="732701"/>
                  </a:lnTo>
                  <a:cubicBezTo>
                    <a:pt x="6863625" y="667839"/>
                    <a:pt x="6876278" y="632147"/>
                    <a:pt x="6913971" y="591066"/>
                  </a:cubicBezTo>
                  <a:cubicBezTo>
                    <a:pt x="6951505" y="548481"/>
                    <a:pt x="7002433" y="525990"/>
                    <a:pt x="7061143" y="525990"/>
                  </a:cubicBezTo>
                  <a:cubicBezTo>
                    <a:pt x="7110748" y="525990"/>
                    <a:pt x="7155428" y="544744"/>
                    <a:pt x="7177769" y="575089"/>
                  </a:cubicBezTo>
                  <a:cubicBezTo>
                    <a:pt x="7197410" y="601215"/>
                    <a:pt x="7205139" y="638722"/>
                    <a:pt x="7205139" y="708709"/>
                  </a:cubicBezTo>
                  <a:lnTo>
                    <a:pt x="7205139" y="1271563"/>
                  </a:lnTo>
                  <a:close/>
                  <a:moveTo>
                    <a:pt x="7822309" y="162418"/>
                  </a:moveTo>
                  <a:cubicBezTo>
                    <a:pt x="7822309" y="99268"/>
                    <a:pt x="7774452" y="49847"/>
                    <a:pt x="7713412" y="49847"/>
                  </a:cubicBezTo>
                  <a:cubicBezTo>
                    <a:pt x="7650255" y="49847"/>
                    <a:pt x="7602662" y="97451"/>
                    <a:pt x="7602662" y="160549"/>
                  </a:cubicBezTo>
                  <a:cubicBezTo>
                    <a:pt x="7602662" y="223699"/>
                    <a:pt x="7649514" y="271303"/>
                    <a:pt x="7711560" y="271303"/>
                  </a:cubicBezTo>
                  <a:cubicBezTo>
                    <a:pt x="7773711" y="271303"/>
                    <a:pt x="7822309" y="223432"/>
                    <a:pt x="7822309" y="162418"/>
                  </a:cubicBezTo>
                  <a:moveTo>
                    <a:pt x="8704760" y="826838"/>
                  </a:moveTo>
                  <a:cubicBezTo>
                    <a:pt x="8704760" y="1000692"/>
                    <a:pt x="8594751" y="1122077"/>
                    <a:pt x="8437150" y="1122077"/>
                  </a:cubicBezTo>
                  <a:cubicBezTo>
                    <a:pt x="8276002" y="1122077"/>
                    <a:pt x="8167740" y="1003466"/>
                    <a:pt x="8167740" y="826838"/>
                  </a:cubicBezTo>
                  <a:cubicBezTo>
                    <a:pt x="8167740" y="649088"/>
                    <a:pt x="8276743" y="529677"/>
                    <a:pt x="8439003" y="529677"/>
                  </a:cubicBezTo>
                  <a:cubicBezTo>
                    <a:pt x="8597980" y="529677"/>
                    <a:pt x="8704760" y="649088"/>
                    <a:pt x="8704760" y="826838"/>
                  </a:cubicBezTo>
                  <a:moveTo>
                    <a:pt x="8889307" y="828654"/>
                  </a:moveTo>
                  <a:cubicBezTo>
                    <a:pt x="8889307" y="557084"/>
                    <a:pt x="8699942" y="359885"/>
                    <a:pt x="8439003" y="359885"/>
                  </a:cubicBezTo>
                  <a:cubicBezTo>
                    <a:pt x="8170652" y="359885"/>
                    <a:pt x="7983193" y="551155"/>
                    <a:pt x="7983193" y="824916"/>
                  </a:cubicBezTo>
                  <a:cubicBezTo>
                    <a:pt x="7983193" y="1099848"/>
                    <a:pt x="8168375" y="1291865"/>
                    <a:pt x="8433444" y="1291865"/>
                  </a:cubicBezTo>
                  <a:cubicBezTo>
                    <a:pt x="8689089" y="1291865"/>
                    <a:pt x="8889307" y="1088418"/>
                    <a:pt x="8889307" y="828654"/>
                  </a:cubicBezTo>
                  <a:moveTo>
                    <a:pt x="9658150" y="1197940"/>
                  </a:moveTo>
                  <a:cubicBezTo>
                    <a:pt x="9724854" y="1137144"/>
                    <a:pt x="9749630" y="1068539"/>
                    <a:pt x="9749630" y="944968"/>
                  </a:cubicBezTo>
                  <a:lnTo>
                    <a:pt x="9749630" y="380187"/>
                  </a:lnTo>
                  <a:lnTo>
                    <a:pt x="9566988" y="380187"/>
                  </a:lnTo>
                  <a:lnTo>
                    <a:pt x="9566988" y="944968"/>
                  </a:lnTo>
                  <a:cubicBezTo>
                    <a:pt x="9566988" y="1008437"/>
                    <a:pt x="9558835" y="1039587"/>
                    <a:pt x="9535012" y="1068222"/>
                  </a:cubicBezTo>
                  <a:cubicBezTo>
                    <a:pt x="9503831" y="1104284"/>
                    <a:pt x="9453009" y="1125815"/>
                    <a:pt x="9399010" y="1125815"/>
                  </a:cubicBezTo>
                  <a:cubicBezTo>
                    <a:pt x="9299060" y="1125815"/>
                    <a:pt x="9229233" y="1049947"/>
                    <a:pt x="9229233" y="941225"/>
                  </a:cubicBezTo>
                  <a:lnTo>
                    <a:pt x="9229233" y="380187"/>
                  </a:lnTo>
                  <a:lnTo>
                    <a:pt x="9048391" y="380187"/>
                  </a:lnTo>
                  <a:lnTo>
                    <a:pt x="9048391" y="944968"/>
                  </a:lnTo>
                  <a:cubicBezTo>
                    <a:pt x="9048391" y="1054330"/>
                    <a:pt x="9078249" y="1136392"/>
                    <a:pt x="9139659" y="1195965"/>
                  </a:cubicBezTo>
                  <a:cubicBezTo>
                    <a:pt x="9204563" y="1256925"/>
                    <a:pt x="9299113" y="1291865"/>
                    <a:pt x="9399010" y="1291865"/>
                  </a:cubicBezTo>
                  <a:cubicBezTo>
                    <a:pt x="9499701" y="1291865"/>
                    <a:pt x="9591763" y="1258529"/>
                    <a:pt x="9658150" y="1197945"/>
                  </a:cubicBezTo>
                  <a:moveTo>
                    <a:pt x="10385594" y="653307"/>
                  </a:moveTo>
                  <a:lnTo>
                    <a:pt x="10567335" y="653307"/>
                  </a:lnTo>
                  <a:lnTo>
                    <a:pt x="10566383" y="632041"/>
                  </a:lnTo>
                  <a:cubicBezTo>
                    <a:pt x="10558442" y="459099"/>
                    <a:pt x="10442768" y="359885"/>
                    <a:pt x="10249009" y="359885"/>
                  </a:cubicBezTo>
                  <a:cubicBezTo>
                    <a:pt x="10058003" y="359885"/>
                    <a:pt x="9929730" y="467434"/>
                    <a:pt x="9929730" y="627446"/>
                  </a:cubicBezTo>
                  <a:cubicBezTo>
                    <a:pt x="9929730" y="765666"/>
                    <a:pt x="10016922" y="850825"/>
                    <a:pt x="10212587" y="903611"/>
                  </a:cubicBezTo>
                  <a:cubicBezTo>
                    <a:pt x="10347689" y="937858"/>
                    <a:pt x="10391099" y="968955"/>
                    <a:pt x="10391099" y="1031625"/>
                  </a:cubicBezTo>
                  <a:cubicBezTo>
                    <a:pt x="10391099" y="1095576"/>
                    <a:pt x="10336730" y="1136874"/>
                    <a:pt x="10252715" y="1136874"/>
                  </a:cubicBezTo>
                  <a:cubicBezTo>
                    <a:pt x="10155517" y="1136874"/>
                    <a:pt x="10102102" y="1093384"/>
                    <a:pt x="10093843" y="1007579"/>
                  </a:cubicBezTo>
                  <a:lnTo>
                    <a:pt x="10092096" y="989257"/>
                  </a:lnTo>
                  <a:lnTo>
                    <a:pt x="9913054" y="989257"/>
                  </a:lnTo>
                  <a:lnTo>
                    <a:pt x="9915066" y="1011216"/>
                  </a:lnTo>
                  <a:cubicBezTo>
                    <a:pt x="9930789" y="1194843"/>
                    <a:pt x="10047626" y="1291865"/>
                    <a:pt x="10252715" y="1291865"/>
                  </a:cubicBezTo>
                  <a:cubicBezTo>
                    <a:pt x="10445839" y="1291865"/>
                    <a:pt x="10575647" y="1184371"/>
                    <a:pt x="10575647" y="1024303"/>
                  </a:cubicBezTo>
                  <a:cubicBezTo>
                    <a:pt x="10575647" y="956667"/>
                    <a:pt x="10548542" y="890948"/>
                    <a:pt x="10501426" y="843879"/>
                  </a:cubicBezTo>
                  <a:cubicBezTo>
                    <a:pt x="10457485" y="799913"/>
                    <a:pt x="10397028" y="770955"/>
                    <a:pt x="10285750" y="740769"/>
                  </a:cubicBezTo>
                  <a:cubicBezTo>
                    <a:pt x="10125660" y="696474"/>
                    <a:pt x="10110519" y="671471"/>
                    <a:pt x="10110519" y="616440"/>
                  </a:cubicBezTo>
                  <a:cubicBezTo>
                    <a:pt x="10110519" y="553823"/>
                    <a:pt x="10161447" y="514877"/>
                    <a:pt x="10243398" y="514877"/>
                  </a:cubicBezTo>
                  <a:cubicBezTo>
                    <a:pt x="10329795" y="514877"/>
                    <a:pt x="10385594" y="557672"/>
                    <a:pt x="10385594" y="623762"/>
                  </a:cubicBezTo>
                  <a:lnTo>
                    <a:pt x="10385594" y="653307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928C5FD8-1366-F679-84D5-73DF6AA9F4BC}"/>
              </a:ext>
            </a:extLst>
          </p:cNvPr>
          <p:cNvGrpSpPr/>
          <p:nvPr userDrawn="1"/>
        </p:nvGrpSpPr>
        <p:grpSpPr>
          <a:xfrm rot="5400000">
            <a:off x="-3617983" y="3323777"/>
            <a:ext cx="6854690" cy="213756"/>
            <a:chOff x="-1" y="-286346"/>
            <a:chExt cx="5820565" cy="181508"/>
          </a:xfrm>
        </p:grpSpPr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2706A282-71AB-9691-05A2-9EBBEC5A65E3}"/>
                </a:ext>
              </a:extLst>
            </p:cNvPr>
            <p:cNvGrpSpPr/>
            <p:nvPr userDrawn="1"/>
          </p:nvGrpSpPr>
          <p:grpSpPr>
            <a:xfrm rot="16200000">
              <a:off x="363007" y="-649354"/>
              <a:ext cx="181503" cy="907520"/>
              <a:chOff x="1319213" y="-1663170"/>
              <a:chExt cx="181503" cy="907520"/>
            </a:xfrm>
          </p:grpSpPr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5A1F4955-1791-2A76-7D84-8D3131C3A434}"/>
                  </a:ext>
                </a:extLst>
              </p:cNvPr>
              <p:cNvSpPr/>
              <p:nvPr/>
            </p:nvSpPr>
            <p:spPr>
              <a:xfrm>
                <a:off x="1319213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44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6FBA36CB-0E91-C106-DA48-4F0BC31036AA}"/>
                  </a:ext>
                </a:extLst>
              </p:cNvPr>
              <p:cNvSpPr/>
              <p:nvPr/>
            </p:nvSpPr>
            <p:spPr>
              <a:xfrm>
                <a:off x="1319213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69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F2221E3A-83CA-79CB-BB9B-DE10E4D0B909}"/>
                  </a:ext>
                </a:extLst>
              </p:cNvPr>
              <p:cNvSpPr/>
              <p:nvPr/>
            </p:nvSpPr>
            <p:spPr>
              <a:xfrm>
                <a:off x="1319213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FE8F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E01C77F0-6151-18A2-3C39-3F4DE693FE81}"/>
                  </a:ext>
                </a:extLst>
              </p:cNvPr>
              <p:cNvSpPr/>
              <p:nvPr/>
            </p:nvSpPr>
            <p:spPr>
              <a:xfrm>
                <a:off x="1319213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B4B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AEF0C368-BA9F-10C6-0D06-40F49947A69D}"/>
                  </a:ext>
                </a:extLst>
              </p:cNvPr>
              <p:cNvSpPr/>
              <p:nvPr/>
            </p:nvSpPr>
            <p:spPr>
              <a:xfrm>
                <a:off x="1319213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D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E9685E2E-EC63-2779-B74A-5EB7463BEBC6}"/>
                </a:ext>
              </a:extLst>
            </p:cNvPr>
            <p:cNvGrpSpPr/>
            <p:nvPr userDrawn="1"/>
          </p:nvGrpSpPr>
          <p:grpSpPr>
            <a:xfrm rot="16200000">
              <a:off x="1345616" y="-649354"/>
              <a:ext cx="181503" cy="907520"/>
              <a:chOff x="1319213" y="-664912"/>
              <a:chExt cx="181503" cy="907520"/>
            </a:xfrm>
          </p:grpSpPr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F10056AF-233E-0A1F-DF01-9A262A6B282D}"/>
                  </a:ext>
                </a:extLst>
              </p:cNvPr>
              <p:cNvSpPr/>
              <p:nvPr/>
            </p:nvSpPr>
            <p:spPr>
              <a:xfrm>
                <a:off x="1319213" y="-66491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6400A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DB76B20C-6058-B567-9B0D-A32A272B9443}"/>
                  </a:ext>
                </a:extLst>
              </p:cNvPr>
              <p:cNvSpPr/>
              <p:nvPr/>
            </p:nvSpPr>
            <p:spPr>
              <a:xfrm>
                <a:off x="1319213" y="-483404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33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BCE531EE-282F-14B5-B211-FD0AF1D7B75C}"/>
                  </a:ext>
                </a:extLst>
              </p:cNvPr>
              <p:cNvSpPr/>
              <p:nvPr/>
            </p:nvSpPr>
            <p:spPr>
              <a:xfrm>
                <a:off x="1319213" y="-30189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266C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730A1006-34EF-42B1-2AB1-AA66BDA3CC47}"/>
                  </a:ext>
                </a:extLst>
              </p:cNvPr>
              <p:cNvSpPr/>
              <p:nvPr/>
            </p:nvSpPr>
            <p:spPr>
              <a:xfrm>
                <a:off x="1319213" y="-120387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199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C0F3B49C-CE08-094F-FFB2-75E675FF0CAE}"/>
                  </a:ext>
                </a:extLst>
              </p:cNvPr>
              <p:cNvSpPr/>
              <p:nvPr/>
            </p:nvSpPr>
            <p:spPr>
              <a:xfrm>
                <a:off x="1319213" y="6110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0CC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13155511-5C15-868A-823E-B42F5A3127D4}"/>
                </a:ext>
              </a:extLst>
            </p:cNvPr>
            <p:cNvGrpSpPr/>
            <p:nvPr userDrawn="1"/>
          </p:nvGrpSpPr>
          <p:grpSpPr>
            <a:xfrm rot="16200000">
              <a:off x="2328223" y="-649352"/>
              <a:ext cx="181508" cy="907520"/>
              <a:chOff x="1682219" y="-1663170"/>
              <a:chExt cx="181508" cy="907520"/>
            </a:xfrm>
          </p:grpSpPr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D3EAD76E-E1AA-A06E-389C-0A0670DD8F98}"/>
                  </a:ext>
                </a:extLst>
              </p:cNvPr>
              <p:cNvSpPr/>
              <p:nvPr/>
            </p:nvSpPr>
            <p:spPr>
              <a:xfrm>
                <a:off x="1682219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CC8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EADF0CE7-34E3-00E5-4516-CCD9D0371A40}"/>
                  </a:ext>
                </a:extLst>
              </p:cNvPr>
              <p:cNvSpPr/>
              <p:nvPr/>
            </p:nvSpPr>
            <p:spPr>
              <a:xfrm>
                <a:off x="1682224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3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6FEA364A-A1D4-B104-2323-636C5EAAD9E2}"/>
                  </a:ext>
                </a:extLst>
              </p:cNvPr>
              <p:cNvSpPr/>
              <p:nvPr/>
            </p:nvSpPr>
            <p:spPr>
              <a:xfrm>
                <a:off x="1682224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ADE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13724F01-2349-3591-377B-9E7B65BD26B7}"/>
                  </a:ext>
                </a:extLst>
              </p:cNvPr>
              <p:cNvSpPr/>
              <p:nvPr/>
            </p:nvSpPr>
            <p:spPr>
              <a:xfrm>
                <a:off x="1682224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E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D6ACAF96-9B2F-B2DF-CF20-BC10236ED5DB}"/>
                  </a:ext>
                </a:extLst>
              </p:cNvPr>
              <p:cNvSpPr/>
              <p:nvPr/>
            </p:nvSpPr>
            <p:spPr>
              <a:xfrm>
                <a:off x="1682219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8F4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89F0137D-42DD-5945-0D02-1A923260C5FF}"/>
                </a:ext>
              </a:extLst>
            </p:cNvPr>
            <p:cNvGrpSpPr/>
            <p:nvPr userDrawn="1"/>
          </p:nvGrpSpPr>
          <p:grpSpPr>
            <a:xfrm rot="16200000">
              <a:off x="5276052" y="-649354"/>
              <a:ext cx="181503" cy="907520"/>
              <a:chOff x="2226738" y="-1663170"/>
              <a:chExt cx="181503" cy="907520"/>
            </a:xfrm>
          </p:grpSpPr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1145A1A7-DD9E-0D40-17A6-D4088090FEBB}"/>
                  </a:ext>
                </a:extLst>
              </p:cNvPr>
              <p:cNvSpPr/>
              <p:nvPr/>
            </p:nvSpPr>
            <p:spPr>
              <a:xfrm>
                <a:off x="2226738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B01AB2B5-7784-2EED-B824-7E51FF3A907C}"/>
                  </a:ext>
                </a:extLst>
              </p:cNvPr>
              <p:cNvSpPr/>
              <p:nvPr/>
            </p:nvSpPr>
            <p:spPr>
              <a:xfrm>
                <a:off x="2226738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5757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A231951A-C058-A8F9-2F41-9CE82297962E}"/>
                  </a:ext>
                </a:extLst>
              </p:cNvPr>
              <p:cNvSpPr/>
              <p:nvPr/>
            </p:nvSpPr>
            <p:spPr>
              <a:xfrm>
                <a:off x="2226738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8787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90288F31-7988-3003-C9A1-6A267FF5A7CD}"/>
                  </a:ext>
                </a:extLst>
              </p:cNvPr>
              <p:cNvSpPr/>
              <p:nvPr/>
            </p:nvSpPr>
            <p:spPr>
              <a:xfrm>
                <a:off x="2226738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2B2B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9DF2AE47-1D27-D801-5886-5260D3681DAB}"/>
                  </a:ext>
                </a:extLst>
              </p:cNvPr>
              <p:cNvSpPr/>
              <p:nvPr/>
            </p:nvSpPr>
            <p:spPr>
              <a:xfrm>
                <a:off x="2226738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DA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12A822FF-4D24-F239-08AB-A6539EF32960}"/>
                </a:ext>
              </a:extLst>
            </p:cNvPr>
            <p:cNvGrpSpPr/>
            <p:nvPr userDrawn="1"/>
          </p:nvGrpSpPr>
          <p:grpSpPr>
            <a:xfrm rot="16200000">
              <a:off x="3310834" y="-649354"/>
              <a:ext cx="181503" cy="907520"/>
              <a:chOff x="1863727" y="-1663170"/>
              <a:chExt cx="181503" cy="907520"/>
            </a:xfrm>
          </p:grpSpPr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0931C37F-7CDC-67EA-C6BC-DB9AC4A2C389}"/>
                  </a:ext>
                </a:extLst>
              </p:cNvPr>
              <p:cNvSpPr/>
              <p:nvPr/>
            </p:nvSpPr>
            <p:spPr>
              <a:xfrm>
                <a:off x="1863727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2A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0BB20F2B-F07D-5ACF-65EB-A9440BD91B8B}"/>
                  </a:ext>
                </a:extLst>
              </p:cNvPr>
              <p:cNvSpPr/>
              <p:nvPr/>
            </p:nvSpPr>
            <p:spPr>
              <a:xfrm>
                <a:off x="1863727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5DB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C1F0BD2D-A1C2-192C-AD75-E4DE94B7683F}"/>
                  </a:ext>
                </a:extLst>
              </p:cNvPr>
              <p:cNvSpPr/>
              <p:nvPr/>
            </p:nvSpPr>
            <p:spPr>
              <a:xfrm>
                <a:off x="1863727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8E4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B02A5EF6-96C1-532E-C9B3-83722B1D6FDD}"/>
                  </a:ext>
                </a:extLst>
              </p:cNvPr>
              <p:cNvSpPr/>
              <p:nvPr/>
            </p:nvSpPr>
            <p:spPr>
              <a:xfrm>
                <a:off x="1863727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ED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EE6E7403-9521-4ABA-0BAC-4F25C27CD0B0}"/>
                  </a:ext>
                </a:extLst>
              </p:cNvPr>
              <p:cNvSpPr/>
              <p:nvPr/>
            </p:nvSpPr>
            <p:spPr>
              <a:xfrm>
                <a:off x="1863727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DF6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AB8E07E6-89BC-A9AC-5319-1BC04DA615F2}"/>
                </a:ext>
              </a:extLst>
            </p:cNvPr>
            <p:cNvGrpSpPr/>
            <p:nvPr userDrawn="1"/>
          </p:nvGrpSpPr>
          <p:grpSpPr>
            <a:xfrm rot="16200000">
              <a:off x="4293441" y="-649352"/>
              <a:ext cx="181508" cy="907520"/>
              <a:chOff x="2045230" y="-1663170"/>
              <a:chExt cx="181508" cy="907520"/>
            </a:xfrm>
          </p:grpSpPr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77996B57-9DF7-279F-3062-DF2AFC3F386F}"/>
                  </a:ext>
                </a:extLst>
              </p:cNvPr>
              <p:cNvSpPr/>
              <p:nvPr/>
            </p:nvSpPr>
            <p:spPr>
              <a:xfrm>
                <a:off x="2045230" y="-937158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9F7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B6FEF5DF-F3ED-5E90-F8D8-F2FEAAC406D2}"/>
                  </a:ext>
                </a:extLst>
              </p:cNvPr>
              <p:cNvSpPr/>
              <p:nvPr/>
            </p:nvSpPr>
            <p:spPr>
              <a:xfrm>
                <a:off x="2045230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FED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AC545A4A-27E1-9379-3F33-7F1AE5F209B3}"/>
                  </a:ext>
                </a:extLst>
              </p:cNvPr>
              <p:cNvSpPr/>
              <p:nvPr/>
            </p:nvSpPr>
            <p:spPr>
              <a:xfrm>
                <a:off x="2045230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5E3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B9E58BE6-80F3-C0EF-CA4D-E888090CB0A1}"/>
                  </a:ext>
                </a:extLst>
              </p:cNvPr>
              <p:cNvSpPr/>
              <p:nvPr/>
            </p:nvSpPr>
            <p:spPr>
              <a:xfrm>
                <a:off x="2045230" y="-1663170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CFC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7B01F88A-9817-916B-B582-81DD5571C920}"/>
                  </a:ext>
                </a:extLst>
              </p:cNvPr>
              <p:cNvSpPr/>
              <p:nvPr/>
            </p:nvSpPr>
            <p:spPr>
              <a:xfrm>
                <a:off x="2045230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BD9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660390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rafik 8">
            <a:extLst>
              <a:ext uri="{FF2B5EF4-FFF2-40B4-BE49-F238E27FC236}">
                <a16:creationId xmlns:a16="http://schemas.microsoft.com/office/drawing/2014/main" id="{1286B1CC-555E-1833-97B1-15B34C8A8BE5}"/>
              </a:ext>
            </a:extLst>
          </p:cNvPr>
          <p:cNvSpPr/>
          <p:nvPr userDrawn="1"/>
        </p:nvSpPr>
        <p:spPr>
          <a:xfrm>
            <a:off x="5394251" y="0"/>
            <a:ext cx="6386623" cy="5095982"/>
          </a:xfrm>
          <a:custGeom>
            <a:avLst/>
            <a:gdLst>
              <a:gd name="connsiteX0" fmla="*/ 3854415 w 4789532"/>
              <a:gd name="connsiteY0" fmla="*/ 631793 h 3821639"/>
              <a:gd name="connsiteX1" fmla="*/ 4431859 w 4789532"/>
              <a:gd name="connsiteY1" fmla="*/ 1715929 h 3821639"/>
              <a:gd name="connsiteX2" fmla="*/ 3854415 w 4789532"/>
              <a:gd name="connsiteY2" fmla="*/ 2800045 h 3821639"/>
              <a:gd name="connsiteX3" fmla="*/ 4212079 w 4789532"/>
              <a:gd name="connsiteY3" fmla="*/ 2800045 h 3821639"/>
              <a:gd name="connsiteX4" fmla="*/ 4789532 w 4789532"/>
              <a:gd name="connsiteY4" fmla="*/ 1715929 h 3821639"/>
              <a:gd name="connsiteX5" fmla="*/ 4212079 w 4789532"/>
              <a:gd name="connsiteY5" fmla="*/ 631793 h 3821639"/>
              <a:gd name="connsiteX6" fmla="*/ 3854415 w 4789532"/>
              <a:gd name="connsiteY6" fmla="*/ 631793 h 3821639"/>
              <a:gd name="connsiteX7" fmla="*/ 853631 w 4789532"/>
              <a:gd name="connsiteY7" fmla="*/ 0 h 3821639"/>
              <a:gd name="connsiteX8" fmla="*/ 0 w 4789532"/>
              <a:gd name="connsiteY8" fmla="*/ 1684877 h 3821639"/>
              <a:gd name="connsiteX9" fmla="*/ 1129532 w 4789532"/>
              <a:gd name="connsiteY9" fmla="*/ 3821640 h 3821639"/>
              <a:gd name="connsiteX10" fmla="*/ 3540747 w 4789532"/>
              <a:gd name="connsiteY10" fmla="*/ 3821640 h 3821639"/>
              <a:gd name="connsiteX11" fmla="*/ 3540747 w 4789532"/>
              <a:gd name="connsiteY11" fmla="*/ 3500142 h 3821639"/>
              <a:gd name="connsiteX12" fmla="*/ 1323270 w 4789532"/>
              <a:gd name="connsiteY12" fmla="*/ 3500142 h 3821639"/>
              <a:gd name="connsiteX13" fmla="*/ 362036 w 4789532"/>
              <a:gd name="connsiteY13" fmla="*/ 1681782 h 3821639"/>
              <a:gd name="connsiteX14" fmla="*/ 1214095 w 4789532"/>
              <a:gd name="connsiteY14" fmla="*/ 0 h 3821639"/>
              <a:gd name="connsiteX15" fmla="*/ 853631 w 4789532"/>
              <a:gd name="connsiteY15" fmla="*/ 0 h 3821639"/>
              <a:gd name="connsiteX16" fmla="*/ 3218888 w 4789532"/>
              <a:gd name="connsiteY16" fmla="*/ 0 h 3821639"/>
              <a:gd name="connsiteX17" fmla="*/ 3218888 w 4789532"/>
              <a:gd name="connsiteY17" fmla="*/ 917000 h 3821639"/>
              <a:gd name="connsiteX18" fmla="*/ 2372601 w 4789532"/>
              <a:gd name="connsiteY18" fmla="*/ 917000 h 3821639"/>
              <a:gd name="connsiteX19" fmla="*/ 2372601 w 4789532"/>
              <a:gd name="connsiteY19" fmla="*/ 0 h 3821639"/>
              <a:gd name="connsiteX20" fmla="*/ 2048713 w 4789532"/>
              <a:gd name="connsiteY20" fmla="*/ 0 h 3821639"/>
              <a:gd name="connsiteX21" fmla="*/ 2048713 w 4789532"/>
              <a:gd name="connsiteY21" fmla="*/ 2105949 h 3821639"/>
              <a:gd name="connsiteX22" fmla="*/ 2372601 w 4789532"/>
              <a:gd name="connsiteY22" fmla="*/ 2105949 h 3821639"/>
              <a:gd name="connsiteX23" fmla="*/ 2372601 w 4789532"/>
              <a:gd name="connsiteY23" fmla="*/ 1204246 h 3821639"/>
              <a:gd name="connsiteX24" fmla="*/ 3218888 w 4789532"/>
              <a:gd name="connsiteY24" fmla="*/ 1204246 h 3821639"/>
              <a:gd name="connsiteX25" fmla="*/ 3218888 w 4789532"/>
              <a:gd name="connsiteY25" fmla="*/ 2105949 h 3821639"/>
              <a:gd name="connsiteX26" fmla="*/ 3542757 w 4789532"/>
              <a:gd name="connsiteY26" fmla="*/ 2105949 h 3821639"/>
              <a:gd name="connsiteX27" fmla="*/ 3542757 w 4789532"/>
              <a:gd name="connsiteY27" fmla="*/ 0 h 3821639"/>
              <a:gd name="connsiteX28" fmla="*/ 3218888 w 4789532"/>
              <a:gd name="connsiteY28" fmla="*/ 0 h 3821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789532" h="3821639">
                <a:moveTo>
                  <a:pt x="3854415" y="631793"/>
                </a:moveTo>
                <a:lnTo>
                  <a:pt x="4431859" y="1715929"/>
                </a:lnTo>
                <a:lnTo>
                  <a:pt x="3854415" y="2800045"/>
                </a:lnTo>
                <a:lnTo>
                  <a:pt x="4212079" y="2800045"/>
                </a:lnTo>
                <a:lnTo>
                  <a:pt x="4789532" y="1715929"/>
                </a:lnTo>
                <a:lnTo>
                  <a:pt x="4212079" y="631793"/>
                </a:lnTo>
                <a:lnTo>
                  <a:pt x="3854415" y="631793"/>
                </a:lnTo>
                <a:close/>
                <a:moveTo>
                  <a:pt x="853631" y="0"/>
                </a:moveTo>
                <a:lnTo>
                  <a:pt x="0" y="1684877"/>
                </a:lnTo>
                <a:lnTo>
                  <a:pt x="1129532" y="3821640"/>
                </a:lnTo>
                <a:lnTo>
                  <a:pt x="3540747" y="3821640"/>
                </a:lnTo>
                <a:lnTo>
                  <a:pt x="3540747" y="3500142"/>
                </a:lnTo>
                <a:lnTo>
                  <a:pt x="1323270" y="3500142"/>
                </a:lnTo>
                <a:lnTo>
                  <a:pt x="362036" y="1681782"/>
                </a:lnTo>
                <a:lnTo>
                  <a:pt x="1214095" y="0"/>
                </a:lnTo>
                <a:lnTo>
                  <a:pt x="853631" y="0"/>
                </a:lnTo>
                <a:close/>
                <a:moveTo>
                  <a:pt x="3218888" y="0"/>
                </a:moveTo>
                <a:lnTo>
                  <a:pt x="3218888" y="917000"/>
                </a:lnTo>
                <a:lnTo>
                  <a:pt x="2372601" y="917000"/>
                </a:lnTo>
                <a:lnTo>
                  <a:pt x="2372601" y="0"/>
                </a:lnTo>
                <a:lnTo>
                  <a:pt x="2048713" y="0"/>
                </a:lnTo>
                <a:lnTo>
                  <a:pt x="2048713" y="2105949"/>
                </a:lnTo>
                <a:lnTo>
                  <a:pt x="2372601" y="2105949"/>
                </a:lnTo>
                <a:lnTo>
                  <a:pt x="2372601" y="1204246"/>
                </a:lnTo>
                <a:lnTo>
                  <a:pt x="3218888" y="1204246"/>
                </a:lnTo>
                <a:lnTo>
                  <a:pt x="3218888" y="2105949"/>
                </a:lnTo>
                <a:lnTo>
                  <a:pt x="3542757" y="2105949"/>
                </a:lnTo>
                <a:lnTo>
                  <a:pt x="3542757" y="0"/>
                </a:lnTo>
                <a:lnTo>
                  <a:pt x="3218888" y="0"/>
                </a:lnTo>
                <a:close/>
              </a:path>
            </a:pathLst>
          </a:custGeom>
          <a:solidFill>
            <a:schemeClr val="bg2"/>
          </a:solidFill>
          <a:ln w="8192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3603C14-B647-D952-0A46-E733581512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8812" y="1449388"/>
            <a:ext cx="10874376" cy="2840160"/>
          </a:xfrm>
        </p:spPr>
        <p:txBody>
          <a:bodyPr anchor="b"/>
          <a:lstStyle>
            <a:lvl1pPr algn="l">
              <a:lnSpc>
                <a:spcPct val="100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GB" noProof="0"/>
              <a:t>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018AD78-2874-B23F-93A7-6840BB4D3A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58812" y="4511154"/>
            <a:ext cx="10874375" cy="1124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28" name="Textplatzhalter 8">
            <a:extLst>
              <a:ext uri="{FF2B5EF4-FFF2-40B4-BE49-F238E27FC236}">
                <a16:creationId xmlns:a16="http://schemas.microsoft.com/office/drawing/2014/main" id="{53D9BB8E-50FC-4015-0F7C-91AE1E6DD6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3" y="5857092"/>
            <a:ext cx="10874374" cy="540533"/>
          </a:xfrm>
        </p:spPr>
        <p:txBody>
          <a:bodyPr anchor="b"/>
          <a:lstStyle>
            <a:lvl1pPr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/>
            </a:lvl2pPr>
          </a:lstStyle>
          <a:p>
            <a:pPr lvl="0"/>
            <a:r>
              <a:rPr lang="en-GB" noProof="0"/>
              <a:t>date or author or title/role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32584095-B234-1CD4-D20F-6C1C5E412B33}"/>
              </a:ext>
            </a:extLst>
          </p:cNvPr>
          <p:cNvGrpSpPr/>
          <p:nvPr userDrawn="1"/>
        </p:nvGrpSpPr>
        <p:grpSpPr>
          <a:xfrm rot="5400000">
            <a:off x="-3617983" y="3323777"/>
            <a:ext cx="6854690" cy="213756"/>
            <a:chOff x="-1" y="-286346"/>
            <a:chExt cx="5820565" cy="181508"/>
          </a:xfrm>
        </p:grpSpPr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DDDE7D3A-C903-B588-ED5B-A281D38EBE1E}"/>
                </a:ext>
              </a:extLst>
            </p:cNvPr>
            <p:cNvGrpSpPr/>
            <p:nvPr userDrawn="1"/>
          </p:nvGrpSpPr>
          <p:grpSpPr>
            <a:xfrm rot="16200000">
              <a:off x="363007" y="-649354"/>
              <a:ext cx="181503" cy="907520"/>
              <a:chOff x="1319213" y="-1663170"/>
              <a:chExt cx="181503" cy="907520"/>
            </a:xfrm>
          </p:grpSpPr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2131E9EA-538A-4EC6-98FC-91EBBB06193C}"/>
                  </a:ext>
                </a:extLst>
              </p:cNvPr>
              <p:cNvSpPr/>
              <p:nvPr/>
            </p:nvSpPr>
            <p:spPr>
              <a:xfrm>
                <a:off x="1319213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44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3CE8BBF3-05B8-9E9E-4A29-96F0D02ACD7F}"/>
                  </a:ext>
                </a:extLst>
              </p:cNvPr>
              <p:cNvSpPr/>
              <p:nvPr/>
            </p:nvSpPr>
            <p:spPr>
              <a:xfrm>
                <a:off x="1319213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69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317CF185-0566-B533-A663-13BC67A90739}"/>
                  </a:ext>
                </a:extLst>
              </p:cNvPr>
              <p:cNvSpPr/>
              <p:nvPr/>
            </p:nvSpPr>
            <p:spPr>
              <a:xfrm>
                <a:off x="1319213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FE8F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87668EB9-BAEB-27FF-33BB-4FFEBFFED09B}"/>
                  </a:ext>
                </a:extLst>
              </p:cNvPr>
              <p:cNvSpPr/>
              <p:nvPr/>
            </p:nvSpPr>
            <p:spPr>
              <a:xfrm>
                <a:off x="1319213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B4B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4C4D4B54-BA87-D8B8-6DCD-25EC7B90D100}"/>
                  </a:ext>
                </a:extLst>
              </p:cNvPr>
              <p:cNvSpPr/>
              <p:nvPr/>
            </p:nvSpPr>
            <p:spPr>
              <a:xfrm>
                <a:off x="1319213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D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8A7F376B-6ABA-8465-6277-3AD8D27DE928}"/>
                </a:ext>
              </a:extLst>
            </p:cNvPr>
            <p:cNvGrpSpPr/>
            <p:nvPr userDrawn="1"/>
          </p:nvGrpSpPr>
          <p:grpSpPr>
            <a:xfrm rot="16200000">
              <a:off x="1345616" y="-649354"/>
              <a:ext cx="181503" cy="907520"/>
              <a:chOff x="1319213" y="-664912"/>
              <a:chExt cx="181503" cy="907520"/>
            </a:xfrm>
          </p:grpSpPr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FDB6D491-B343-678B-BC52-7567910810B0}"/>
                  </a:ext>
                </a:extLst>
              </p:cNvPr>
              <p:cNvSpPr/>
              <p:nvPr/>
            </p:nvSpPr>
            <p:spPr>
              <a:xfrm>
                <a:off x="1319213" y="-66491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6400A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CB1534DF-B52F-2039-06D0-218C62DD1EA1}"/>
                  </a:ext>
                </a:extLst>
              </p:cNvPr>
              <p:cNvSpPr/>
              <p:nvPr/>
            </p:nvSpPr>
            <p:spPr>
              <a:xfrm>
                <a:off x="1319213" y="-483404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33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535D285F-F79E-DEC0-BB21-72F38CC1BEB3}"/>
                  </a:ext>
                </a:extLst>
              </p:cNvPr>
              <p:cNvSpPr/>
              <p:nvPr/>
            </p:nvSpPr>
            <p:spPr>
              <a:xfrm>
                <a:off x="1319213" y="-30189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266C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F79FAC19-C99F-EADF-8021-F0DD8E88D7AD}"/>
                  </a:ext>
                </a:extLst>
              </p:cNvPr>
              <p:cNvSpPr/>
              <p:nvPr/>
            </p:nvSpPr>
            <p:spPr>
              <a:xfrm>
                <a:off x="1319213" y="-120387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199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A7C799CB-2479-03BA-E429-5FF02A0DD574}"/>
                  </a:ext>
                </a:extLst>
              </p:cNvPr>
              <p:cNvSpPr/>
              <p:nvPr/>
            </p:nvSpPr>
            <p:spPr>
              <a:xfrm>
                <a:off x="1319213" y="6110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0CC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30C70063-E77C-3DF1-54AD-0D61B1460C23}"/>
                </a:ext>
              </a:extLst>
            </p:cNvPr>
            <p:cNvGrpSpPr/>
            <p:nvPr userDrawn="1"/>
          </p:nvGrpSpPr>
          <p:grpSpPr>
            <a:xfrm rot="16200000">
              <a:off x="2328223" y="-649352"/>
              <a:ext cx="181508" cy="907520"/>
              <a:chOff x="1682219" y="-1663170"/>
              <a:chExt cx="181508" cy="907520"/>
            </a:xfrm>
          </p:grpSpPr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3BF088D0-392C-98B4-1898-805EEA068F50}"/>
                  </a:ext>
                </a:extLst>
              </p:cNvPr>
              <p:cNvSpPr/>
              <p:nvPr/>
            </p:nvSpPr>
            <p:spPr>
              <a:xfrm>
                <a:off x="1682219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CC8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A6291F1C-BFA9-9D65-1F19-5C2DC8145821}"/>
                  </a:ext>
                </a:extLst>
              </p:cNvPr>
              <p:cNvSpPr/>
              <p:nvPr/>
            </p:nvSpPr>
            <p:spPr>
              <a:xfrm>
                <a:off x="1682224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3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A080D428-0E89-5A7D-EBE1-9831E3E7CA52}"/>
                  </a:ext>
                </a:extLst>
              </p:cNvPr>
              <p:cNvSpPr/>
              <p:nvPr/>
            </p:nvSpPr>
            <p:spPr>
              <a:xfrm>
                <a:off x="1682224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ADE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E71F54F0-AC45-EB5E-46E8-1A0C0EE7CEDC}"/>
                  </a:ext>
                </a:extLst>
              </p:cNvPr>
              <p:cNvSpPr/>
              <p:nvPr/>
            </p:nvSpPr>
            <p:spPr>
              <a:xfrm>
                <a:off x="1682224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E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E7CCDEAD-5A86-B8F2-042B-2FFDCA5AA9DF}"/>
                  </a:ext>
                </a:extLst>
              </p:cNvPr>
              <p:cNvSpPr/>
              <p:nvPr/>
            </p:nvSpPr>
            <p:spPr>
              <a:xfrm>
                <a:off x="1682219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8F4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4E4A5DB7-505B-4DCC-33C5-C06E645C7EF8}"/>
                </a:ext>
              </a:extLst>
            </p:cNvPr>
            <p:cNvGrpSpPr/>
            <p:nvPr userDrawn="1"/>
          </p:nvGrpSpPr>
          <p:grpSpPr>
            <a:xfrm rot="16200000">
              <a:off x="5276052" y="-649354"/>
              <a:ext cx="181503" cy="907520"/>
              <a:chOff x="2226738" y="-1663170"/>
              <a:chExt cx="181503" cy="907520"/>
            </a:xfrm>
          </p:grpSpPr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058733BC-072C-CA92-93B6-D035798D4830}"/>
                  </a:ext>
                </a:extLst>
              </p:cNvPr>
              <p:cNvSpPr/>
              <p:nvPr/>
            </p:nvSpPr>
            <p:spPr>
              <a:xfrm>
                <a:off x="2226738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44B2667A-62C8-5DEF-15B5-A6E3C1E2E748}"/>
                  </a:ext>
                </a:extLst>
              </p:cNvPr>
              <p:cNvSpPr/>
              <p:nvPr/>
            </p:nvSpPr>
            <p:spPr>
              <a:xfrm>
                <a:off x="2226738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5757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17E04010-5F57-F118-C6DB-5E3CD6A169BF}"/>
                  </a:ext>
                </a:extLst>
              </p:cNvPr>
              <p:cNvSpPr/>
              <p:nvPr/>
            </p:nvSpPr>
            <p:spPr>
              <a:xfrm>
                <a:off x="2226738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8787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B004C5AE-18C1-1F3B-906B-5B6F31C1CD60}"/>
                  </a:ext>
                </a:extLst>
              </p:cNvPr>
              <p:cNvSpPr/>
              <p:nvPr/>
            </p:nvSpPr>
            <p:spPr>
              <a:xfrm>
                <a:off x="2226738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2B2B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981C0890-0DB2-F7DB-5521-D0A4601845F1}"/>
                  </a:ext>
                </a:extLst>
              </p:cNvPr>
              <p:cNvSpPr/>
              <p:nvPr/>
            </p:nvSpPr>
            <p:spPr>
              <a:xfrm>
                <a:off x="2226738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DA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67CB7B91-6912-B010-357C-B69CBB960DE1}"/>
                </a:ext>
              </a:extLst>
            </p:cNvPr>
            <p:cNvGrpSpPr/>
            <p:nvPr userDrawn="1"/>
          </p:nvGrpSpPr>
          <p:grpSpPr>
            <a:xfrm rot="16200000">
              <a:off x="3310834" y="-649354"/>
              <a:ext cx="181503" cy="907520"/>
              <a:chOff x="1863727" y="-1663170"/>
              <a:chExt cx="181503" cy="907520"/>
            </a:xfrm>
          </p:grpSpPr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46B9F04C-8BA9-1C31-A6F0-5446871F380D}"/>
                  </a:ext>
                </a:extLst>
              </p:cNvPr>
              <p:cNvSpPr/>
              <p:nvPr/>
            </p:nvSpPr>
            <p:spPr>
              <a:xfrm>
                <a:off x="1863727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2A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F0207AA4-73F1-D5EF-3F71-8EBF36A6308E}"/>
                  </a:ext>
                </a:extLst>
              </p:cNvPr>
              <p:cNvSpPr/>
              <p:nvPr/>
            </p:nvSpPr>
            <p:spPr>
              <a:xfrm>
                <a:off x="1863727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5DB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20B4A6AA-8914-7002-FC46-412C65F964AF}"/>
                  </a:ext>
                </a:extLst>
              </p:cNvPr>
              <p:cNvSpPr/>
              <p:nvPr/>
            </p:nvSpPr>
            <p:spPr>
              <a:xfrm>
                <a:off x="1863727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8E4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CC9D4CDD-EECE-70F1-0EDC-0304DDEB9D65}"/>
                  </a:ext>
                </a:extLst>
              </p:cNvPr>
              <p:cNvSpPr/>
              <p:nvPr/>
            </p:nvSpPr>
            <p:spPr>
              <a:xfrm>
                <a:off x="1863727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ED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2F4CF264-8E48-49F6-2045-00AA6B327A8A}"/>
                  </a:ext>
                </a:extLst>
              </p:cNvPr>
              <p:cNvSpPr/>
              <p:nvPr/>
            </p:nvSpPr>
            <p:spPr>
              <a:xfrm>
                <a:off x="1863727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DF6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4F7800AC-5132-2F98-F720-7A47A1EEC76D}"/>
                </a:ext>
              </a:extLst>
            </p:cNvPr>
            <p:cNvGrpSpPr/>
            <p:nvPr userDrawn="1"/>
          </p:nvGrpSpPr>
          <p:grpSpPr>
            <a:xfrm rot="16200000">
              <a:off x="4293441" y="-649352"/>
              <a:ext cx="181508" cy="907520"/>
              <a:chOff x="2045230" y="-1663170"/>
              <a:chExt cx="181508" cy="907520"/>
            </a:xfrm>
          </p:grpSpPr>
          <p:sp>
            <p:nvSpPr>
              <p:cNvPr id="12" name="Freihandform: Form 11">
                <a:extLst>
                  <a:ext uri="{FF2B5EF4-FFF2-40B4-BE49-F238E27FC236}">
                    <a16:creationId xmlns:a16="http://schemas.microsoft.com/office/drawing/2014/main" id="{E799F5AD-2EC1-100B-AA7C-3AE9EAAB6C72}"/>
                  </a:ext>
                </a:extLst>
              </p:cNvPr>
              <p:cNvSpPr/>
              <p:nvPr/>
            </p:nvSpPr>
            <p:spPr>
              <a:xfrm>
                <a:off x="2045230" y="-937158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9F7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3" name="Freihandform: Form 12">
                <a:extLst>
                  <a:ext uri="{FF2B5EF4-FFF2-40B4-BE49-F238E27FC236}">
                    <a16:creationId xmlns:a16="http://schemas.microsoft.com/office/drawing/2014/main" id="{EAA00458-2D0F-D07A-E461-BDCF4A47B5B6}"/>
                  </a:ext>
                </a:extLst>
              </p:cNvPr>
              <p:cNvSpPr/>
              <p:nvPr/>
            </p:nvSpPr>
            <p:spPr>
              <a:xfrm>
                <a:off x="2045230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FED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4" name="Freihandform: Form 13">
                <a:extLst>
                  <a:ext uri="{FF2B5EF4-FFF2-40B4-BE49-F238E27FC236}">
                    <a16:creationId xmlns:a16="http://schemas.microsoft.com/office/drawing/2014/main" id="{3FF4E0FC-4F23-0B0F-76BF-DBE06B771846}"/>
                  </a:ext>
                </a:extLst>
              </p:cNvPr>
              <p:cNvSpPr/>
              <p:nvPr/>
            </p:nvSpPr>
            <p:spPr>
              <a:xfrm>
                <a:off x="2045230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5E3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" name="Freihandform: Form 14">
                <a:extLst>
                  <a:ext uri="{FF2B5EF4-FFF2-40B4-BE49-F238E27FC236}">
                    <a16:creationId xmlns:a16="http://schemas.microsoft.com/office/drawing/2014/main" id="{CC2A484A-E921-878A-DE75-FA17BAD6C19C}"/>
                  </a:ext>
                </a:extLst>
              </p:cNvPr>
              <p:cNvSpPr/>
              <p:nvPr/>
            </p:nvSpPr>
            <p:spPr>
              <a:xfrm>
                <a:off x="2045230" y="-1663170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CFC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" name="Freihandform: Form 15">
                <a:extLst>
                  <a:ext uri="{FF2B5EF4-FFF2-40B4-BE49-F238E27FC236}">
                    <a16:creationId xmlns:a16="http://schemas.microsoft.com/office/drawing/2014/main" id="{364A6FD9-13FD-7DC0-DA80-1CD703744C12}"/>
                  </a:ext>
                </a:extLst>
              </p:cNvPr>
              <p:cNvSpPr/>
              <p:nvPr/>
            </p:nvSpPr>
            <p:spPr>
              <a:xfrm>
                <a:off x="2045230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BD9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72F8A585-95E7-2DEB-67E7-D11FA9DC84AB}"/>
              </a:ext>
            </a:extLst>
          </p:cNvPr>
          <p:cNvGrpSpPr/>
          <p:nvPr userDrawn="1"/>
        </p:nvGrpSpPr>
        <p:grpSpPr>
          <a:xfrm>
            <a:off x="661988" y="505156"/>
            <a:ext cx="2900362" cy="404728"/>
            <a:chOff x="-161925" y="-1630732"/>
            <a:chExt cx="12193587" cy="1701544"/>
          </a:xfrm>
          <a:solidFill>
            <a:schemeClr val="bg1"/>
          </a:solidFill>
        </p:grpSpPr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B09E12A9-FA25-2042-9DD7-D8729CBA0C00}"/>
                </a:ext>
              </a:extLst>
            </p:cNvPr>
            <p:cNvSpPr/>
            <p:nvPr/>
          </p:nvSpPr>
          <p:spPr>
            <a:xfrm>
              <a:off x="10774928" y="-1247713"/>
              <a:ext cx="1256734" cy="356304"/>
            </a:xfrm>
            <a:custGeom>
              <a:avLst/>
              <a:gdLst>
                <a:gd name="connsiteX0" fmla="*/ 1226823 w 1256734"/>
                <a:gd name="connsiteY0" fmla="*/ 269166 h 356304"/>
                <a:gd name="connsiteX1" fmla="*/ 1133491 w 1256734"/>
                <a:gd name="connsiteY1" fmla="*/ 316610 h 356304"/>
                <a:gd name="connsiteX2" fmla="*/ 1010248 w 1256734"/>
                <a:gd name="connsiteY2" fmla="*/ 178448 h 356304"/>
                <a:gd name="connsiteX3" fmla="*/ 1131426 w 1256734"/>
                <a:gd name="connsiteY3" fmla="*/ 39696 h 356304"/>
                <a:gd name="connsiteX4" fmla="*/ 1226823 w 1256734"/>
                <a:gd name="connsiteY4" fmla="*/ 86659 h 356304"/>
                <a:gd name="connsiteX5" fmla="*/ 1256735 w 1256734"/>
                <a:gd name="connsiteY5" fmla="*/ 58823 h 356304"/>
                <a:gd name="connsiteX6" fmla="*/ 1216553 w 1256734"/>
                <a:gd name="connsiteY6" fmla="*/ 23241 h 356304"/>
                <a:gd name="connsiteX7" fmla="*/ 1130420 w 1256734"/>
                <a:gd name="connsiteY7" fmla="*/ 0 h 356304"/>
                <a:gd name="connsiteX8" fmla="*/ 965885 w 1256734"/>
                <a:gd name="connsiteY8" fmla="*/ 178448 h 356304"/>
                <a:gd name="connsiteX9" fmla="*/ 1011783 w 1256734"/>
                <a:gd name="connsiteY9" fmla="*/ 305763 h 356304"/>
                <a:gd name="connsiteX10" fmla="*/ 1129892 w 1256734"/>
                <a:gd name="connsiteY10" fmla="*/ 356305 h 356304"/>
                <a:gd name="connsiteX11" fmla="*/ 1255676 w 1256734"/>
                <a:gd name="connsiteY11" fmla="*/ 298071 h 356304"/>
                <a:gd name="connsiteX12" fmla="*/ 1226823 w 1256734"/>
                <a:gd name="connsiteY12" fmla="*/ 269166 h 356304"/>
                <a:gd name="connsiteX13" fmla="*/ 679216 w 1256734"/>
                <a:gd name="connsiteY13" fmla="*/ 197999 h 356304"/>
                <a:gd name="connsiteX14" fmla="*/ 846824 w 1256734"/>
                <a:gd name="connsiteY14" fmla="*/ 197999 h 356304"/>
                <a:gd name="connsiteX15" fmla="*/ 846824 w 1256734"/>
                <a:gd name="connsiteY15" fmla="*/ 350105 h 356304"/>
                <a:gd name="connsiteX16" fmla="*/ 890075 w 1256734"/>
                <a:gd name="connsiteY16" fmla="*/ 350105 h 356304"/>
                <a:gd name="connsiteX17" fmla="*/ 890075 w 1256734"/>
                <a:gd name="connsiteY17" fmla="*/ 6198 h 356304"/>
                <a:gd name="connsiteX18" fmla="*/ 846824 w 1256734"/>
                <a:gd name="connsiteY18" fmla="*/ 6198 h 356304"/>
                <a:gd name="connsiteX19" fmla="*/ 846824 w 1256734"/>
                <a:gd name="connsiteY19" fmla="*/ 160920 h 356304"/>
                <a:gd name="connsiteX20" fmla="*/ 679216 w 1256734"/>
                <a:gd name="connsiteY20" fmla="*/ 160920 h 356304"/>
                <a:gd name="connsiteX21" fmla="*/ 679216 w 1256734"/>
                <a:gd name="connsiteY21" fmla="*/ 6198 h 356304"/>
                <a:gd name="connsiteX22" fmla="*/ 635912 w 1256734"/>
                <a:gd name="connsiteY22" fmla="*/ 6198 h 356304"/>
                <a:gd name="connsiteX23" fmla="*/ 635912 w 1256734"/>
                <a:gd name="connsiteY23" fmla="*/ 350105 h 356304"/>
                <a:gd name="connsiteX24" fmla="*/ 679216 w 1256734"/>
                <a:gd name="connsiteY24" fmla="*/ 350105 h 356304"/>
                <a:gd name="connsiteX25" fmla="*/ 679216 w 1256734"/>
                <a:gd name="connsiteY25" fmla="*/ 197999 h 356304"/>
                <a:gd name="connsiteX26" fmla="*/ 392018 w 1256734"/>
                <a:gd name="connsiteY26" fmla="*/ 40230 h 356304"/>
                <a:gd name="connsiteX27" fmla="*/ 476563 w 1256734"/>
                <a:gd name="connsiteY27" fmla="*/ 75813 h 356304"/>
                <a:gd name="connsiteX28" fmla="*/ 515792 w 1256734"/>
                <a:gd name="connsiteY28" fmla="*/ 181011 h 356304"/>
                <a:gd name="connsiteX29" fmla="*/ 482758 w 1256734"/>
                <a:gd name="connsiteY29" fmla="*/ 275365 h 356304"/>
                <a:gd name="connsiteX30" fmla="*/ 390960 w 1256734"/>
                <a:gd name="connsiteY30" fmla="*/ 316610 h 356304"/>
                <a:gd name="connsiteX31" fmla="*/ 267239 w 1256734"/>
                <a:gd name="connsiteY31" fmla="*/ 178448 h 356304"/>
                <a:gd name="connsiteX32" fmla="*/ 392018 w 1256734"/>
                <a:gd name="connsiteY32" fmla="*/ 40230 h 356304"/>
                <a:gd name="connsiteX33" fmla="*/ 393077 w 1256734"/>
                <a:gd name="connsiteY33" fmla="*/ 0 h 356304"/>
                <a:gd name="connsiteX34" fmla="*/ 222876 w 1256734"/>
                <a:gd name="connsiteY34" fmla="*/ 179994 h 356304"/>
                <a:gd name="connsiteX35" fmla="*/ 258982 w 1256734"/>
                <a:gd name="connsiteY35" fmla="*/ 291872 h 356304"/>
                <a:gd name="connsiteX36" fmla="*/ 392018 w 1256734"/>
                <a:gd name="connsiteY36" fmla="*/ 356305 h 356304"/>
                <a:gd name="connsiteX37" fmla="*/ 501868 w 1256734"/>
                <a:gd name="connsiteY37" fmla="*/ 315059 h 356304"/>
                <a:gd name="connsiteX38" fmla="*/ 560155 w 1256734"/>
                <a:gd name="connsiteY38" fmla="*/ 181545 h 356304"/>
                <a:gd name="connsiteX39" fmla="*/ 519921 w 1256734"/>
                <a:gd name="connsiteY39" fmla="*/ 59304 h 356304"/>
                <a:gd name="connsiteX40" fmla="*/ 393077 w 1256734"/>
                <a:gd name="connsiteY40" fmla="*/ 0 h 356304"/>
                <a:gd name="connsiteX41" fmla="*/ 43306 w 1256734"/>
                <a:gd name="connsiteY41" fmla="*/ 310946 h 356304"/>
                <a:gd name="connsiteX42" fmla="*/ 43306 w 1256734"/>
                <a:gd name="connsiteY42" fmla="*/ 6198 h 356304"/>
                <a:gd name="connsiteX43" fmla="*/ 0 w 1256734"/>
                <a:gd name="connsiteY43" fmla="*/ 6198 h 356304"/>
                <a:gd name="connsiteX44" fmla="*/ 0 w 1256734"/>
                <a:gd name="connsiteY44" fmla="*/ 350105 h 356304"/>
                <a:gd name="connsiteX45" fmla="*/ 194237 w 1256734"/>
                <a:gd name="connsiteY45" fmla="*/ 350105 h 356304"/>
                <a:gd name="connsiteX46" fmla="*/ 194237 w 1256734"/>
                <a:gd name="connsiteY46" fmla="*/ 310946 h 356304"/>
                <a:gd name="connsiteX47" fmla="*/ 43306 w 1256734"/>
                <a:gd name="connsiteY47" fmla="*/ 310946 h 35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256734" h="356304">
                  <a:moveTo>
                    <a:pt x="1226823" y="269166"/>
                  </a:moveTo>
                  <a:cubicBezTo>
                    <a:pt x="1200037" y="301650"/>
                    <a:pt x="1171131" y="316610"/>
                    <a:pt x="1133491" y="316610"/>
                  </a:cubicBezTo>
                  <a:cubicBezTo>
                    <a:pt x="1062341" y="316610"/>
                    <a:pt x="1010248" y="258371"/>
                    <a:pt x="1010248" y="178448"/>
                  </a:cubicBezTo>
                  <a:cubicBezTo>
                    <a:pt x="1010248" y="97985"/>
                    <a:pt x="1061334" y="39696"/>
                    <a:pt x="1131426" y="39696"/>
                  </a:cubicBezTo>
                  <a:cubicBezTo>
                    <a:pt x="1168008" y="39696"/>
                    <a:pt x="1193313" y="52092"/>
                    <a:pt x="1226823" y="86659"/>
                  </a:cubicBezTo>
                  <a:lnTo>
                    <a:pt x="1256735" y="58823"/>
                  </a:lnTo>
                  <a:cubicBezTo>
                    <a:pt x="1239742" y="40230"/>
                    <a:pt x="1230424" y="32003"/>
                    <a:pt x="1216553" y="23241"/>
                  </a:cubicBezTo>
                  <a:cubicBezTo>
                    <a:pt x="1191725" y="8281"/>
                    <a:pt x="1161338" y="0"/>
                    <a:pt x="1130420" y="0"/>
                  </a:cubicBezTo>
                  <a:cubicBezTo>
                    <a:pt x="1035500" y="0"/>
                    <a:pt x="965885" y="75279"/>
                    <a:pt x="965885" y="178448"/>
                  </a:cubicBezTo>
                  <a:cubicBezTo>
                    <a:pt x="965885" y="226369"/>
                    <a:pt x="982931" y="273279"/>
                    <a:pt x="1011783" y="305763"/>
                  </a:cubicBezTo>
                  <a:cubicBezTo>
                    <a:pt x="1041165" y="338782"/>
                    <a:pt x="1081928" y="356305"/>
                    <a:pt x="1129892" y="356305"/>
                  </a:cubicBezTo>
                  <a:cubicBezTo>
                    <a:pt x="1182990" y="356305"/>
                    <a:pt x="1221107" y="338782"/>
                    <a:pt x="1255676" y="298071"/>
                  </a:cubicBezTo>
                  <a:lnTo>
                    <a:pt x="1226823" y="269166"/>
                  </a:lnTo>
                  <a:close/>
                  <a:moveTo>
                    <a:pt x="679216" y="197999"/>
                  </a:moveTo>
                  <a:lnTo>
                    <a:pt x="846824" y="197999"/>
                  </a:lnTo>
                  <a:lnTo>
                    <a:pt x="846824" y="350105"/>
                  </a:lnTo>
                  <a:lnTo>
                    <a:pt x="890075" y="350105"/>
                  </a:lnTo>
                  <a:lnTo>
                    <a:pt x="890075" y="6198"/>
                  </a:lnTo>
                  <a:lnTo>
                    <a:pt x="846824" y="6198"/>
                  </a:lnTo>
                  <a:lnTo>
                    <a:pt x="846824" y="160920"/>
                  </a:lnTo>
                  <a:lnTo>
                    <a:pt x="679216" y="160920"/>
                  </a:lnTo>
                  <a:lnTo>
                    <a:pt x="679216" y="6198"/>
                  </a:lnTo>
                  <a:lnTo>
                    <a:pt x="635912" y="6198"/>
                  </a:lnTo>
                  <a:lnTo>
                    <a:pt x="635912" y="350105"/>
                  </a:lnTo>
                  <a:lnTo>
                    <a:pt x="679216" y="350105"/>
                  </a:lnTo>
                  <a:lnTo>
                    <a:pt x="679216" y="197999"/>
                  </a:lnTo>
                  <a:close/>
                  <a:moveTo>
                    <a:pt x="392018" y="40230"/>
                  </a:moveTo>
                  <a:cubicBezTo>
                    <a:pt x="422459" y="40230"/>
                    <a:pt x="453904" y="53641"/>
                    <a:pt x="476563" y="75813"/>
                  </a:cubicBezTo>
                  <a:cubicBezTo>
                    <a:pt x="503404" y="101618"/>
                    <a:pt x="515792" y="135117"/>
                    <a:pt x="515792" y="181011"/>
                  </a:cubicBezTo>
                  <a:cubicBezTo>
                    <a:pt x="515792" y="216057"/>
                    <a:pt x="502874" y="253189"/>
                    <a:pt x="482758" y="275365"/>
                  </a:cubicBezTo>
                  <a:cubicBezTo>
                    <a:pt x="459569" y="301650"/>
                    <a:pt x="425530" y="316610"/>
                    <a:pt x="390960" y="316610"/>
                  </a:cubicBezTo>
                  <a:cubicBezTo>
                    <a:pt x="319809" y="316610"/>
                    <a:pt x="267239" y="258371"/>
                    <a:pt x="267239" y="178448"/>
                  </a:cubicBezTo>
                  <a:cubicBezTo>
                    <a:pt x="267239" y="99000"/>
                    <a:pt x="320338" y="40230"/>
                    <a:pt x="392018" y="40230"/>
                  </a:cubicBezTo>
                  <a:moveTo>
                    <a:pt x="393077" y="0"/>
                  </a:moveTo>
                  <a:cubicBezTo>
                    <a:pt x="295615" y="0"/>
                    <a:pt x="222876" y="77362"/>
                    <a:pt x="222876" y="179994"/>
                  </a:cubicBezTo>
                  <a:cubicBezTo>
                    <a:pt x="222876" y="223273"/>
                    <a:pt x="235318" y="261956"/>
                    <a:pt x="258982" y="291872"/>
                  </a:cubicBezTo>
                  <a:cubicBezTo>
                    <a:pt x="290957" y="332101"/>
                    <a:pt x="340985" y="356305"/>
                    <a:pt x="392018" y="356305"/>
                  </a:cubicBezTo>
                  <a:cubicBezTo>
                    <a:pt x="431723" y="356305"/>
                    <a:pt x="470899" y="341879"/>
                    <a:pt x="501868" y="315059"/>
                  </a:cubicBezTo>
                  <a:cubicBezTo>
                    <a:pt x="539509" y="283110"/>
                    <a:pt x="560155" y="235131"/>
                    <a:pt x="560155" y="181545"/>
                  </a:cubicBezTo>
                  <a:cubicBezTo>
                    <a:pt x="560155" y="129935"/>
                    <a:pt x="547715" y="91788"/>
                    <a:pt x="519921" y="59304"/>
                  </a:cubicBezTo>
                  <a:cubicBezTo>
                    <a:pt x="486886" y="21691"/>
                    <a:pt x="440988" y="0"/>
                    <a:pt x="393077" y="0"/>
                  </a:cubicBezTo>
                  <a:moveTo>
                    <a:pt x="43306" y="310946"/>
                  </a:moveTo>
                  <a:lnTo>
                    <a:pt x="43306" y="6198"/>
                  </a:lnTo>
                  <a:lnTo>
                    <a:pt x="0" y="6198"/>
                  </a:lnTo>
                  <a:lnTo>
                    <a:pt x="0" y="350105"/>
                  </a:lnTo>
                  <a:lnTo>
                    <a:pt x="194237" y="350105"/>
                  </a:lnTo>
                  <a:lnTo>
                    <a:pt x="194237" y="310946"/>
                  </a:lnTo>
                  <a:lnTo>
                    <a:pt x="43306" y="310946"/>
                  </a:lnTo>
                  <a:close/>
                </a:path>
              </a:pathLst>
            </a:custGeom>
            <a:solidFill>
              <a:schemeClr val="accent2"/>
            </a:solidFill>
            <a:ln w="529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GB" noProof="0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823E5250-3087-0038-9B58-9DC00D9118D0}"/>
                </a:ext>
              </a:extLst>
            </p:cNvPr>
            <p:cNvSpPr/>
            <p:nvPr/>
          </p:nvSpPr>
          <p:spPr>
            <a:xfrm>
              <a:off x="-161925" y="-1630732"/>
              <a:ext cx="10575647" cy="1701544"/>
            </a:xfrm>
            <a:custGeom>
              <a:avLst/>
              <a:gdLst>
                <a:gd name="connsiteX0" fmla="*/ 7802033 w 10575647"/>
                <a:gd name="connsiteY0" fmla="*/ 380187 h 1701544"/>
                <a:gd name="connsiteX1" fmla="*/ 7621138 w 10575647"/>
                <a:gd name="connsiteY1" fmla="*/ 380187 h 1701544"/>
                <a:gd name="connsiteX2" fmla="*/ 7621138 w 10575647"/>
                <a:gd name="connsiteY2" fmla="*/ 1271563 h 1701544"/>
                <a:gd name="connsiteX3" fmla="*/ 7802033 w 10575647"/>
                <a:gd name="connsiteY3" fmla="*/ 1271563 h 1701544"/>
                <a:gd name="connsiteX4" fmla="*/ 7802033 w 10575647"/>
                <a:gd name="connsiteY4" fmla="*/ 380187 h 1701544"/>
                <a:gd name="connsiteX5" fmla="*/ 706522 w 10575647"/>
                <a:gd name="connsiteY5" fmla="*/ 1271563 h 1701544"/>
                <a:gd name="connsiteX6" fmla="*/ 902065 w 10575647"/>
                <a:gd name="connsiteY6" fmla="*/ 1271563 h 1701544"/>
                <a:gd name="connsiteX7" fmla="*/ 902065 w 10575647"/>
                <a:gd name="connsiteY7" fmla="*/ 0 h 1701544"/>
                <a:gd name="connsiteX8" fmla="*/ 706522 w 10575647"/>
                <a:gd name="connsiteY8" fmla="*/ 0 h 1701544"/>
                <a:gd name="connsiteX9" fmla="*/ 706522 w 10575647"/>
                <a:gd name="connsiteY9" fmla="*/ 553717 h 1701544"/>
                <a:gd name="connsiteX10" fmla="*/ 195543 w 10575647"/>
                <a:gd name="connsiteY10" fmla="*/ 553717 h 1701544"/>
                <a:gd name="connsiteX11" fmla="*/ 195543 w 10575647"/>
                <a:gd name="connsiteY11" fmla="*/ 0 h 1701544"/>
                <a:gd name="connsiteX12" fmla="*/ 0 w 10575647"/>
                <a:gd name="connsiteY12" fmla="*/ 0 h 1701544"/>
                <a:gd name="connsiteX13" fmla="*/ 0 w 10575647"/>
                <a:gd name="connsiteY13" fmla="*/ 1271563 h 1701544"/>
                <a:gd name="connsiteX14" fmla="*/ 195543 w 10575647"/>
                <a:gd name="connsiteY14" fmla="*/ 1271563 h 1701544"/>
                <a:gd name="connsiteX15" fmla="*/ 195543 w 10575647"/>
                <a:gd name="connsiteY15" fmla="*/ 727142 h 1701544"/>
                <a:gd name="connsiteX16" fmla="*/ 706522 w 10575647"/>
                <a:gd name="connsiteY16" fmla="*/ 727142 h 1701544"/>
                <a:gd name="connsiteX17" fmla="*/ 706522 w 10575647"/>
                <a:gd name="connsiteY17" fmla="*/ 1271563 h 1701544"/>
                <a:gd name="connsiteX18" fmla="*/ 1306185 w 10575647"/>
                <a:gd name="connsiteY18" fmla="*/ 1690649 h 1701544"/>
                <a:gd name="connsiteX19" fmla="*/ 1654904 w 10575647"/>
                <a:gd name="connsiteY19" fmla="*/ 1036061 h 1701544"/>
                <a:gd name="connsiteX20" fmla="*/ 1306185 w 10575647"/>
                <a:gd name="connsiteY20" fmla="*/ 381469 h 1701544"/>
                <a:gd name="connsiteX21" fmla="*/ 1090234 w 10575647"/>
                <a:gd name="connsiteY21" fmla="*/ 381469 h 1701544"/>
                <a:gd name="connsiteX22" fmla="*/ 1438900 w 10575647"/>
                <a:gd name="connsiteY22" fmla="*/ 1036061 h 1701544"/>
                <a:gd name="connsiteX23" fmla="*/ 1090234 w 10575647"/>
                <a:gd name="connsiteY23" fmla="*/ 1690649 h 1701544"/>
                <a:gd name="connsiteX24" fmla="*/ 1306185 w 10575647"/>
                <a:gd name="connsiteY24" fmla="*/ 1690649 h 1701544"/>
                <a:gd name="connsiteX25" fmla="*/ 2581808 w 10575647"/>
                <a:gd name="connsiteY25" fmla="*/ 828654 h 1701544"/>
                <a:gd name="connsiteX26" fmla="*/ 2317883 w 10575647"/>
                <a:gd name="connsiteY26" fmla="*/ 1129505 h 1701544"/>
                <a:gd name="connsiteX27" fmla="*/ 2065011 w 10575647"/>
                <a:gd name="connsiteY27" fmla="*/ 832338 h 1701544"/>
                <a:gd name="connsiteX28" fmla="*/ 2327068 w 10575647"/>
                <a:gd name="connsiteY28" fmla="*/ 525990 h 1701544"/>
                <a:gd name="connsiteX29" fmla="*/ 2581808 w 10575647"/>
                <a:gd name="connsiteY29" fmla="*/ 828654 h 1701544"/>
                <a:gd name="connsiteX30" fmla="*/ 2581808 w 10575647"/>
                <a:gd name="connsiteY30" fmla="*/ 1271563 h 1701544"/>
                <a:gd name="connsiteX31" fmla="*/ 2762608 w 10575647"/>
                <a:gd name="connsiteY31" fmla="*/ 1271563 h 1701544"/>
                <a:gd name="connsiteX32" fmla="*/ 2762608 w 10575647"/>
                <a:gd name="connsiteY32" fmla="*/ 0 h 1701544"/>
                <a:gd name="connsiteX33" fmla="*/ 2581808 w 10575647"/>
                <a:gd name="connsiteY33" fmla="*/ 0 h 1701544"/>
                <a:gd name="connsiteX34" fmla="*/ 2581808 w 10575647"/>
                <a:gd name="connsiteY34" fmla="*/ 476356 h 1701544"/>
                <a:gd name="connsiteX35" fmla="*/ 2297581 w 10575647"/>
                <a:gd name="connsiteY35" fmla="*/ 359885 h 1701544"/>
                <a:gd name="connsiteX36" fmla="*/ 1876785 w 10575647"/>
                <a:gd name="connsiteY36" fmla="*/ 830470 h 1701544"/>
                <a:gd name="connsiteX37" fmla="*/ 2297581 w 10575647"/>
                <a:gd name="connsiteY37" fmla="*/ 1291865 h 1701544"/>
                <a:gd name="connsiteX38" fmla="*/ 2581808 w 10575647"/>
                <a:gd name="connsiteY38" fmla="*/ 1163217 h 1701544"/>
                <a:gd name="connsiteX39" fmla="*/ 2581808 w 10575647"/>
                <a:gd name="connsiteY39" fmla="*/ 1271563 h 1701544"/>
                <a:gd name="connsiteX40" fmla="*/ 3437445 w 10575647"/>
                <a:gd name="connsiteY40" fmla="*/ 542393 h 1701544"/>
                <a:gd name="connsiteX41" fmla="*/ 3460310 w 10575647"/>
                <a:gd name="connsiteY41" fmla="*/ 545331 h 1701544"/>
                <a:gd name="connsiteX42" fmla="*/ 3460310 w 10575647"/>
                <a:gd name="connsiteY42" fmla="*/ 359885 h 1701544"/>
                <a:gd name="connsiteX43" fmla="*/ 3406830 w 10575647"/>
                <a:gd name="connsiteY43" fmla="*/ 359885 h 1701544"/>
                <a:gd name="connsiteX44" fmla="*/ 3231965 w 10575647"/>
                <a:gd name="connsiteY44" fmla="*/ 415877 h 1701544"/>
                <a:gd name="connsiteX45" fmla="*/ 3187194 w 10575647"/>
                <a:gd name="connsiteY45" fmla="*/ 462091 h 1701544"/>
                <a:gd name="connsiteX46" fmla="*/ 3187194 w 10575647"/>
                <a:gd name="connsiteY46" fmla="*/ 380187 h 1701544"/>
                <a:gd name="connsiteX47" fmla="*/ 3006395 w 10575647"/>
                <a:gd name="connsiteY47" fmla="*/ 380187 h 1701544"/>
                <a:gd name="connsiteX48" fmla="*/ 3006395 w 10575647"/>
                <a:gd name="connsiteY48" fmla="*/ 1271563 h 1701544"/>
                <a:gd name="connsiteX49" fmla="*/ 3187194 w 10575647"/>
                <a:gd name="connsiteY49" fmla="*/ 1271563 h 1701544"/>
                <a:gd name="connsiteX50" fmla="*/ 3187194 w 10575647"/>
                <a:gd name="connsiteY50" fmla="*/ 819411 h 1701544"/>
                <a:gd name="connsiteX51" fmla="*/ 3233517 w 10575647"/>
                <a:gd name="connsiteY51" fmla="*/ 629638 h 1701544"/>
                <a:gd name="connsiteX52" fmla="*/ 3401277 w 10575647"/>
                <a:gd name="connsiteY52" fmla="*/ 540683 h 1701544"/>
                <a:gd name="connsiteX53" fmla="*/ 3437445 w 10575647"/>
                <a:gd name="connsiteY53" fmla="*/ 542393 h 1701544"/>
                <a:gd name="connsiteX54" fmla="*/ 4250980 w 10575647"/>
                <a:gd name="connsiteY54" fmla="*/ 826838 h 1701544"/>
                <a:gd name="connsiteX55" fmla="*/ 3983364 w 10575647"/>
                <a:gd name="connsiteY55" fmla="*/ 1122077 h 1701544"/>
                <a:gd name="connsiteX56" fmla="*/ 3713875 w 10575647"/>
                <a:gd name="connsiteY56" fmla="*/ 826838 h 1701544"/>
                <a:gd name="connsiteX57" fmla="*/ 3985180 w 10575647"/>
                <a:gd name="connsiteY57" fmla="*/ 529677 h 1701544"/>
                <a:gd name="connsiteX58" fmla="*/ 4250980 w 10575647"/>
                <a:gd name="connsiteY58" fmla="*/ 826838 h 1701544"/>
                <a:gd name="connsiteX59" fmla="*/ 4435464 w 10575647"/>
                <a:gd name="connsiteY59" fmla="*/ 828654 h 1701544"/>
                <a:gd name="connsiteX60" fmla="*/ 3985180 w 10575647"/>
                <a:gd name="connsiteY60" fmla="*/ 359885 h 1701544"/>
                <a:gd name="connsiteX61" fmla="*/ 3529338 w 10575647"/>
                <a:gd name="connsiteY61" fmla="*/ 824916 h 1701544"/>
                <a:gd name="connsiteX62" fmla="*/ 3979622 w 10575647"/>
                <a:gd name="connsiteY62" fmla="*/ 1291865 h 1701544"/>
                <a:gd name="connsiteX63" fmla="*/ 4435464 w 10575647"/>
                <a:gd name="connsiteY63" fmla="*/ 828654 h 1701544"/>
                <a:gd name="connsiteX64" fmla="*/ 5261608 w 10575647"/>
                <a:gd name="connsiteY64" fmla="*/ 828654 h 1701544"/>
                <a:gd name="connsiteX65" fmla="*/ 5205508 w 10575647"/>
                <a:gd name="connsiteY65" fmla="*/ 1025854 h 1701544"/>
                <a:gd name="connsiteX66" fmla="*/ 5005052 w 10575647"/>
                <a:gd name="connsiteY66" fmla="*/ 1122077 h 1701544"/>
                <a:gd name="connsiteX67" fmla="*/ 4746675 w 10575647"/>
                <a:gd name="connsiteY67" fmla="*/ 823153 h 1701544"/>
                <a:gd name="connsiteX68" fmla="*/ 5008683 w 10575647"/>
                <a:gd name="connsiteY68" fmla="*/ 529677 h 1701544"/>
                <a:gd name="connsiteX69" fmla="*/ 5200378 w 10575647"/>
                <a:gd name="connsiteY69" fmla="*/ 617081 h 1701544"/>
                <a:gd name="connsiteX70" fmla="*/ 5261608 w 10575647"/>
                <a:gd name="connsiteY70" fmla="*/ 828654 h 1701544"/>
                <a:gd name="connsiteX71" fmla="*/ 5327264 w 10575647"/>
                <a:gd name="connsiteY71" fmla="*/ 1583314 h 1701544"/>
                <a:gd name="connsiteX72" fmla="*/ 5446113 w 10575647"/>
                <a:gd name="connsiteY72" fmla="*/ 1256819 h 1701544"/>
                <a:gd name="connsiteX73" fmla="*/ 5446113 w 10575647"/>
                <a:gd name="connsiteY73" fmla="*/ 380187 h 1701544"/>
                <a:gd name="connsiteX74" fmla="*/ 5265239 w 10575647"/>
                <a:gd name="connsiteY74" fmla="*/ 380187 h 1701544"/>
                <a:gd name="connsiteX75" fmla="*/ 5265239 w 10575647"/>
                <a:gd name="connsiteY75" fmla="*/ 488537 h 1701544"/>
                <a:gd name="connsiteX76" fmla="*/ 4982875 w 10575647"/>
                <a:gd name="connsiteY76" fmla="*/ 359885 h 1701544"/>
                <a:gd name="connsiteX77" fmla="*/ 4699394 w 10575647"/>
                <a:gd name="connsiteY77" fmla="*/ 465190 h 1701544"/>
                <a:gd name="connsiteX78" fmla="*/ 4558400 w 10575647"/>
                <a:gd name="connsiteY78" fmla="*/ 828654 h 1701544"/>
                <a:gd name="connsiteX79" fmla="*/ 4971816 w 10575647"/>
                <a:gd name="connsiteY79" fmla="*/ 1291865 h 1701544"/>
                <a:gd name="connsiteX80" fmla="*/ 5265239 w 10575647"/>
                <a:gd name="connsiteY80" fmla="*/ 1150553 h 1701544"/>
                <a:gd name="connsiteX81" fmla="*/ 5265239 w 10575647"/>
                <a:gd name="connsiteY81" fmla="*/ 1267931 h 1701544"/>
                <a:gd name="connsiteX82" fmla="*/ 5206095 w 10575647"/>
                <a:gd name="connsiteY82" fmla="*/ 1457116 h 1701544"/>
                <a:gd name="connsiteX83" fmla="*/ 4999546 w 10575647"/>
                <a:gd name="connsiteY83" fmla="*/ 1533625 h 1701544"/>
                <a:gd name="connsiteX84" fmla="*/ 4811695 w 10575647"/>
                <a:gd name="connsiteY84" fmla="*/ 1487409 h 1701544"/>
                <a:gd name="connsiteX85" fmla="*/ 4733588 w 10575647"/>
                <a:gd name="connsiteY85" fmla="*/ 1416300 h 1701544"/>
                <a:gd name="connsiteX86" fmla="*/ 4719215 w 10575647"/>
                <a:gd name="connsiteY86" fmla="*/ 1401339 h 1701544"/>
                <a:gd name="connsiteX87" fmla="*/ 4595103 w 10575647"/>
                <a:gd name="connsiteY87" fmla="*/ 1525451 h 1701544"/>
                <a:gd name="connsiteX88" fmla="*/ 4607819 w 10575647"/>
                <a:gd name="connsiteY88" fmla="*/ 1539824 h 1701544"/>
                <a:gd name="connsiteX89" fmla="*/ 4999546 w 10575647"/>
                <a:gd name="connsiteY89" fmla="*/ 1701544 h 1701544"/>
                <a:gd name="connsiteX90" fmla="*/ 5327264 w 10575647"/>
                <a:gd name="connsiteY90" fmla="*/ 1583314 h 1701544"/>
                <a:gd name="connsiteX91" fmla="*/ 6317923 w 10575647"/>
                <a:gd name="connsiteY91" fmla="*/ 747497 h 1701544"/>
                <a:gd name="connsiteX92" fmla="*/ 5805203 w 10575647"/>
                <a:gd name="connsiteY92" fmla="*/ 747497 h 1701544"/>
                <a:gd name="connsiteX93" fmla="*/ 5845913 w 10575647"/>
                <a:gd name="connsiteY93" fmla="*/ 635144 h 1701544"/>
                <a:gd name="connsiteX94" fmla="*/ 6057989 w 10575647"/>
                <a:gd name="connsiteY94" fmla="*/ 525990 h 1701544"/>
                <a:gd name="connsiteX95" fmla="*/ 6275730 w 10575647"/>
                <a:gd name="connsiteY95" fmla="*/ 633487 h 1701544"/>
                <a:gd name="connsiteX96" fmla="*/ 6317923 w 10575647"/>
                <a:gd name="connsiteY96" fmla="*/ 747497 h 1701544"/>
                <a:gd name="connsiteX97" fmla="*/ 6508188 w 10575647"/>
                <a:gd name="connsiteY97" fmla="*/ 872890 h 1701544"/>
                <a:gd name="connsiteX98" fmla="*/ 6510094 w 10575647"/>
                <a:gd name="connsiteY98" fmla="*/ 815779 h 1701544"/>
                <a:gd name="connsiteX99" fmla="*/ 6057989 w 10575647"/>
                <a:gd name="connsiteY99" fmla="*/ 359885 h 1701544"/>
                <a:gd name="connsiteX100" fmla="*/ 5609538 w 10575647"/>
                <a:gd name="connsiteY100" fmla="*/ 828654 h 1701544"/>
                <a:gd name="connsiteX101" fmla="*/ 6063495 w 10575647"/>
                <a:gd name="connsiteY101" fmla="*/ 1291865 h 1701544"/>
                <a:gd name="connsiteX102" fmla="*/ 6460066 w 10575647"/>
                <a:gd name="connsiteY102" fmla="*/ 1051710 h 1701544"/>
                <a:gd name="connsiteX103" fmla="*/ 6469966 w 10575647"/>
                <a:gd name="connsiteY103" fmla="*/ 1031572 h 1701544"/>
                <a:gd name="connsiteX104" fmla="*/ 6308923 w 10575647"/>
                <a:gd name="connsiteY104" fmla="*/ 971517 h 1701544"/>
                <a:gd name="connsiteX105" fmla="*/ 6300559 w 10575647"/>
                <a:gd name="connsiteY105" fmla="*/ 986689 h 1701544"/>
                <a:gd name="connsiteX106" fmla="*/ 6063495 w 10575647"/>
                <a:gd name="connsiteY106" fmla="*/ 1122077 h 1701544"/>
                <a:gd name="connsiteX107" fmla="*/ 5850784 w 10575647"/>
                <a:gd name="connsiteY107" fmla="*/ 1013832 h 1701544"/>
                <a:gd name="connsiteX108" fmla="*/ 5802132 w 10575647"/>
                <a:gd name="connsiteY108" fmla="*/ 891377 h 1701544"/>
                <a:gd name="connsiteX109" fmla="*/ 6506547 w 10575647"/>
                <a:gd name="connsiteY109" fmla="*/ 891377 h 1701544"/>
                <a:gd name="connsiteX110" fmla="*/ 6508188 w 10575647"/>
                <a:gd name="connsiteY110" fmla="*/ 872890 h 1701544"/>
                <a:gd name="connsiteX111" fmla="*/ 7205139 w 10575647"/>
                <a:gd name="connsiteY111" fmla="*/ 1271563 h 1701544"/>
                <a:gd name="connsiteX112" fmla="*/ 7385928 w 10575647"/>
                <a:gd name="connsiteY112" fmla="*/ 1271563 h 1701544"/>
                <a:gd name="connsiteX113" fmla="*/ 7385928 w 10575647"/>
                <a:gd name="connsiteY113" fmla="*/ 677294 h 1701544"/>
                <a:gd name="connsiteX114" fmla="*/ 7307154 w 10575647"/>
                <a:gd name="connsiteY114" fmla="*/ 435163 h 1701544"/>
                <a:gd name="connsiteX115" fmla="*/ 7096189 w 10575647"/>
                <a:gd name="connsiteY115" fmla="*/ 359885 h 1701544"/>
                <a:gd name="connsiteX116" fmla="*/ 6863625 w 10575647"/>
                <a:gd name="connsiteY116" fmla="*/ 463694 h 1701544"/>
                <a:gd name="connsiteX117" fmla="*/ 6863625 w 10575647"/>
                <a:gd name="connsiteY117" fmla="*/ 380187 h 1701544"/>
                <a:gd name="connsiteX118" fmla="*/ 6682836 w 10575647"/>
                <a:gd name="connsiteY118" fmla="*/ 380187 h 1701544"/>
                <a:gd name="connsiteX119" fmla="*/ 6682836 w 10575647"/>
                <a:gd name="connsiteY119" fmla="*/ 1271563 h 1701544"/>
                <a:gd name="connsiteX120" fmla="*/ 6863625 w 10575647"/>
                <a:gd name="connsiteY120" fmla="*/ 1271563 h 1701544"/>
                <a:gd name="connsiteX121" fmla="*/ 6863625 w 10575647"/>
                <a:gd name="connsiteY121" fmla="*/ 732701 h 1701544"/>
                <a:gd name="connsiteX122" fmla="*/ 6913971 w 10575647"/>
                <a:gd name="connsiteY122" fmla="*/ 591066 h 1701544"/>
                <a:gd name="connsiteX123" fmla="*/ 7061143 w 10575647"/>
                <a:gd name="connsiteY123" fmla="*/ 525990 h 1701544"/>
                <a:gd name="connsiteX124" fmla="*/ 7177769 w 10575647"/>
                <a:gd name="connsiteY124" fmla="*/ 575089 h 1701544"/>
                <a:gd name="connsiteX125" fmla="*/ 7205139 w 10575647"/>
                <a:gd name="connsiteY125" fmla="*/ 708709 h 1701544"/>
                <a:gd name="connsiteX126" fmla="*/ 7205139 w 10575647"/>
                <a:gd name="connsiteY126" fmla="*/ 1271563 h 1701544"/>
                <a:gd name="connsiteX127" fmla="*/ 7822309 w 10575647"/>
                <a:gd name="connsiteY127" fmla="*/ 162418 h 1701544"/>
                <a:gd name="connsiteX128" fmla="*/ 7713412 w 10575647"/>
                <a:gd name="connsiteY128" fmla="*/ 49847 h 1701544"/>
                <a:gd name="connsiteX129" fmla="*/ 7602662 w 10575647"/>
                <a:gd name="connsiteY129" fmla="*/ 160549 h 1701544"/>
                <a:gd name="connsiteX130" fmla="*/ 7711560 w 10575647"/>
                <a:gd name="connsiteY130" fmla="*/ 271303 h 1701544"/>
                <a:gd name="connsiteX131" fmla="*/ 7822309 w 10575647"/>
                <a:gd name="connsiteY131" fmla="*/ 162418 h 1701544"/>
                <a:gd name="connsiteX132" fmla="*/ 8704760 w 10575647"/>
                <a:gd name="connsiteY132" fmla="*/ 826838 h 1701544"/>
                <a:gd name="connsiteX133" fmla="*/ 8437150 w 10575647"/>
                <a:gd name="connsiteY133" fmla="*/ 1122077 h 1701544"/>
                <a:gd name="connsiteX134" fmla="*/ 8167740 w 10575647"/>
                <a:gd name="connsiteY134" fmla="*/ 826838 h 1701544"/>
                <a:gd name="connsiteX135" fmla="*/ 8439003 w 10575647"/>
                <a:gd name="connsiteY135" fmla="*/ 529677 h 1701544"/>
                <a:gd name="connsiteX136" fmla="*/ 8704760 w 10575647"/>
                <a:gd name="connsiteY136" fmla="*/ 826838 h 1701544"/>
                <a:gd name="connsiteX137" fmla="*/ 8889307 w 10575647"/>
                <a:gd name="connsiteY137" fmla="*/ 828654 h 1701544"/>
                <a:gd name="connsiteX138" fmla="*/ 8439003 w 10575647"/>
                <a:gd name="connsiteY138" fmla="*/ 359885 h 1701544"/>
                <a:gd name="connsiteX139" fmla="*/ 7983193 w 10575647"/>
                <a:gd name="connsiteY139" fmla="*/ 824916 h 1701544"/>
                <a:gd name="connsiteX140" fmla="*/ 8433444 w 10575647"/>
                <a:gd name="connsiteY140" fmla="*/ 1291865 h 1701544"/>
                <a:gd name="connsiteX141" fmla="*/ 8889307 w 10575647"/>
                <a:gd name="connsiteY141" fmla="*/ 828654 h 1701544"/>
                <a:gd name="connsiteX142" fmla="*/ 9658150 w 10575647"/>
                <a:gd name="connsiteY142" fmla="*/ 1197940 h 1701544"/>
                <a:gd name="connsiteX143" fmla="*/ 9749630 w 10575647"/>
                <a:gd name="connsiteY143" fmla="*/ 944968 h 1701544"/>
                <a:gd name="connsiteX144" fmla="*/ 9749630 w 10575647"/>
                <a:gd name="connsiteY144" fmla="*/ 380187 h 1701544"/>
                <a:gd name="connsiteX145" fmla="*/ 9566988 w 10575647"/>
                <a:gd name="connsiteY145" fmla="*/ 380187 h 1701544"/>
                <a:gd name="connsiteX146" fmla="*/ 9566988 w 10575647"/>
                <a:gd name="connsiteY146" fmla="*/ 944968 h 1701544"/>
                <a:gd name="connsiteX147" fmla="*/ 9535012 w 10575647"/>
                <a:gd name="connsiteY147" fmla="*/ 1068222 h 1701544"/>
                <a:gd name="connsiteX148" fmla="*/ 9399010 w 10575647"/>
                <a:gd name="connsiteY148" fmla="*/ 1125815 h 1701544"/>
                <a:gd name="connsiteX149" fmla="*/ 9229233 w 10575647"/>
                <a:gd name="connsiteY149" fmla="*/ 941225 h 1701544"/>
                <a:gd name="connsiteX150" fmla="*/ 9229233 w 10575647"/>
                <a:gd name="connsiteY150" fmla="*/ 380187 h 1701544"/>
                <a:gd name="connsiteX151" fmla="*/ 9048391 w 10575647"/>
                <a:gd name="connsiteY151" fmla="*/ 380187 h 1701544"/>
                <a:gd name="connsiteX152" fmla="*/ 9048391 w 10575647"/>
                <a:gd name="connsiteY152" fmla="*/ 944968 h 1701544"/>
                <a:gd name="connsiteX153" fmla="*/ 9139659 w 10575647"/>
                <a:gd name="connsiteY153" fmla="*/ 1195965 h 1701544"/>
                <a:gd name="connsiteX154" fmla="*/ 9399010 w 10575647"/>
                <a:gd name="connsiteY154" fmla="*/ 1291865 h 1701544"/>
                <a:gd name="connsiteX155" fmla="*/ 9658150 w 10575647"/>
                <a:gd name="connsiteY155" fmla="*/ 1197945 h 1701544"/>
                <a:gd name="connsiteX156" fmla="*/ 10385594 w 10575647"/>
                <a:gd name="connsiteY156" fmla="*/ 653307 h 1701544"/>
                <a:gd name="connsiteX157" fmla="*/ 10567335 w 10575647"/>
                <a:gd name="connsiteY157" fmla="*/ 653307 h 1701544"/>
                <a:gd name="connsiteX158" fmla="*/ 10566383 w 10575647"/>
                <a:gd name="connsiteY158" fmla="*/ 632041 h 1701544"/>
                <a:gd name="connsiteX159" fmla="*/ 10249009 w 10575647"/>
                <a:gd name="connsiteY159" fmla="*/ 359885 h 1701544"/>
                <a:gd name="connsiteX160" fmla="*/ 9929730 w 10575647"/>
                <a:gd name="connsiteY160" fmla="*/ 627446 h 1701544"/>
                <a:gd name="connsiteX161" fmla="*/ 10212587 w 10575647"/>
                <a:gd name="connsiteY161" fmla="*/ 903611 h 1701544"/>
                <a:gd name="connsiteX162" fmla="*/ 10391099 w 10575647"/>
                <a:gd name="connsiteY162" fmla="*/ 1031625 h 1701544"/>
                <a:gd name="connsiteX163" fmla="*/ 10252715 w 10575647"/>
                <a:gd name="connsiteY163" fmla="*/ 1136874 h 1701544"/>
                <a:gd name="connsiteX164" fmla="*/ 10093843 w 10575647"/>
                <a:gd name="connsiteY164" fmla="*/ 1007579 h 1701544"/>
                <a:gd name="connsiteX165" fmla="*/ 10092096 w 10575647"/>
                <a:gd name="connsiteY165" fmla="*/ 989257 h 1701544"/>
                <a:gd name="connsiteX166" fmla="*/ 9913054 w 10575647"/>
                <a:gd name="connsiteY166" fmla="*/ 989257 h 1701544"/>
                <a:gd name="connsiteX167" fmla="*/ 9915066 w 10575647"/>
                <a:gd name="connsiteY167" fmla="*/ 1011216 h 1701544"/>
                <a:gd name="connsiteX168" fmla="*/ 10252715 w 10575647"/>
                <a:gd name="connsiteY168" fmla="*/ 1291865 h 1701544"/>
                <a:gd name="connsiteX169" fmla="*/ 10575647 w 10575647"/>
                <a:gd name="connsiteY169" fmla="*/ 1024303 h 1701544"/>
                <a:gd name="connsiteX170" fmla="*/ 10501426 w 10575647"/>
                <a:gd name="connsiteY170" fmla="*/ 843879 h 1701544"/>
                <a:gd name="connsiteX171" fmla="*/ 10285750 w 10575647"/>
                <a:gd name="connsiteY171" fmla="*/ 740769 h 1701544"/>
                <a:gd name="connsiteX172" fmla="*/ 10110519 w 10575647"/>
                <a:gd name="connsiteY172" fmla="*/ 616440 h 1701544"/>
                <a:gd name="connsiteX173" fmla="*/ 10243398 w 10575647"/>
                <a:gd name="connsiteY173" fmla="*/ 514877 h 1701544"/>
                <a:gd name="connsiteX174" fmla="*/ 10385594 w 10575647"/>
                <a:gd name="connsiteY174" fmla="*/ 623762 h 1701544"/>
                <a:gd name="connsiteX175" fmla="*/ 10385594 w 10575647"/>
                <a:gd name="connsiteY175" fmla="*/ 653307 h 170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10575647" h="1701544">
                  <a:moveTo>
                    <a:pt x="7802033" y="380187"/>
                  </a:moveTo>
                  <a:lnTo>
                    <a:pt x="7621138" y="380187"/>
                  </a:lnTo>
                  <a:lnTo>
                    <a:pt x="7621138" y="1271563"/>
                  </a:lnTo>
                  <a:lnTo>
                    <a:pt x="7802033" y="1271563"/>
                  </a:lnTo>
                  <a:lnTo>
                    <a:pt x="7802033" y="380187"/>
                  </a:lnTo>
                  <a:close/>
                  <a:moveTo>
                    <a:pt x="706522" y="1271563"/>
                  </a:moveTo>
                  <a:lnTo>
                    <a:pt x="902065" y="1271563"/>
                  </a:lnTo>
                  <a:lnTo>
                    <a:pt x="902065" y="0"/>
                  </a:lnTo>
                  <a:lnTo>
                    <a:pt x="706522" y="0"/>
                  </a:lnTo>
                  <a:lnTo>
                    <a:pt x="706522" y="553717"/>
                  </a:lnTo>
                  <a:lnTo>
                    <a:pt x="195543" y="553717"/>
                  </a:lnTo>
                  <a:lnTo>
                    <a:pt x="195543" y="0"/>
                  </a:lnTo>
                  <a:lnTo>
                    <a:pt x="0" y="0"/>
                  </a:lnTo>
                  <a:lnTo>
                    <a:pt x="0" y="1271563"/>
                  </a:lnTo>
                  <a:lnTo>
                    <a:pt x="195543" y="1271563"/>
                  </a:lnTo>
                  <a:lnTo>
                    <a:pt x="195543" y="727142"/>
                  </a:lnTo>
                  <a:lnTo>
                    <a:pt x="706522" y="727142"/>
                  </a:lnTo>
                  <a:lnTo>
                    <a:pt x="706522" y="1271563"/>
                  </a:lnTo>
                  <a:close/>
                  <a:moveTo>
                    <a:pt x="1306185" y="1690649"/>
                  </a:moveTo>
                  <a:lnTo>
                    <a:pt x="1654904" y="1036061"/>
                  </a:lnTo>
                  <a:lnTo>
                    <a:pt x="1306185" y="381469"/>
                  </a:lnTo>
                  <a:lnTo>
                    <a:pt x="1090234" y="381469"/>
                  </a:lnTo>
                  <a:lnTo>
                    <a:pt x="1438900" y="1036061"/>
                  </a:lnTo>
                  <a:lnTo>
                    <a:pt x="1090234" y="1690649"/>
                  </a:lnTo>
                  <a:lnTo>
                    <a:pt x="1306185" y="1690649"/>
                  </a:lnTo>
                  <a:close/>
                  <a:moveTo>
                    <a:pt x="2581808" y="828654"/>
                  </a:moveTo>
                  <a:cubicBezTo>
                    <a:pt x="2581808" y="1002989"/>
                    <a:pt x="2470789" y="1129505"/>
                    <a:pt x="2317883" y="1129505"/>
                  </a:cubicBezTo>
                  <a:cubicBezTo>
                    <a:pt x="2168980" y="1129505"/>
                    <a:pt x="2065011" y="1007262"/>
                    <a:pt x="2065011" y="832338"/>
                  </a:cubicBezTo>
                  <a:cubicBezTo>
                    <a:pt x="2065011" y="649088"/>
                    <a:pt x="2170314" y="525990"/>
                    <a:pt x="2327068" y="525990"/>
                  </a:cubicBezTo>
                  <a:cubicBezTo>
                    <a:pt x="2479444" y="525990"/>
                    <a:pt x="2581808" y="647590"/>
                    <a:pt x="2581808" y="828654"/>
                  </a:cubicBezTo>
                  <a:moveTo>
                    <a:pt x="2581808" y="1271563"/>
                  </a:moveTo>
                  <a:lnTo>
                    <a:pt x="2762608" y="1271563"/>
                  </a:lnTo>
                  <a:lnTo>
                    <a:pt x="2762608" y="0"/>
                  </a:lnTo>
                  <a:lnTo>
                    <a:pt x="2581808" y="0"/>
                  </a:lnTo>
                  <a:lnTo>
                    <a:pt x="2581808" y="476356"/>
                  </a:lnTo>
                  <a:cubicBezTo>
                    <a:pt x="2503431" y="397017"/>
                    <a:pt x="2412449" y="359885"/>
                    <a:pt x="2297581" y="359885"/>
                  </a:cubicBezTo>
                  <a:cubicBezTo>
                    <a:pt x="2057690" y="359885"/>
                    <a:pt x="1876785" y="562214"/>
                    <a:pt x="1876785" y="830470"/>
                  </a:cubicBezTo>
                  <a:cubicBezTo>
                    <a:pt x="1876785" y="1102145"/>
                    <a:pt x="2049839" y="1291865"/>
                    <a:pt x="2297581" y="1291865"/>
                  </a:cubicBezTo>
                  <a:cubicBezTo>
                    <a:pt x="2414371" y="1291865"/>
                    <a:pt x="2503061" y="1251959"/>
                    <a:pt x="2581808" y="1163217"/>
                  </a:cubicBezTo>
                  <a:lnTo>
                    <a:pt x="2581808" y="1271563"/>
                  </a:lnTo>
                  <a:close/>
                  <a:moveTo>
                    <a:pt x="3437445" y="542393"/>
                  </a:moveTo>
                  <a:lnTo>
                    <a:pt x="3460310" y="545331"/>
                  </a:lnTo>
                  <a:lnTo>
                    <a:pt x="3460310" y="359885"/>
                  </a:lnTo>
                  <a:lnTo>
                    <a:pt x="3406830" y="359885"/>
                  </a:lnTo>
                  <a:cubicBezTo>
                    <a:pt x="3341169" y="359885"/>
                    <a:pt x="3277430" y="380294"/>
                    <a:pt x="3231965" y="415877"/>
                  </a:cubicBezTo>
                  <a:cubicBezTo>
                    <a:pt x="3213690" y="430035"/>
                    <a:pt x="3199693" y="444353"/>
                    <a:pt x="3187194" y="462091"/>
                  </a:cubicBezTo>
                  <a:lnTo>
                    <a:pt x="3187194" y="380187"/>
                  </a:lnTo>
                  <a:lnTo>
                    <a:pt x="3006395" y="380187"/>
                  </a:lnTo>
                  <a:lnTo>
                    <a:pt x="3006395" y="1271563"/>
                  </a:lnTo>
                  <a:lnTo>
                    <a:pt x="3187194" y="1271563"/>
                  </a:lnTo>
                  <a:lnTo>
                    <a:pt x="3187194" y="819411"/>
                  </a:lnTo>
                  <a:cubicBezTo>
                    <a:pt x="3187194" y="727783"/>
                    <a:pt x="3198894" y="679915"/>
                    <a:pt x="3233517" y="629638"/>
                  </a:cubicBezTo>
                  <a:cubicBezTo>
                    <a:pt x="3272300" y="572310"/>
                    <a:pt x="3331926" y="540683"/>
                    <a:pt x="3401277" y="540683"/>
                  </a:cubicBezTo>
                  <a:cubicBezTo>
                    <a:pt x="3410356" y="540683"/>
                    <a:pt x="3423983" y="540683"/>
                    <a:pt x="3437445" y="542393"/>
                  </a:cubicBezTo>
                  <a:moveTo>
                    <a:pt x="4250980" y="826838"/>
                  </a:moveTo>
                  <a:cubicBezTo>
                    <a:pt x="4250980" y="1000692"/>
                    <a:pt x="4140918" y="1122077"/>
                    <a:pt x="3983364" y="1122077"/>
                  </a:cubicBezTo>
                  <a:cubicBezTo>
                    <a:pt x="3822174" y="1122077"/>
                    <a:pt x="3713875" y="1003466"/>
                    <a:pt x="3713875" y="826838"/>
                  </a:cubicBezTo>
                  <a:cubicBezTo>
                    <a:pt x="3713875" y="649088"/>
                    <a:pt x="3822920" y="529677"/>
                    <a:pt x="3985180" y="529677"/>
                  </a:cubicBezTo>
                  <a:cubicBezTo>
                    <a:pt x="4144179" y="529677"/>
                    <a:pt x="4250980" y="649088"/>
                    <a:pt x="4250980" y="826838"/>
                  </a:cubicBezTo>
                  <a:moveTo>
                    <a:pt x="4435464" y="828654"/>
                  </a:moveTo>
                  <a:cubicBezTo>
                    <a:pt x="4435464" y="557084"/>
                    <a:pt x="4246120" y="359885"/>
                    <a:pt x="3985180" y="359885"/>
                  </a:cubicBezTo>
                  <a:cubicBezTo>
                    <a:pt x="3716818" y="359885"/>
                    <a:pt x="3529338" y="551155"/>
                    <a:pt x="3529338" y="824916"/>
                  </a:cubicBezTo>
                  <a:cubicBezTo>
                    <a:pt x="3529338" y="1099848"/>
                    <a:pt x="3714521" y="1291865"/>
                    <a:pt x="3979622" y="1291865"/>
                  </a:cubicBezTo>
                  <a:cubicBezTo>
                    <a:pt x="4235272" y="1291865"/>
                    <a:pt x="4435464" y="1088418"/>
                    <a:pt x="4435464" y="828654"/>
                  </a:cubicBezTo>
                  <a:moveTo>
                    <a:pt x="5261608" y="828654"/>
                  </a:moveTo>
                  <a:cubicBezTo>
                    <a:pt x="5261608" y="909382"/>
                    <a:pt x="5239596" y="986748"/>
                    <a:pt x="5205508" y="1025854"/>
                  </a:cubicBezTo>
                  <a:cubicBezTo>
                    <a:pt x="5153150" y="1087026"/>
                    <a:pt x="5080062" y="1122077"/>
                    <a:pt x="5005052" y="1122077"/>
                  </a:cubicBezTo>
                  <a:cubicBezTo>
                    <a:pt x="4855296" y="1122077"/>
                    <a:pt x="4746675" y="996361"/>
                    <a:pt x="4746675" y="823153"/>
                  </a:cubicBezTo>
                  <a:cubicBezTo>
                    <a:pt x="4746675" y="650316"/>
                    <a:pt x="4854386" y="529677"/>
                    <a:pt x="5008683" y="529677"/>
                  </a:cubicBezTo>
                  <a:cubicBezTo>
                    <a:pt x="5078193" y="529677"/>
                    <a:pt x="5151652" y="563177"/>
                    <a:pt x="5200378" y="617081"/>
                  </a:cubicBezTo>
                  <a:cubicBezTo>
                    <a:pt x="5246112" y="667892"/>
                    <a:pt x="5261608" y="721266"/>
                    <a:pt x="5261608" y="828654"/>
                  </a:cubicBezTo>
                  <a:moveTo>
                    <a:pt x="5327264" y="1583314"/>
                  </a:moveTo>
                  <a:cubicBezTo>
                    <a:pt x="5409426" y="1504990"/>
                    <a:pt x="5446113" y="1404277"/>
                    <a:pt x="5446113" y="1256819"/>
                  </a:cubicBezTo>
                  <a:lnTo>
                    <a:pt x="5446113" y="380187"/>
                  </a:lnTo>
                  <a:lnTo>
                    <a:pt x="5265239" y="380187"/>
                  </a:lnTo>
                  <a:lnTo>
                    <a:pt x="5265239" y="488537"/>
                  </a:lnTo>
                  <a:cubicBezTo>
                    <a:pt x="5186005" y="398673"/>
                    <a:pt x="5100153" y="359885"/>
                    <a:pt x="4982875" y="359885"/>
                  </a:cubicBezTo>
                  <a:cubicBezTo>
                    <a:pt x="4866567" y="359885"/>
                    <a:pt x="4771201" y="395361"/>
                    <a:pt x="4699394" y="465190"/>
                  </a:cubicBezTo>
                  <a:cubicBezTo>
                    <a:pt x="4611080" y="549710"/>
                    <a:pt x="4558400" y="685574"/>
                    <a:pt x="4558400" y="828654"/>
                  </a:cubicBezTo>
                  <a:cubicBezTo>
                    <a:pt x="4558400" y="1092743"/>
                    <a:pt x="4736097" y="1291865"/>
                    <a:pt x="4971816" y="1291865"/>
                  </a:cubicBezTo>
                  <a:cubicBezTo>
                    <a:pt x="5092032" y="1291865"/>
                    <a:pt x="5185952" y="1246830"/>
                    <a:pt x="5265239" y="1150553"/>
                  </a:cubicBezTo>
                  <a:lnTo>
                    <a:pt x="5265239" y="1267931"/>
                  </a:lnTo>
                  <a:cubicBezTo>
                    <a:pt x="5265239" y="1350745"/>
                    <a:pt x="5245313" y="1414431"/>
                    <a:pt x="5206095" y="1457116"/>
                  </a:cubicBezTo>
                  <a:cubicBezTo>
                    <a:pt x="5162288" y="1504291"/>
                    <a:pt x="5083159" y="1533625"/>
                    <a:pt x="4999546" y="1533625"/>
                  </a:cubicBezTo>
                  <a:cubicBezTo>
                    <a:pt x="4932122" y="1533625"/>
                    <a:pt x="4856471" y="1514979"/>
                    <a:pt x="4811695" y="1487409"/>
                  </a:cubicBezTo>
                  <a:cubicBezTo>
                    <a:pt x="4788777" y="1471596"/>
                    <a:pt x="4771254" y="1455624"/>
                    <a:pt x="4733588" y="1416300"/>
                  </a:cubicBezTo>
                  <a:lnTo>
                    <a:pt x="4719215" y="1401339"/>
                  </a:lnTo>
                  <a:lnTo>
                    <a:pt x="4595103" y="1525451"/>
                  </a:lnTo>
                  <a:lnTo>
                    <a:pt x="4607819" y="1539824"/>
                  </a:lnTo>
                  <a:cubicBezTo>
                    <a:pt x="4703719" y="1647106"/>
                    <a:pt x="4835528" y="1701544"/>
                    <a:pt x="4999546" y="1701544"/>
                  </a:cubicBezTo>
                  <a:cubicBezTo>
                    <a:pt x="5134664" y="1701544"/>
                    <a:pt x="5247981" y="1660675"/>
                    <a:pt x="5327264" y="1583314"/>
                  </a:cubicBezTo>
                  <a:moveTo>
                    <a:pt x="6317923" y="747497"/>
                  </a:moveTo>
                  <a:lnTo>
                    <a:pt x="5805203" y="747497"/>
                  </a:lnTo>
                  <a:cubicBezTo>
                    <a:pt x="5814785" y="696051"/>
                    <a:pt x="5825267" y="667627"/>
                    <a:pt x="5845913" y="635144"/>
                  </a:cubicBezTo>
                  <a:cubicBezTo>
                    <a:pt x="5892024" y="566756"/>
                    <a:pt x="5971327" y="525990"/>
                    <a:pt x="6057989" y="525990"/>
                  </a:cubicBezTo>
                  <a:cubicBezTo>
                    <a:pt x="6144228" y="525990"/>
                    <a:pt x="6225702" y="566274"/>
                    <a:pt x="6275730" y="633487"/>
                  </a:cubicBezTo>
                  <a:cubicBezTo>
                    <a:pt x="6300453" y="669067"/>
                    <a:pt x="6312047" y="699841"/>
                    <a:pt x="6317923" y="747497"/>
                  </a:cubicBezTo>
                  <a:moveTo>
                    <a:pt x="6508188" y="872890"/>
                  </a:moveTo>
                  <a:cubicBezTo>
                    <a:pt x="6510094" y="851683"/>
                    <a:pt x="6510094" y="827426"/>
                    <a:pt x="6510094" y="815779"/>
                  </a:cubicBezTo>
                  <a:cubicBezTo>
                    <a:pt x="6510094" y="555909"/>
                    <a:pt x="6315700" y="359885"/>
                    <a:pt x="6057989" y="359885"/>
                  </a:cubicBezTo>
                  <a:cubicBezTo>
                    <a:pt x="5798109" y="359885"/>
                    <a:pt x="5609538" y="557084"/>
                    <a:pt x="5609538" y="828654"/>
                  </a:cubicBezTo>
                  <a:cubicBezTo>
                    <a:pt x="5609538" y="1097074"/>
                    <a:pt x="5800491" y="1291865"/>
                    <a:pt x="6063495" y="1291865"/>
                  </a:cubicBezTo>
                  <a:cubicBezTo>
                    <a:pt x="6235020" y="1291865"/>
                    <a:pt x="6386956" y="1199867"/>
                    <a:pt x="6460066" y="1051710"/>
                  </a:cubicBezTo>
                  <a:lnTo>
                    <a:pt x="6469966" y="1031572"/>
                  </a:lnTo>
                  <a:lnTo>
                    <a:pt x="6308923" y="971517"/>
                  </a:lnTo>
                  <a:lnTo>
                    <a:pt x="6300559" y="986689"/>
                  </a:lnTo>
                  <a:cubicBezTo>
                    <a:pt x="6254237" y="1068968"/>
                    <a:pt x="6161169" y="1122077"/>
                    <a:pt x="6063495" y="1122077"/>
                  </a:cubicBezTo>
                  <a:cubicBezTo>
                    <a:pt x="5977415" y="1122077"/>
                    <a:pt x="5901923" y="1083664"/>
                    <a:pt x="5850784" y="1013832"/>
                  </a:cubicBezTo>
                  <a:cubicBezTo>
                    <a:pt x="5821932" y="975900"/>
                    <a:pt x="5809438" y="945021"/>
                    <a:pt x="5802132" y="891377"/>
                  </a:cubicBezTo>
                  <a:lnTo>
                    <a:pt x="6506547" y="891377"/>
                  </a:lnTo>
                  <a:lnTo>
                    <a:pt x="6508188" y="872890"/>
                  </a:lnTo>
                  <a:close/>
                  <a:moveTo>
                    <a:pt x="7205139" y="1271563"/>
                  </a:moveTo>
                  <a:lnTo>
                    <a:pt x="7385928" y="1271563"/>
                  </a:lnTo>
                  <a:lnTo>
                    <a:pt x="7385928" y="677294"/>
                  </a:lnTo>
                  <a:cubicBezTo>
                    <a:pt x="7385928" y="554734"/>
                    <a:pt x="7365387" y="491422"/>
                    <a:pt x="7307154" y="435163"/>
                  </a:cubicBezTo>
                  <a:cubicBezTo>
                    <a:pt x="7252520" y="386599"/>
                    <a:pt x="7177557" y="359885"/>
                    <a:pt x="7096189" y="359885"/>
                  </a:cubicBezTo>
                  <a:cubicBezTo>
                    <a:pt x="7000739" y="359885"/>
                    <a:pt x="6929853" y="391193"/>
                    <a:pt x="6863625" y="463694"/>
                  </a:cubicBezTo>
                  <a:lnTo>
                    <a:pt x="6863625" y="380187"/>
                  </a:lnTo>
                  <a:lnTo>
                    <a:pt x="6682836" y="380187"/>
                  </a:lnTo>
                  <a:lnTo>
                    <a:pt x="6682836" y="1271563"/>
                  </a:lnTo>
                  <a:lnTo>
                    <a:pt x="6863625" y="1271563"/>
                  </a:lnTo>
                  <a:lnTo>
                    <a:pt x="6863625" y="732701"/>
                  </a:lnTo>
                  <a:cubicBezTo>
                    <a:pt x="6863625" y="667839"/>
                    <a:pt x="6876278" y="632147"/>
                    <a:pt x="6913971" y="591066"/>
                  </a:cubicBezTo>
                  <a:cubicBezTo>
                    <a:pt x="6951505" y="548481"/>
                    <a:pt x="7002433" y="525990"/>
                    <a:pt x="7061143" y="525990"/>
                  </a:cubicBezTo>
                  <a:cubicBezTo>
                    <a:pt x="7110748" y="525990"/>
                    <a:pt x="7155428" y="544744"/>
                    <a:pt x="7177769" y="575089"/>
                  </a:cubicBezTo>
                  <a:cubicBezTo>
                    <a:pt x="7197410" y="601215"/>
                    <a:pt x="7205139" y="638722"/>
                    <a:pt x="7205139" y="708709"/>
                  </a:cubicBezTo>
                  <a:lnTo>
                    <a:pt x="7205139" y="1271563"/>
                  </a:lnTo>
                  <a:close/>
                  <a:moveTo>
                    <a:pt x="7822309" y="162418"/>
                  </a:moveTo>
                  <a:cubicBezTo>
                    <a:pt x="7822309" y="99268"/>
                    <a:pt x="7774452" y="49847"/>
                    <a:pt x="7713412" y="49847"/>
                  </a:cubicBezTo>
                  <a:cubicBezTo>
                    <a:pt x="7650255" y="49847"/>
                    <a:pt x="7602662" y="97451"/>
                    <a:pt x="7602662" y="160549"/>
                  </a:cubicBezTo>
                  <a:cubicBezTo>
                    <a:pt x="7602662" y="223699"/>
                    <a:pt x="7649514" y="271303"/>
                    <a:pt x="7711560" y="271303"/>
                  </a:cubicBezTo>
                  <a:cubicBezTo>
                    <a:pt x="7773711" y="271303"/>
                    <a:pt x="7822309" y="223432"/>
                    <a:pt x="7822309" y="162418"/>
                  </a:cubicBezTo>
                  <a:moveTo>
                    <a:pt x="8704760" y="826838"/>
                  </a:moveTo>
                  <a:cubicBezTo>
                    <a:pt x="8704760" y="1000692"/>
                    <a:pt x="8594751" y="1122077"/>
                    <a:pt x="8437150" y="1122077"/>
                  </a:cubicBezTo>
                  <a:cubicBezTo>
                    <a:pt x="8276002" y="1122077"/>
                    <a:pt x="8167740" y="1003466"/>
                    <a:pt x="8167740" y="826838"/>
                  </a:cubicBezTo>
                  <a:cubicBezTo>
                    <a:pt x="8167740" y="649088"/>
                    <a:pt x="8276743" y="529677"/>
                    <a:pt x="8439003" y="529677"/>
                  </a:cubicBezTo>
                  <a:cubicBezTo>
                    <a:pt x="8597980" y="529677"/>
                    <a:pt x="8704760" y="649088"/>
                    <a:pt x="8704760" y="826838"/>
                  </a:cubicBezTo>
                  <a:moveTo>
                    <a:pt x="8889307" y="828654"/>
                  </a:moveTo>
                  <a:cubicBezTo>
                    <a:pt x="8889307" y="557084"/>
                    <a:pt x="8699942" y="359885"/>
                    <a:pt x="8439003" y="359885"/>
                  </a:cubicBezTo>
                  <a:cubicBezTo>
                    <a:pt x="8170652" y="359885"/>
                    <a:pt x="7983193" y="551155"/>
                    <a:pt x="7983193" y="824916"/>
                  </a:cubicBezTo>
                  <a:cubicBezTo>
                    <a:pt x="7983193" y="1099848"/>
                    <a:pt x="8168375" y="1291865"/>
                    <a:pt x="8433444" y="1291865"/>
                  </a:cubicBezTo>
                  <a:cubicBezTo>
                    <a:pt x="8689089" y="1291865"/>
                    <a:pt x="8889307" y="1088418"/>
                    <a:pt x="8889307" y="828654"/>
                  </a:cubicBezTo>
                  <a:moveTo>
                    <a:pt x="9658150" y="1197940"/>
                  </a:moveTo>
                  <a:cubicBezTo>
                    <a:pt x="9724854" y="1137144"/>
                    <a:pt x="9749630" y="1068539"/>
                    <a:pt x="9749630" y="944968"/>
                  </a:cubicBezTo>
                  <a:lnTo>
                    <a:pt x="9749630" y="380187"/>
                  </a:lnTo>
                  <a:lnTo>
                    <a:pt x="9566988" y="380187"/>
                  </a:lnTo>
                  <a:lnTo>
                    <a:pt x="9566988" y="944968"/>
                  </a:lnTo>
                  <a:cubicBezTo>
                    <a:pt x="9566988" y="1008437"/>
                    <a:pt x="9558835" y="1039587"/>
                    <a:pt x="9535012" y="1068222"/>
                  </a:cubicBezTo>
                  <a:cubicBezTo>
                    <a:pt x="9503831" y="1104284"/>
                    <a:pt x="9453009" y="1125815"/>
                    <a:pt x="9399010" y="1125815"/>
                  </a:cubicBezTo>
                  <a:cubicBezTo>
                    <a:pt x="9299060" y="1125815"/>
                    <a:pt x="9229233" y="1049947"/>
                    <a:pt x="9229233" y="941225"/>
                  </a:cubicBezTo>
                  <a:lnTo>
                    <a:pt x="9229233" y="380187"/>
                  </a:lnTo>
                  <a:lnTo>
                    <a:pt x="9048391" y="380187"/>
                  </a:lnTo>
                  <a:lnTo>
                    <a:pt x="9048391" y="944968"/>
                  </a:lnTo>
                  <a:cubicBezTo>
                    <a:pt x="9048391" y="1054330"/>
                    <a:pt x="9078249" y="1136392"/>
                    <a:pt x="9139659" y="1195965"/>
                  </a:cubicBezTo>
                  <a:cubicBezTo>
                    <a:pt x="9204563" y="1256925"/>
                    <a:pt x="9299113" y="1291865"/>
                    <a:pt x="9399010" y="1291865"/>
                  </a:cubicBezTo>
                  <a:cubicBezTo>
                    <a:pt x="9499701" y="1291865"/>
                    <a:pt x="9591763" y="1258529"/>
                    <a:pt x="9658150" y="1197945"/>
                  </a:cubicBezTo>
                  <a:moveTo>
                    <a:pt x="10385594" y="653307"/>
                  </a:moveTo>
                  <a:lnTo>
                    <a:pt x="10567335" y="653307"/>
                  </a:lnTo>
                  <a:lnTo>
                    <a:pt x="10566383" y="632041"/>
                  </a:lnTo>
                  <a:cubicBezTo>
                    <a:pt x="10558442" y="459099"/>
                    <a:pt x="10442768" y="359885"/>
                    <a:pt x="10249009" y="359885"/>
                  </a:cubicBezTo>
                  <a:cubicBezTo>
                    <a:pt x="10058003" y="359885"/>
                    <a:pt x="9929730" y="467434"/>
                    <a:pt x="9929730" y="627446"/>
                  </a:cubicBezTo>
                  <a:cubicBezTo>
                    <a:pt x="9929730" y="765666"/>
                    <a:pt x="10016922" y="850825"/>
                    <a:pt x="10212587" y="903611"/>
                  </a:cubicBezTo>
                  <a:cubicBezTo>
                    <a:pt x="10347689" y="937858"/>
                    <a:pt x="10391099" y="968955"/>
                    <a:pt x="10391099" y="1031625"/>
                  </a:cubicBezTo>
                  <a:cubicBezTo>
                    <a:pt x="10391099" y="1095576"/>
                    <a:pt x="10336730" y="1136874"/>
                    <a:pt x="10252715" y="1136874"/>
                  </a:cubicBezTo>
                  <a:cubicBezTo>
                    <a:pt x="10155517" y="1136874"/>
                    <a:pt x="10102102" y="1093384"/>
                    <a:pt x="10093843" y="1007579"/>
                  </a:cubicBezTo>
                  <a:lnTo>
                    <a:pt x="10092096" y="989257"/>
                  </a:lnTo>
                  <a:lnTo>
                    <a:pt x="9913054" y="989257"/>
                  </a:lnTo>
                  <a:lnTo>
                    <a:pt x="9915066" y="1011216"/>
                  </a:lnTo>
                  <a:cubicBezTo>
                    <a:pt x="9930789" y="1194843"/>
                    <a:pt x="10047626" y="1291865"/>
                    <a:pt x="10252715" y="1291865"/>
                  </a:cubicBezTo>
                  <a:cubicBezTo>
                    <a:pt x="10445839" y="1291865"/>
                    <a:pt x="10575647" y="1184371"/>
                    <a:pt x="10575647" y="1024303"/>
                  </a:cubicBezTo>
                  <a:cubicBezTo>
                    <a:pt x="10575647" y="956667"/>
                    <a:pt x="10548542" y="890948"/>
                    <a:pt x="10501426" y="843879"/>
                  </a:cubicBezTo>
                  <a:cubicBezTo>
                    <a:pt x="10457485" y="799913"/>
                    <a:pt x="10397028" y="770955"/>
                    <a:pt x="10285750" y="740769"/>
                  </a:cubicBezTo>
                  <a:cubicBezTo>
                    <a:pt x="10125660" y="696474"/>
                    <a:pt x="10110519" y="671471"/>
                    <a:pt x="10110519" y="616440"/>
                  </a:cubicBezTo>
                  <a:cubicBezTo>
                    <a:pt x="10110519" y="553823"/>
                    <a:pt x="10161447" y="514877"/>
                    <a:pt x="10243398" y="514877"/>
                  </a:cubicBezTo>
                  <a:cubicBezTo>
                    <a:pt x="10329795" y="514877"/>
                    <a:pt x="10385594" y="557672"/>
                    <a:pt x="10385594" y="623762"/>
                  </a:cubicBezTo>
                  <a:lnTo>
                    <a:pt x="10385594" y="653307"/>
                  </a:ln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  <a:ln w="529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GB" noProof="0"/>
            </a:p>
          </p:txBody>
        </p:sp>
      </p:grpSp>
    </p:spTree>
    <p:extLst>
      <p:ext uri="{BB962C8B-B14F-4D97-AF65-F5344CB8AC3E}">
        <p14:creationId xmlns:p14="http://schemas.microsoft.com/office/powerpoint/2010/main" val="386173756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(sand) and Content 1/3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73236799-8186-158A-F3A4-9E2D432B77EB}"/>
              </a:ext>
            </a:extLst>
          </p:cNvPr>
          <p:cNvSpPr/>
          <p:nvPr userDrawn="1"/>
        </p:nvSpPr>
        <p:spPr>
          <a:xfrm>
            <a:off x="4067175" y="0"/>
            <a:ext cx="812482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05350" y="1304925"/>
            <a:ext cx="6827836" cy="50514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FDC01C9A-5B99-87F0-F647-71E0D7C324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05350" y="397755"/>
            <a:ext cx="5223902" cy="753386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GB" noProof="0"/>
              <a:t>00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98F6B151-0000-54CC-3EC8-1C2FF806241A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0415668" y="503483"/>
            <a:ext cx="1289916" cy="180000"/>
            <a:chOff x="-161925" y="-1630732"/>
            <a:chExt cx="12193587" cy="1701544"/>
          </a:xfrm>
          <a:solidFill>
            <a:schemeClr val="accent2"/>
          </a:solidFill>
        </p:grpSpPr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42248027-0E32-6AFB-A67A-8C33F6EE2891}"/>
                </a:ext>
              </a:extLst>
            </p:cNvPr>
            <p:cNvSpPr/>
            <p:nvPr/>
          </p:nvSpPr>
          <p:spPr bwMode="gray">
            <a:xfrm>
              <a:off x="10774928" y="-1247713"/>
              <a:ext cx="1256734" cy="356304"/>
            </a:xfrm>
            <a:custGeom>
              <a:avLst/>
              <a:gdLst>
                <a:gd name="connsiteX0" fmla="*/ 1226823 w 1256734"/>
                <a:gd name="connsiteY0" fmla="*/ 269166 h 356304"/>
                <a:gd name="connsiteX1" fmla="*/ 1133491 w 1256734"/>
                <a:gd name="connsiteY1" fmla="*/ 316610 h 356304"/>
                <a:gd name="connsiteX2" fmla="*/ 1010248 w 1256734"/>
                <a:gd name="connsiteY2" fmla="*/ 178448 h 356304"/>
                <a:gd name="connsiteX3" fmla="*/ 1131426 w 1256734"/>
                <a:gd name="connsiteY3" fmla="*/ 39696 h 356304"/>
                <a:gd name="connsiteX4" fmla="*/ 1226823 w 1256734"/>
                <a:gd name="connsiteY4" fmla="*/ 86659 h 356304"/>
                <a:gd name="connsiteX5" fmla="*/ 1256735 w 1256734"/>
                <a:gd name="connsiteY5" fmla="*/ 58823 h 356304"/>
                <a:gd name="connsiteX6" fmla="*/ 1216553 w 1256734"/>
                <a:gd name="connsiteY6" fmla="*/ 23241 h 356304"/>
                <a:gd name="connsiteX7" fmla="*/ 1130420 w 1256734"/>
                <a:gd name="connsiteY7" fmla="*/ 0 h 356304"/>
                <a:gd name="connsiteX8" fmla="*/ 965885 w 1256734"/>
                <a:gd name="connsiteY8" fmla="*/ 178448 h 356304"/>
                <a:gd name="connsiteX9" fmla="*/ 1011783 w 1256734"/>
                <a:gd name="connsiteY9" fmla="*/ 305763 h 356304"/>
                <a:gd name="connsiteX10" fmla="*/ 1129892 w 1256734"/>
                <a:gd name="connsiteY10" fmla="*/ 356305 h 356304"/>
                <a:gd name="connsiteX11" fmla="*/ 1255676 w 1256734"/>
                <a:gd name="connsiteY11" fmla="*/ 298071 h 356304"/>
                <a:gd name="connsiteX12" fmla="*/ 1226823 w 1256734"/>
                <a:gd name="connsiteY12" fmla="*/ 269166 h 356304"/>
                <a:gd name="connsiteX13" fmla="*/ 679216 w 1256734"/>
                <a:gd name="connsiteY13" fmla="*/ 197999 h 356304"/>
                <a:gd name="connsiteX14" fmla="*/ 846824 w 1256734"/>
                <a:gd name="connsiteY14" fmla="*/ 197999 h 356304"/>
                <a:gd name="connsiteX15" fmla="*/ 846824 w 1256734"/>
                <a:gd name="connsiteY15" fmla="*/ 350105 h 356304"/>
                <a:gd name="connsiteX16" fmla="*/ 890075 w 1256734"/>
                <a:gd name="connsiteY16" fmla="*/ 350105 h 356304"/>
                <a:gd name="connsiteX17" fmla="*/ 890075 w 1256734"/>
                <a:gd name="connsiteY17" fmla="*/ 6198 h 356304"/>
                <a:gd name="connsiteX18" fmla="*/ 846824 w 1256734"/>
                <a:gd name="connsiteY18" fmla="*/ 6198 h 356304"/>
                <a:gd name="connsiteX19" fmla="*/ 846824 w 1256734"/>
                <a:gd name="connsiteY19" fmla="*/ 160920 h 356304"/>
                <a:gd name="connsiteX20" fmla="*/ 679216 w 1256734"/>
                <a:gd name="connsiteY20" fmla="*/ 160920 h 356304"/>
                <a:gd name="connsiteX21" fmla="*/ 679216 w 1256734"/>
                <a:gd name="connsiteY21" fmla="*/ 6198 h 356304"/>
                <a:gd name="connsiteX22" fmla="*/ 635912 w 1256734"/>
                <a:gd name="connsiteY22" fmla="*/ 6198 h 356304"/>
                <a:gd name="connsiteX23" fmla="*/ 635912 w 1256734"/>
                <a:gd name="connsiteY23" fmla="*/ 350105 h 356304"/>
                <a:gd name="connsiteX24" fmla="*/ 679216 w 1256734"/>
                <a:gd name="connsiteY24" fmla="*/ 350105 h 356304"/>
                <a:gd name="connsiteX25" fmla="*/ 679216 w 1256734"/>
                <a:gd name="connsiteY25" fmla="*/ 197999 h 356304"/>
                <a:gd name="connsiteX26" fmla="*/ 392018 w 1256734"/>
                <a:gd name="connsiteY26" fmla="*/ 40230 h 356304"/>
                <a:gd name="connsiteX27" fmla="*/ 476563 w 1256734"/>
                <a:gd name="connsiteY27" fmla="*/ 75813 h 356304"/>
                <a:gd name="connsiteX28" fmla="*/ 515792 w 1256734"/>
                <a:gd name="connsiteY28" fmla="*/ 181011 h 356304"/>
                <a:gd name="connsiteX29" fmla="*/ 482758 w 1256734"/>
                <a:gd name="connsiteY29" fmla="*/ 275365 h 356304"/>
                <a:gd name="connsiteX30" fmla="*/ 390960 w 1256734"/>
                <a:gd name="connsiteY30" fmla="*/ 316610 h 356304"/>
                <a:gd name="connsiteX31" fmla="*/ 267239 w 1256734"/>
                <a:gd name="connsiteY31" fmla="*/ 178448 h 356304"/>
                <a:gd name="connsiteX32" fmla="*/ 392018 w 1256734"/>
                <a:gd name="connsiteY32" fmla="*/ 40230 h 356304"/>
                <a:gd name="connsiteX33" fmla="*/ 393077 w 1256734"/>
                <a:gd name="connsiteY33" fmla="*/ 0 h 356304"/>
                <a:gd name="connsiteX34" fmla="*/ 222876 w 1256734"/>
                <a:gd name="connsiteY34" fmla="*/ 179994 h 356304"/>
                <a:gd name="connsiteX35" fmla="*/ 258982 w 1256734"/>
                <a:gd name="connsiteY35" fmla="*/ 291872 h 356304"/>
                <a:gd name="connsiteX36" fmla="*/ 392018 w 1256734"/>
                <a:gd name="connsiteY36" fmla="*/ 356305 h 356304"/>
                <a:gd name="connsiteX37" fmla="*/ 501868 w 1256734"/>
                <a:gd name="connsiteY37" fmla="*/ 315059 h 356304"/>
                <a:gd name="connsiteX38" fmla="*/ 560155 w 1256734"/>
                <a:gd name="connsiteY38" fmla="*/ 181545 h 356304"/>
                <a:gd name="connsiteX39" fmla="*/ 519921 w 1256734"/>
                <a:gd name="connsiteY39" fmla="*/ 59304 h 356304"/>
                <a:gd name="connsiteX40" fmla="*/ 393077 w 1256734"/>
                <a:gd name="connsiteY40" fmla="*/ 0 h 356304"/>
                <a:gd name="connsiteX41" fmla="*/ 43306 w 1256734"/>
                <a:gd name="connsiteY41" fmla="*/ 310946 h 356304"/>
                <a:gd name="connsiteX42" fmla="*/ 43306 w 1256734"/>
                <a:gd name="connsiteY42" fmla="*/ 6198 h 356304"/>
                <a:gd name="connsiteX43" fmla="*/ 0 w 1256734"/>
                <a:gd name="connsiteY43" fmla="*/ 6198 h 356304"/>
                <a:gd name="connsiteX44" fmla="*/ 0 w 1256734"/>
                <a:gd name="connsiteY44" fmla="*/ 350105 h 356304"/>
                <a:gd name="connsiteX45" fmla="*/ 194237 w 1256734"/>
                <a:gd name="connsiteY45" fmla="*/ 350105 h 356304"/>
                <a:gd name="connsiteX46" fmla="*/ 194237 w 1256734"/>
                <a:gd name="connsiteY46" fmla="*/ 310946 h 356304"/>
                <a:gd name="connsiteX47" fmla="*/ 43306 w 1256734"/>
                <a:gd name="connsiteY47" fmla="*/ 310946 h 35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256734" h="356304">
                  <a:moveTo>
                    <a:pt x="1226823" y="269166"/>
                  </a:moveTo>
                  <a:cubicBezTo>
                    <a:pt x="1200037" y="301650"/>
                    <a:pt x="1171131" y="316610"/>
                    <a:pt x="1133491" y="316610"/>
                  </a:cubicBezTo>
                  <a:cubicBezTo>
                    <a:pt x="1062341" y="316610"/>
                    <a:pt x="1010248" y="258371"/>
                    <a:pt x="1010248" y="178448"/>
                  </a:cubicBezTo>
                  <a:cubicBezTo>
                    <a:pt x="1010248" y="97985"/>
                    <a:pt x="1061334" y="39696"/>
                    <a:pt x="1131426" y="39696"/>
                  </a:cubicBezTo>
                  <a:cubicBezTo>
                    <a:pt x="1168008" y="39696"/>
                    <a:pt x="1193313" y="52092"/>
                    <a:pt x="1226823" y="86659"/>
                  </a:cubicBezTo>
                  <a:lnTo>
                    <a:pt x="1256735" y="58823"/>
                  </a:lnTo>
                  <a:cubicBezTo>
                    <a:pt x="1239742" y="40230"/>
                    <a:pt x="1230424" y="32003"/>
                    <a:pt x="1216553" y="23241"/>
                  </a:cubicBezTo>
                  <a:cubicBezTo>
                    <a:pt x="1191725" y="8281"/>
                    <a:pt x="1161338" y="0"/>
                    <a:pt x="1130420" y="0"/>
                  </a:cubicBezTo>
                  <a:cubicBezTo>
                    <a:pt x="1035500" y="0"/>
                    <a:pt x="965885" y="75279"/>
                    <a:pt x="965885" y="178448"/>
                  </a:cubicBezTo>
                  <a:cubicBezTo>
                    <a:pt x="965885" y="226369"/>
                    <a:pt x="982931" y="273279"/>
                    <a:pt x="1011783" y="305763"/>
                  </a:cubicBezTo>
                  <a:cubicBezTo>
                    <a:pt x="1041165" y="338782"/>
                    <a:pt x="1081928" y="356305"/>
                    <a:pt x="1129892" y="356305"/>
                  </a:cubicBezTo>
                  <a:cubicBezTo>
                    <a:pt x="1182990" y="356305"/>
                    <a:pt x="1221107" y="338782"/>
                    <a:pt x="1255676" y="298071"/>
                  </a:cubicBezTo>
                  <a:lnTo>
                    <a:pt x="1226823" y="269166"/>
                  </a:lnTo>
                  <a:close/>
                  <a:moveTo>
                    <a:pt x="679216" y="197999"/>
                  </a:moveTo>
                  <a:lnTo>
                    <a:pt x="846824" y="197999"/>
                  </a:lnTo>
                  <a:lnTo>
                    <a:pt x="846824" y="350105"/>
                  </a:lnTo>
                  <a:lnTo>
                    <a:pt x="890075" y="350105"/>
                  </a:lnTo>
                  <a:lnTo>
                    <a:pt x="890075" y="6198"/>
                  </a:lnTo>
                  <a:lnTo>
                    <a:pt x="846824" y="6198"/>
                  </a:lnTo>
                  <a:lnTo>
                    <a:pt x="846824" y="160920"/>
                  </a:lnTo>
                  <a:lnTo>
                    <a:pt x="679216" y="160920"/>
                  </a:lnTo>
                  <a:lnTo>
                    <a:pt x="679216" y="6198"/>
                  </a:lnTo>
                  <a:lnTo>
                    <a:pt x="635912" y="6198"/>
                  </a:lnTo>
                  <a:lnTo>
                    <a:pt x="635912" y="350105"/>
                  </a:lnTo>
                  <a:lnTo>
                    <a:pt x="679216" y="350105"/>
                  </a:lnTo>
                  <a:lnTo>
                    <a:pt x="679216" y="197999"/>
                  </a:lnTo>
                  <a:close/>
                  <a:moveTo>
                    <a:pt x="392018" y="40230"/>
                  </a:moveTo>
                  <a:cubicBezTo>
                    <a:pt x="422459" y="40230"/>
                    <a:pt x="453904" y="53641"/>
                    <a:pt x="476563" y="75813"/>
                  </a:cubicBezTo>
                  <a:cubicBezTo>
                    <a:pt x="503404" y="101618"/>
                    <a:pt x="515792" y="135117"/>
                    <a:pt x="515792" y="181011"/>
                  </a:cubicBezTo>
                  <a:cubicBezTo>
                    <a:pt x="515792" y="216057"/>
                    <a:pt x="502874" y="253189"/>
                    <a:pt x="482758" y="275365"/>
                  </a:cubicBezTo>
                  <a:cubicBezTo>
                    <a:pt x="459569" y="301650"/>
                    <a:pt x="425530" y="316610"/>
                    <a:pt x="390960" y="316610"/>
                  </a:cubicBezTo>
                  <a:cubicBezTo>
                    <a:pt x="319809" y="316610"/>
                    <a:pt x="267239" y="258371"/>
                    <a:pt x="267239" y="178448"/>
                  </a:cubicBezTo>
                  <a:cubicBezTo>
                    <a:pt x="267239" y="99000"/>
                    <a:pt x="320338" y="40230"/>
                    <a:pt x="392018" y="40230"/>
                  </a:cubicBezTo>
                  <a:moveTo>
                    <a:pt x="393077" y="0"/>
                  </a:moveTo>
                  <a:cubicBezTo>
                    <a:pt x="295615" y="0"/>
                    <a:pt x="222876" y="77362"/>
                    <a:pt x="222876" y="179994"/>
                  </a:cubicBezTo>
                  <a:cubicBezTo>
                    <a:pt x="222876" y="223273"/>
                    <a:pt x="235318" y="261956"/>
                    <a:pt x="258982" y="291872"/>
                  </a:cubicBezTo>
                  <a:cubicBezTo>
                    <a:pt x="290957" y="332101"/>
                    <a:pt x="340985" y="356305"/>
                    <a:pt x="392018" y="356305"/>
                  </a:cubicBezTo>
                  <a:cubicBezTo>
                    <a:pt x="431723" y="356305"/>
                    <a:pt x="470899" y="341879"/>
                    <a:pt x="501868" y="315059"/>
                  </a:cubicBezTo>
                  <a:cubicBezTo>
                    <a:pt x="539509" y="283110"/>
                    <a:pt x="560155" y="235131"/>
                    <a:pt x="560155" y="181545"/>
                  </a:cubicBezTo>
                  <a:cubicBezTo>
                    <a:pt x="560155" y="129935"/>
                    <a:pt x="547715" y="91788"/>
                    <a:pt x="519921" y="59304"/>
                  </a:cubicBezTo>
                  <a:cubicBezTo>
                    <a:pt x="486886" y="21691"/>
                    <a:pt x="440988" y="0"/>
                    <a:pt x="393077" y="0"/>
                  </a:cubicBezTo>
                  <a:moveTo>
                    <a:pt x="43306" y="310946"/>
                  </a:moveTo>
                  <a:lnTo>
                    <a:pt x="43306" y="6198"/>
                  </a:lnTo>
                  <a:lnTo>
                    <a:pt x="0" y="6198"/>
                  </a:lnTo>
                  <a:lnTo>
                    <a:pt x="0" y="350105"/>
                  </a:lnTo>
                  <a:lnTo>
                    <a:pt x="194237" y="350105"/>
                  </a:lnTo>
                  <a:lnTo>
                    <a:pt x="194237" y="310946"/>
                  </a:lnTo>
                  <a:lnTo>
                    <a:pt x="43306" y="310946"/>
                  </a:lnTo>
                  <a:close/>
                </a:path>
              </a:pathLst>
            </a:custGeom>
            <a:solidFill>
              <a:schemeClr val="accent2"/>
            </a:solidFill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AFA42D10-1FA1-FBA9-BDE3-36F3CB8F349B}"/>
                </a:ext>
              </a:extLst>
            </p:cNvPr>
            <p:cNvSpPr/>
            <p:nvPr/>
          </p:nvSpPr>
          <p:spPr bwMode="gray">
            <a:xfrm>
              <a:off x="-161925" y="-1630732"/>
              <a:ext cx="10575647" cy="1701544"/>
            </a:xfrm>
            <a:custGeom>
              <a:avLst/>
              <a:gdLst>
                <a:gd name="connsiteX0" fmla="*/ 7802033 w 10575647"/>
                <a:gd name="connsiteY0" fmla="*/ 380187 h 1701544"/>
                <a:gd name="connsiteX1" fmla="*/ 7621138 w 10575647"/>
                <a:gd name="connsiteY1" fmla="*/ 380187 h 1701544"/>
                <a:gd name="connsiteX2" fmla="*/ 7621138 w 10575647"/>
                <a:gd name="connsiteY2" fmla="*/ 1271563 h 1701544"/>
                <a:gd name="connsiteX3" fmla="*/ 7802033 w 10575647"/>
                <a:gd name="connsiteY3" fmla="*/ 1271563 h 1701544"/>
                <a:gd name="connsiteX4" fmla="*/ 7802033 w 10575647"/>
                <a:gd name="connsiteY4" fmla="*/ 380187 h 1701544"/>
                <a:gd name="connsiteX5" fmla="*/ 706522 w 10575647"/>
                <a:gd name="connsiteY5" fmla="*/ 1271563 h 1701544"/>
                <a:gd name="connsiteX6" fmla="*/ 902065 w 10575647"/>
                <a:gd name="connsiteY6" fmla="*/ 1271563 h 1701544"/>
                <a:gd name="connsiteX7" fmla="*/ 902065 w 10575647"/>
                <a:gd name="connsiteY7" fmla="*/ 0 h 1701544"/>
                <a:gd name="connsiteX8" fmla="*/ 706522 w 10575647"/>
                <a:gd name="connsiteY8" fmla="*/ 0 h 1701544"/>
                <a:gd name="connsiteX9" fmla="*/ 706522 w 10575647"/>
                <a:gd name="connsiteY9" fmla="*/ 553717 h 1701544"/>
                <a:gd name="connsiteX10" fmla="*/ 195543 w 10575647"/>
                <a:gd name="connsiteY10" fmla="*/ 553717 h 1701544"/>
                <a:gd name="connsiteX11" fmla="*/ 195543 w 10575647"/>
                <a:gd name="connsiteY11" fmla="*/ 0 h 1701544"/>
                <a:gd name="connsiteX12" fmla="*/ 0 w 10575647"/>
                <a:gd name="connsiteY12" fmla="*/ 0 h 1701544"/>
                <a:gd name="connsiteX13" fmla="*/ 0 w 10575647"/>
                <a:gd name="connsiteY13" fmla="*/ 1271563 h 1701544"/>
                <a:gd name="connsiteX14" fmla="*/ 195543 w 10575647"/>
                <a:gd name="connsiteY14" fmla="*/ 1271563 h 1701544"/>
                <a:gd name="connsiteX15" fmla="*/ 195543 w 10575647"/>
                <a:gd name="connsiteY15" fmla="*/ 727142 h 1701544"/>
                <a:gd name="connsiteX16" fmla="*/ 706522 w 10575647"/>
                <a:gd name="connsiteY16" fmla="*/ 727142 h 1701544"/>
                <a:gd name="connsiteX17" fmla="*/ 706522 w 10575647"/>
                <a:gd name="connsiteY17" fmla="*/ 1271563 h 1701544"/>
                <a:gd name="connsiteX18" fmla="*/ 1306185 w 10575647"/>
                <a:gd name="connsiteY18" fmla="*/ 1690649 h 1701544"/>
                <a:gd name="connsiteX19" fmla="*/ 1654904 w 10575647"/>
                <a:gd name="connsiteY19" fmla="*/ 1036061 h 1701544"/>
                <a:gd name="connsiteX20" fmla="*/ 1306185 w 10575647"/>
                <a:gd name="connsiteY20" fmla="*/ 381469 h 1701544"/>
                <a:gd name="connsiteX21" fmla="*/ 1090234 w 10575647"/>
                <a:gd name="connsiteY21" fmla="*/ 381469 h 1701544"/>
                <a:gd name="connsiteX22" fmla="*/ 1438900 w 10575647"/>
                <a:gd name="connsiteY22" fmla="*/ 1036061 h 1701544"/>
                <a:gd name="connsiteX23" fmla="*/ 1090234 w 10575647"/>
                <a:gd name="connsiteY23" fmla="*/ 1690649 h 1701544"/>
                <a:gd name="connsiteX24" fmla="*/ 1306185 w 10575647"/>
                <a:gd name="connsiteY24" fmla="*/ 1690649 h 1701544"/>
                <a:gd name="connsiteX25" fmla="*/ 2581808 w 10575647"/>
                <a:gd name="connsiteY25" fmla="*/ 828654 h 1701544"/>
                <a:gd name="connsiteX26" fmla="*/ 2317883 w 10575647"/>
                <a:gd name="connsiteY26" fmla="*/ 1129505 h 1701544"/>
                <a:gd name="connsiteX27" fmla="*/ 2065011 w 10575647"/>
                <a:gd name="connsiteY27" fmla="*/ 832338 h 1701544"/>
                <a:gd name="connsiteX28" fmla="*/ 2327068 w 10575647"/>
                <a:gd name="connsiteY28" fmla="*/ 525990 h 1701544"/>
                <a:gd name="connsiteX29" fmla="*/ 2581808 w 10575647"/>
                <a:gd name="connsiteY29" fmla="*/ 828654 h 1701544"/>
                <a:gd name="connsiteX30" fmla="*/ 2581808 w 10575647"/>
                <a:gd name="connsiteY30" fmla="*/ 1271563 h 1701544"/>
                <a:gd name="connsiteX31" fmla="*/ 2762608 w 10575647"/>
                <a:gd name="connsiteY31" fmla="*/ 1271563 h 1701544"/>
                <a:gd name="connsiteX32" fmla="*/ 2762608 w 10575647"/>
                <a:gd name="connsiteY32" fmla="*/ 0 h 1701544"/>
                <a:gd name="connsiteX33" fmla="*/ 2581808 w 10575647"/>
                <a:gd name="connsiteY33" fmla="*/ 0 h 1701544"/>
                <a:gd name="connsiteX34" fmla="*/ 2581808 w 10575647"/>
                <a:gd name="connsiteY34" fmla="*/ 476356 h 1701544"/>
                <a:gd name="connsiteX35" fmla="*/ 2297581 w 10575647"/>
                <a:gd name="connsiteY35" fmla="*/ 359885 h 1701544"/>
                <a:gd name="connsiteX36" fmla="*/ 1876785 w 10575647"/>
                <a:gd name="connsiteY36" fmla="*/ 830470 h 1701544"/>
                <a:gd name="connsiteX37" fmla="*/ 2297581 w 10575647"/>
                <a:gd name="connsiteY37" fmla="*/ 1291865 h 1701544"/>
                <a:gd name="connsiteX38" fmla="*/ 2581808 w 10575647"/>
                <a:gd name="connsiteY38" fmla="*/ 1163217 h 1701544"/>
                <a:gd name="connsiteX39" fmla="*/ 2581808 w 10575647"/>
                <a:gd name="connsiteY39" fmla="*/ 1271563 h 1701544"/>
                <a:gd name="connsiteX40" fmla="*/ 3437445 w 10575647"/>
                <a:gd name="connsiteY40" fmla="*/ 542393 h 1701544"/>
                <a:gd name="connsiteX41" fmla="*/ 3460310 w 10575647"/>
                <a:gd name="connsiteY41" fmla="*/ 545331 h 1701544"/>
                <a:gd name="connsiteX42" fmla="*/ 3460310 w 10575647"/>
                <a:gd name="connsiteY42" fmla="*/ 359885 h 1701544"/>
                <a:gd name="connsiteX43" fmla="*/ 3406830 w 10575647"/>
                <a:gd name="connsiteY43" fmla="*/ 359885 h 1701544"/>
                <a:gd name="connsiteX44" fmla="*/ 3231965 w 10575647"/>
                <a:gd name="connsiteY44" fmla="*/ 415877 h 1701544"/>
                <a:gd name="connsiteX45" fmla="*/ 3187194 w 10575647"/>
                <a:gd name="connsiteY45" fmla="*/ 462091 h 1701544"/>
                <a:gd name="connsiteX46" fmla="*/ 3187194 w 10575647"/>
                <a:gd name="connsiteY46" fmla="*/ 380187 h 1701544"/>
                <a:gd name="connsiteX47" fmla="*/ 3006395 w 10575647"/>
                <a:gd name="connsiteY47" fmla="*/ 380187 h 1701544"/>
                <a:gd name="connsiteX48" fmla="*/ 3006395 w 10575647"/>
                <a:gd name="connsiteY48" fmla="*/ 1271563 h 1701544"/>
                <a:gd name="connsiteX49" fmla="*/ 3187194 w 10575647"/>
                <a:gd name="connsiteY49" fmla="*/ 1271563 h 1701544"/>
                <a:gd name="connsiteX50" fmla="*/ 3187194 w 10575647"/>
                <a:gd name="connsiteY50" fmla="*/ 819411 h 1701544"/>
                <a:gd name="connsiteX51" fmla="*/ 3233517 w 10575647"/>
                <a:gd name="connsiteY51" fmla="*/ 629638 h 1701544"/>
                <a:gd name="connsiteX52" fmla="*/ 3401277 w 10575647"/>
                <a:gd name="connsiteY52" fmla="*/ 540683 h 1701544"/>
                <a:gd name="connsiteX53" fmla="*/ 3437445 w 10575647"/>
                <a:gd name="connsiteY53" fmla="*/ 542393 h 1701544"/>
                <a:gd name="connsiteX54" fmla="*/ 4250980 w 10575647"/>
                <a:gd name="connsiteY54" fmla="*/ 826838 h 1701544"/>
                <a:gd name="connsiteX55" fmla="*/ 3983364 w 10575647"/>
                <a:gd name="connsiteY55" fmla="*/ 1122077 h 1701544"/>
                <a:gd name="connsiteX56" fmla="*/ 3713875 w 10575647"/>
                <a:gd name="connsiteY56" fmla="*/ 826838 h 1701544"/>
                <a:gd name="connsiteX57" fmla="*/ 3985180 w 10575647"/>
                <a:gd name="connsiteY57" fmla="*/ 529677 h 1701544"/>
                <a:gd name="connsiteX58" fmla="*/ 4250980 w 10575647"/>
                <a:gd name="connsiteY58" fmla="*/ 826838 h 1701544"/>
                <a:gd name="connsiteX59" fmla="*/ 4435464 w 10575647"/>
                <a:gd name="connsiteY59" fmla="*/ 828654 h 1701544"/>
                <a:gd name="connsiteX60" fmla="*/ 3985180 w 10575647"/>
                <a:gd name="connsiteY60" fmla="*/ 359885 h 1701544"/>
                <a:gd name="connsiteX61" fmla="*/ 3529338 w 10575647"/>
                <a:gd name="connsiteY61" fmla="*/ 824916 h 1701544"/>
                <a:gd name="connsiteX62" fmla="*/ 3979622 w 10575647"/>
                <a:gd name="connsiteY62" fmla="*/ 1291865 h 1701544"/>
                <a:gd name="connsiteX63" fmla="*/ 4435464 w 10575647"/>
                <a:gd name="connsiteY63" fmla="*/ 828654 h 1701544"/>
                <a:gd name="connsiteX64" fmla="*/ 5261608 w 10575647"/>
                <a:gd name="connsiteY64" fmla="*/ 828654 h 1701544"/>
                <a:gd name="connsiteX65" fmla="*/ 5205508 w 10575647"/>
                <a:gd name="connsiteY65" fmla="*/ 1025854 h 1701544"/>
                <a:gd name="connsiteX66" fmla="*/ 5005052 w 10575647"/>
                <a:gd name="connsiteY66" fmla="*/ 1122077 h 1701544"/>
                <a:gd name="connsiteX67" fmla="*/ 4746675 w 10575647"/>
                <a:gd name="connsiteY67" fmla="*/ 823153 h 1701544"/>
                <a:gd name="connsiteX68" fmla="*/ 5008683 w 10575647"/>
                <a:gd name="connsiteY68" fmla="*/ 529677 h 1701544"/>
                <a:gd name="connsiteX69" fmla="*/ 5200378 w 10575647"/>
                <a:gd name="connsiteY69" fmla="*/ 617081 h 1701544"/>
                <a:gd name="connsiteX70" fmla="*/ 5261608 w 10575647"/>
                <a:gd name="connsiteY70" fmla="*/ 828654 h 1701544"/>
                <a:gd name="connsiteX71" fmla="*/ 5327264 w 10575647"/>
                <a:gd name="connsiteY71" fmla="*/ 1583314 h 1701544"/>
                <a:gd name="connsiteX72" fmla="*/ 5446113 w 10575647"/>
                <a:gd name="connsiteY72" fmla="*/ 1256819 h 1701544"/>
                <a:gd name="connsiteX73" fmla="*/ 5446113 w 10575647"/>
                <a:gd name="connsiteY73" fmla="*/ 380187 h 1701544"/>
                <a:gd name="connsiteX74" fmla="*/ 5265239 w 10575647"/>
                <a:gd name="connsiteY74" fmla="*/ 380187 h 1701544"/>
                <a:gd name="connsiteX75" fmla="*/ 5265239 w 10575647"/>
                <a:gd name="connsiteY75" fmla="*/ 488537 h 1701544"/>
                <a:gd name="connsiteX76" fmla="*/ 4982875 w 10575647"/>
                <a:gd name="connsiteY76" fmla="*/ 359885 h 1701544"/>
                <a:gd name="connsiteX77" fmla="*/ 4699394 w 10575647"/>
                <a:gd name="connsiteY77" fmla="*/ 465190 h 1701544"/>
                <a:gd name="connsiteX78" fmla="*/ 4558400 w 10575647"/>
                <a:gd name="connsiteY78" fmla="*/ 828654 h 1701544"/>
                <a:gd name="connsiteX79" fmla="*/ 4971816 w 10575647"/>
                <a:gd name="connsiteY79" fmla="*/ 1291865 h 1701544"/>
                <a:gd name="connsiteX80" fmla="*/ 5265239 w 10575647"/>
                <a:gd name="connsiteY80" fmla="*/ 1150553 h 1701544"/>
                <a:gd name="connsiteX81" fmla="*/ 5265239 w 10575647"/>
                <a:gd name="connsiteY81" fmla="*/ 1267931 h 1701544"/>
                <a:gd name="connsiteX82" fmla="*/ 5206095 w 10575647"/>
                <a:gd name="connsiteY82" fmla="*/ 1457116 h 1701544"/>
                <a:gd name="connsiteX83" fmla="*/ 4999546 w 10575647"/>
                <a:gd name="connsiteY83" fmla="*/ 1533625 h 1701544"/>
                <a:gd name="connsiteX84" fmla="*/ 4811695 w 10575647"/>
                <a:gd name="connsiteY84" fmla="*/ 1487409 h 1701544"/>
                <a:gd name="connsiteX85" fmla="*/ 4733588 w 10575647"/>
                <a:gd name="connsiteY85" fmla="*/ 1416300 h 1701544"/>
                <a:gd name="connsiteX86" fmla="*/ 4719215 w 10575647"/>
                <a:gd name="connsiteY86" fmla="*/ 1401339 h 1701544"/>
                <a:gd name="connsiteX87" fmla="*/ 4595103 w 10575647"/>
                <a:gd name="connsiteY87" fmla="*/ 1525451 h 1701544"/>
                <a:gd name="connsiteX88" fmla="*/ 4607819 w 10575647"/>
                <a:gd name="connsiteY88" fmla="*/ 1539824 h 1701544"/>
                <a:gd name="connsiteX89" fmla="*/ 4999546 w 10575647"/>
                <a:gd name="connsiteY89" fmla="*/ 1701544 h 1701544"/>
                <a:gd name="connsiteX90" fmla="*/ 5327264 w 10575647"/>
                <a:gd name="connsiteY90" fmla="*/ 1583314 h 1701544"/>
                <a:gd name="connsiteX91" fmla="*/ 6317923 w 10575647"/>
                <a:gd name="connsiteY91" fmla="*/ 747497 h 1701544"/>
                <a:gd name="connsiteX92" fmla="*/ 5805203 w 10575647"/>
                <a:gd name="connsiteY92" fmla="*/ 747497 h 1701544"/>
                <a:gd name="connsiteX93" fmla="*/ 5845913 w 10575647"/>
                <a:gd name="connsiteY93" fmla="*/ 635144 h 1701544"/>
                <a:gd name="connsiteX94" fmla="*/ 6057989 w 10575647"/>
                <a:gd name="connsiteY94" fmla="*/ 525990 h 1701544"/>
                <a:gd name="connsiteX95" fmla="*/ 6275730 w 10575647"/>
                <a:gd name="connsiteY95" fmla="*/ 633487 h 1701544"/>
                <a:gd name="connsiteX96" fmla="*/ 6317923 w 10575647"/>
                <a:gd name="connsiteY96" fmla="*/ 747497 h 1701544"/>
                <a:gd name="connsiteX97" fmla="*/ 6508188 w 10575647"/>
                <a:gd name="connsiteY97" fmla="*/ 872890 h 1701544"/>
                <a:gd name="connsiteX98" fmla="*/ 6510094 w 10575647"/>
                <a:gd name="connsiteY98" fmla="*/ 815779 h 1701544"/>
                <a:gd name="connsiteX99" fmla="*/ 6057989 w 10575647"/>
                <a:gd name="connsiteY99" fmla="*/ 359885 h 1701544"/>
                <a:gd name="connsiteX100" fmla="*/ 5609538 w 10575647"/>
                <a:gd name="connsiteY100" fmla="*/ 828654 h 1701544"/>
                <a:gd name="connsiteX101" fmla="*/ 6063495 w 10575647"/>
                <a:gd name="connsiteY101" fmla="*/ 1291865 h 1701544"/>
                <a:gd name="connsiteX102" fmla="*/ 6460066 w 10575647"/>
                <a:gd name="connsiteY102" fmla="*/ 1051710 h 1701544"/>
                <a:gd name="connsiteX103" fmla="*/ 6469966 w 10575647"/>
                <a:gd name="connsiteY103" fmla="*/ 1031572 h 1701544"/>
                <a:gd name="connsiteX104" fmla="*/ 6308923 w 10575647"/>
                <a:gd name="connsiteY104" fmla="*/ 971517 h 1701544"/>
                <a:gd name="connsiteX105" fmla="*/ 6300559 w 10575647"/>
                <a:gd name="connsiteY105" fmla="*/ 986689 h 1701544"/>
                <a:gd name="connsiteX106" fmla="*/ 6063495 w 10575647"/>
                <a:gd name="connsiteY106" fmla="*/ 1122077 h 1701544"/>
                <a:gd name="connsiteX107" fmla="*/ 5850784 w 10575647"/>
                <a:gd name="connsiteY107" fmla="*/ 1013832 h 1701544"/>
                <a:gd name="connsiteX108" fmla="*/ 5802132 w 10575647"/>
                <a:gd name="connsiteY108" fmla="*/ 891377 h 1701544"/>
                <a:gd name="connsiteX109" fmla="*/ 6506547 w 10575647"/>
                <a:gd name="connsiteY109" fmla="*/ 891377 h 1701544"/>
                <a:gd name="connsiteX110" fmla="*/ 6508188 w 10575647"/>
                <a:gd name="connsiteY110" fmla="*/ 872890 h 1701544"/>
                <a:gd name="connsiteX111" fmla="*/ 7205139 w 10575647"/>
                <a:gd name="connsiteY111" fmla="*/ 1271563 h 1701544"/>
                <a:gd name="connsiteX112" fmla="*/ 7385928 w 10575647"/>
                <a:gd name="connsiteY112" fmla="*/ 1271563 h 1701544"/>
                <a:gd name="connsiteX113" fmla="*/ 7385928 w 10575647"/>
                <a:gd name="connsiteY113" fmla="*/ 677294 h 1701544"/>
                <a:gd name="connsiteX114" fmla="*/ 7307154 w 10575647"/>
                <a:gd name="connsiteY114" fmla="*/ 435163 h 1701544"/>
                <a:gd name="connsiteX115" fmla="*/ 7096189 w 10575647"/>
                <a:gd name="connsiteY115" fmla="*/ 359885 h 1701544"/>
                <a:gd name="connsiteX116" fmla="*/ 6863625 w 10575647"/>
                <a:gd name="connsiteY116" fmla="*/ 463694 h 1701544"/>
                <a:gd name="connsiteX117" fmla="*/ 6863625 w 10575647"/>
                <a:gd name="connsiteY117" fmla="*/ 380187 h 1701544"/>
                <a:gd name="connsiteX118" fmla="*/ 6682836 w 10575647"/>
                <a:gd name="connsiteY118" fmla="*/ 380187 h 1701544"/>
                <a:gd name="connsiteX119" fmla="*/ 6682836 w 10575647"/>
                <a:gd name="connsiteY119" fmla="*/ 1271563 h 1701544"/>
                <a:gd name="connsiteX120" fmla="*/ 6863625 w 10575647"/>
                <a:gd name="connsiteY120" fmla="*/ 1271563 h 1701544"/>
                <a:gd name="connsiteX121" fmla="*/ 6863625 w 10575647"/>
                <a:gd name="connsiteY121" fmla="*/ 732701 h 1701544"/>
                <a:gd name="connsiteX122" fmla="*/ 6913971 w 10575647"/>
                <a:gd name="connsiteY122" fmla="*/ 591066 h 1701544"/>
                <a:gd name="connsiteX123" fmla="*/ 7061143 w 10575647"/>
                <a:gd name="connsiteY123" fmla="*/ 525990 h 1701544"/>
                <a:gd name="connsiteX124" fmla="*/ 7177769 w 10575647"/>
                <a:gd name="connsiteY124" fmla="*/ 575089 h 1701544"/>
                <a:gd name="connsiteX125" fmla="*/ 7205139 w 10575647"/>
                <a:gd name="connsiteY125" fmla="*/ 708709 h 1701544"/>
                <a:gd name="connsiteX126" fmla="*/ 7205139 w 10575647"/>
                <a:gd name="connsiteY126" fmla="*/ 1271563 h 1701544"/>
                <a:gd name="connsiteX127" fmla="*/ 7822309 w 10575647"/>
                <a:gd name="connsiteY127" fmla="*/ 162418 h 1701544"/>
                <a:gd name="connsiteX128" fmla="*/ 7713412 w 10575647"/>
                <a:gd name="connsiteY128" fmla="*/ 49847 h 1701544"/>
                <a:gd name="connsiteX129" fmla="*/ 7602662 w 10575647"/>
                <a:gd name="connsiteY129" fmla="*/ 160549 h 1701544"/>
                <a:gd name="connsiteX130" fmla="*/ 7711560 w 10575647"/>
                <a:gd name="connsiteY130" fmla="*/ 271303 h 1701544"/>
                <a:gd name="connsiteX131" fmla="*/ 7822309 w 10575647"/>
                <a:gd name="connsiteY131" fmla="*/ 162418 h 1701544"/>
                <a:gd name="connsiteX132" fmla="*/ 8704760 w 10575647"/>
                <a:gd name="connsiteY132" fmla="*/ 826838 h 1701544"/>
                <a:gd name="connsiteX133" fmla="*/ 8437150 w 10575647"/>
                <a:gd name="connsiteY133" fmla="*/ 1122077 h 1701544"/>
                <a:gd name="connsiteX134" fmla="*/ 8167740 w 10575647"/>
                <a:gd name="connsiteY134" fmla="*/ 826838 h 1701544"/>
                <a:gd name="connsiteX135" fmla="*/ 8439003 w 10575647"/>
                <a:gd name="connsiteY135" fmla="*/ 529677 h 1701544"/>
                <a:gd name="connsiteX136" fmla="*/ 8704760 w 10575647"/>
                <a:gd name="connsiteY136" fmla="*/ 826838 h 1701544"/>
                <a:gd name="connsiteX137" fmla="*/ 8889307 w 10575647"/>
                <a:gd name="connsiteY137" fmla="*/ 828654 h 1701544"/>
                <a:gd name="connsiteX138" fmla="*/ 8439003 w 10575647"/>
                <a:gd name="connsiteY138" fmla="*/ 359885 h 1701544"/>
                <a:gd name="connsiteX139" fmla="*/ 7983193 w 10575647"/>
                <a:gd name="connsiteY139" fmla="*/ 824916 h 1701544"/>
                <a:gd name="connsiteX140" fmla="*/ 8433444 w 10575647"/>
                <a:gd name="connsiteY140" fmla="*/ 1291865 h 1701544"/>
                <a:gd name="connsiteX141" fmla="*/ 8889307 w 10575647"/>
                <a:gd name="connsiteY141" fmla="*/ 828654 h 1701544"/>
                <a:gd name="connsiteX142" fmla="*/ 9658150 w 10575647"/>
                <a:gd name="connsiteY142" fmla="*/ 1197940 h 1701544"/>
                <a:gd name="connsiteX143" fmla="*/ 9749630 w 10575647"/>
                <a:gd name="connsiteY143" fmla="*/ 944968 h 1701544"/>
                <a:gd name="connsiteX144" fmla="*/ 9749630 w 10575647"/>
                <a:gd name="connsiteY144" fmla="*/ 380187 h 1701544"/>
                <a:gd name="connsiteX145" fmla="*/ 9566988 w 10575647"/>
                <a:gd name="connsiteY145" fmla="*/ 380187 h 1701544"/>
                <a:gd name="connsiteX146" fmla="*/ 9566988 w 10575647"/>
                <a:gd name="connsiteY146" fmla="*/ 944968 h 1701544"/>
                <a:gd name="connsiteX147" fmla="*/ 9535012 w 10575647"/>
                <a:gd name="connsiteY147" fmla="*/ 1068222 h 1701544"/>
                <a:gd name="connsiteX148" fmla="*/ 9399010 w 10575647"/>
                <a:gd name="connsiteY148" fmla="*/ 1125815 h 1701544"/>
                <a:gd name="connsiteX149" fmla="*/ 9229233 w 10575647"/>
                <a:gd name="connsiteY149" fmla="*/ 941225 h 1701544"/>
                <a:gd name="connsiteX150" fmla="*/ 9229233 w 10575647"/>
                <a:gd name="connsiteY150" fmla="*/ 380187 h 1701544"/>
                <a:gd name="connsiteX151" fmla="*/ 9048391 w 10575647"/>
                <a:gd name="connsiteY151" fmla="*/ 380187 h 1701544"/>
                <a:gd name="connsiteX152" fmla="*/ 9048391 w 10575647"/>
                <a:gd name="connsiteY152" fmla="*/ 944968 h 1701544"/>
                <a:gd name="connsiteX153" fmla="*/ 9139659 w 10575647"/>
                <a:gd name="connsiteY153" fmla="*/ 1195965 h 1701544"/>
                <a:gd name="connsiteX154" fmla="*/ 9399010 w 10575647"/>
                <a:gd name="connsiteY154" fmla="*/ 1291865 h 1701544"/>
                <a:gd name="connsiteX155" fmla="*/ 9658150 w 10575647"/>
                <a:gd name="connsiteY155" fmla="*/ 1197945 h 1701544"/>
                <a:gd name="connsiteX156" fmla="*/ 10385594 w 10575647"/>
                <a:gd name="connsiteY156" fmla="*/ 653307 h 1701544"/>
                <a:gd name="connsiteX157" fmla="*/ 10567335 w 10575647"/>
                <a:gd name="connsiteY157" fmla="*/ 653307 h 1701544"/>
                <a:gd name="connsiteX158" fmla="*/ 10566383 w 10575647"/>
                <a:gd name="connsiteY158" fmla="*/ 632041 h 1701544"/>
                <a:gd name="connsiteX159" fmla="*/ 10249009 w 10575647"/>
                <a:gd name="connsiteY159" fmla="*/ 359885 h 1701544"/>
                <a:gd name="connsiteX160" fmla="*/ 9929730 w 10575647"/>
                <a:gd name="connsiteY160" fmla="*/ 627446 h 1701544"/>
                <a:gd name="connsiteX161" fmla="*/ 10212587 w 10575647"/>
                <a:gd name="connsiteY161" fmla="*/ 903611 h 1701544"/>
                <a:gd name="connsiteX162" fmla="*/ 10391099 w 10575647"/>
                <a:gd name="connsiteY162" fmla="*/ 1031625 h 1701544"/>
                <a:gd name="connsiteX163" fmla="*/ 10252715 w 10575647"/>
                <a:gd name="connsiteY163" fmla="*/ 1136874 h 1701544"/>
                <a:gd name="connsiteX164" fmla="*/ 10093843 w 10575647"/>
                <a:gd name="connsiteY164" fmla="*/ 1007579 h 1701544"/>
                <a:gd name="connsiteX165" fmla="*/ 10092096 w 10575647"/>
                <a:gd name="connsiteY165" fmla="*/ 989257 h 1701544"/>
                <a:gd name="connsiteX166" fmla="*/ 9913054 w 10575647"/>
                <a:gd name="connsiteY166" fmla="*/ 989257 h 1701544"/>
                <a:gd name="connsiteX167" fmla="*/ 9915066 w 10575647"/>
                <a:gd name="connsiteY167" fmla="*/ 1011216 h 1701544"/>
                <a:gd name="connsiteX168" fmla="*/ 10252715 w 10575647"/>
                <a:gd name="connsiteY168" fmla="*/ 1291865 h 1701544"/>
                <a:gd name="connsiteX169" fmla="*/ 10575647 w 10575647"/>
                <a:gd name="connsiteY169" fmla="*/ 1024303 h 1701544"/>
                <a:gd name="connsiteX170" fmla="*/ 10501426 w 10575647"/>
                <a:gd name="connsiteY170" fmla="*/ 843879 h 1701544"/>
                <a:gd name="connsiteX171" fmla="*/ 10285750 w 10575647"/>
                <a:gd name="connsiteY171" fmla="*/ 740769 h 1701544"/>
                <a:gd name="connsiteX172" fmla="*/ 10110519 w 10575647"/>
                <a:gd name="connsiteY172" fmla="*/ 616440 h 1701544"/>
                <a:gd name="connsiteX173" fmla="*/ 10243398 w 10575647"/>
                <a:gd name="connsiteY173" fmla="*/ 514877 h 1701544"/>
                <a:gd name="connsiteX174" fmla="*/ 10385594 w 10575647"/>
                <a:gd name="connsiteY174" fmla="*/ 623762 h 1701544"/>
                <a:gd name="connsiteX175" fmla="*/ 10385594 w 10575647"/>
                <a:gd name="connsiteY175" fmla="*/ 653307 h 170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10575647" h="1701544">
                  <a:moveTo>
                    <a:pt x="7802033" y="380187"/>
                  </a:moveTo>
                  <a:lnTo>
                    <a:pt x="7621138" y="380187"/>
                  </a:lnTo>
                  <a:lnTo>
                    <a:pt x="7621138" y="1271563"/>
                  </a:lnTo>
                  <a:lnTo>
                    <a:pt x="7802033" y="1271563"/>
                  </a:lnTo>
                  <a:lnTo>
                    <a:pt x="7802033" y="380187"/>
                  </a:lnTo>
                  <a:close/>
                  <a:moveTo>
                    <a:pt x="706522" y="1271563"/>
                  </a:moveTo>
                  <a:lnTo>
                    <a:pt x="902065" y="1271563"/>
                  </a:lnTo>
                  <a:lnTo>
                    <a:pt x="902065" y="0"/>
                  </a:lnTo>
                  <a:lnTo>
                    <a:pt x="706522" y="0"/>
                  </a:lnTo>
                  <a:lnTo>
                    <a:pt x="706522" y="553717"/>
                  </a:lnTo>
                  <a:lnTo>
                    <a:pt x="195543" y="553717"/>
                  </a:lnTo>
                  <a:lnTo>
                    <a:pt x="195543" y="0"/>
                  </a:lnTo>
                  <a:lnTo>
                    <a:pt x="0" y="0"/>
                  </a:lnTo>
                  <a:lnTo>
                    <a:pt x="0" y="1271563"/>
                  </a:lnTo>
                  <a:lnTo>
                    <a:pt x="195543" y="1271563"/>
                  </a:lnTo>
                  <a:lnTo>
                    <a:pt x="195543" y="727142"/>
                  </a:lnTo>
                  <a:lnTo>
                    <a:pt x="706522" y="727142"/>
                  </a:lnTo>
                  <a:lnTo>
                    <a:pt x="706522" y="1271563"/>
                  </a:lnTo>
                  <a:close/>
                  <a:moveTo>
                    <a:pt x="1306185" y="1690649"/>
                  </a:moveTo>
                  <a:lnTo>
                    <a:pt x="1654904" y="1036061"/>
                  </a:lnTo>
                  <a:lnTo>
                    <a:pt x="1306185" y="381469"/>
                  </a:lnTo>
                  <a:lnTo>
                    <a:pt x="1090234" y="381469"/>
                  </a:lnTo>
                  <a:lnTo>
                    <a:pt x="1438900" y="1036061"/>
                  </a:lnTo>
                  <a:lnTo>
                    <a:pt x="1090234" y="1690649"/>
                  </a:lnTo>
                  <a:lnTo>
                    <a:pt x="1306185" y="1690649"/>
                  </a:lnTo>
                  <a:close/>
                  <a:moveTo>
                    <a:pt x="2581808" y="828654"/>
                  </a:moveTo>
                  <a:cubicBezTo>
                    <a:pt x="2581808" y="1002989"/>
                    <a:pt x="2470789" y="1129505"/>
                    <a:pt x="2317883" y="1129505"/>
                  </a:cubicBezTo>
                  <a:cubicBezTo>
                    <a:pt x="2168980" y="1129505"/>
                    <a:pt x="2065011" y="1007262"/>
                    <a:pt x="2065011" y="832338"/>
                  </a:cubicBezTo>
                  <a:cubicBezTo>
                    <a:pt x="2065011" y="649088"/>
                    <a:pt x="2170314" y="525990"/>
                    <a:pt x="2327068" y="525990"/>
                  </a:cubicBezTo>
                  <a:cubicBezTo>
                    <a:pt x="2479444" y="525990"/>
                    <a:pt x="2581808" y="647590"/>
                    <a:pt x="2581808" y="828654"/>
                  </a:cubicBezTo>
                  <a:moveTo>
                    <a:pt x="2581808" y="1271563"/>
                  </a:moveTo>
                  <a:lnTo>
                    <a:pt x="2762608" y="1271563"/>
                  </a:lnTo>
                  <a:lnTo>
                    <a:pt x="2762608" y="0"/>
                  </a:lnTo>
                  <a:lnTo>
                    <a:pt x="2581808" y="0"/>
                  </a:lnTo>
                  <a:lnTo>
                    <a:pt x="2581808" y="476356"/>
                  </a:lnTo>
                  <a:cubicBezTo>
                    <a:pt x="2503431" y="397017"/>
                    <a:pt x="2412449" y="359885"/>
                    <a:pt x="2297581" y="359885"/>
                  </a:cubicBezTo>
                  <a:cubicBezTo>
                    <a:pt x="2057690" y="359885"/>
                    <a:pt x="1876785" y="562214"/>
                    <a:pt x="1876785" y="830470"/>
                  </a:cubicBezTo>
                  <a:cubicBezTo>
                    <a:pt x="1876785" y="1102145"/>
                    <a:pt x="2049839" y="1291865"/>
                    <a:pt x="2297581" y="1291865"/>
                  </a:cubicBezTo>
                  <a:cubicBezTo>
                    <a:pt x="2414371" y="1291865"/>
                    <a:pt x="2503061" y="1251959"/>
                    <a:pt x="2581808" y="1163217"/>
                  </a:cubicBezTo>
                  <a:lnTo>
                    <a:pt x="2581808" y="1271563"/>
                  </a:lnTo>
                  <a:close/>
                  <a:moveTo>
                    <a:pt x="3437445" y="542393"/>
                  </a:moveTo>
                  <a:lnTo>
                    <a:pt x="3460310" y="545331"/>
                  </a:lnTo>
                  <a:lnTo>
                    <a:pt x="3460310" y="359885"/>
                  </a:lnTo>
                  <a:lnTo>
                    <a:pt x="3406830" y="359885"/>
                  </a:lnTo>
                  <a:cubicBezTo>
                    <a:pt x="3341169" y="359885"/>
                    <a:pt x="3277430" y="380294"/>
                    <a:pt x="3231965" y="415877"/>
                  </a:cubicBezTo>
                  <a:cubicBezTo>
                    <a:pt x="3213690" y="430035"/>
                    <a:pt x="3199693" y="444353"/>
                    <a:pt x="3187194" y="462091"/>
                  </a:cubicBezTo>
                  <a:lnTo>
                    <a:pt x="3187194" y="380187"/>
                  </a:lnTo>
                  <a:lnTo>
                    <a:pt x="3006395" y="380187"/>
                  </a:lnTo>
                  <a:lnTo>
                    <a:pt x="3006395" y="1271563"/>
                  </a:lnTo>
                  <a:lnTo>
                    <a:pt x="3187194" y="1271563"/>
                  </a:lnTo>
                  <a:lnTo>
                    <a:pt x="3187194" y="819411"/>
                  </a:lnTo>
                  <a:cubicBezTo>
                    <a:pt x="3187194" y="727783"/>
                    <a:pt x="3198894" y="679915"/>
                    <a:pt x="3233517" y="629638"/>
                  </a:cubicBezTo>
                  <a:cubicBezTo>
                    <a:pt x="3272300" y="572310"/>
                    <a:pt x="3331926" y="540683"/>
                    <a:pt x="3401277" y="540683"/>
                  </a:cubicBezTo>
                  <a:cubicBezTo>
                    <a:pt x="3410356" y="540683"/>
                    <a:pt x="3423983" y="540683"/>
                    <a:pt x="3437445" y="542393"/>
                  </a:cubicBezTo>
                  <a:moveTo>
                    <a:pt x="4250980" y="826838"/>
                  </a:moveTo>
                  <a:cubicBezTo>
                    <a:pt x="4250980" y="1000692"/>
                    <a:pt x="4140918" y="1122077"/>
                    <a:pt x="3983364" y="1122077"/>
                  </a:cubicBezTo>
                  <a:cubicBezTo>
                    <a:pt x="3822174" y="1122077"/>
                    <a:pt x="3713875" y="1003466"/>
                    <a:pt x="3713875" y="826838"/>
                  </a:cubicBezTo>
                  <a:cubicBezTo>
                    <a:pt x="3713875" y="649088"/>
                    <a:pt x="3822920" y="529677"/>
                    <a:pt x="3985180" y="529677"/>
                  </a:cubicBezTo>
                  <a:cubicBezTo>
                    <a:pt x="4144179" y="529677"/>
                    <a:pt x="4250980" y="649088"/>
                    <a:pt x="4250980" y="826838"/>
                  </a:cubicBezTo>
                  <a:moveTo>
                    <a:pt x="4435464" y="828654"/>
                  </a:moveTo>
                  <a:cubicBezTo>
                    <a:pt x="4435464" y="557084"/>
                    <a:pt x="4246120" y="359885"/>
                    <a:pt x="3985180" y="359885"/>
                  </a:cubicBezTo>
                  <a:cubicBezTo>
                    <a:pt x="3716818" y="359885"/>
                    <a:pt x="3529338" y="551155"/>
                    <a:pt x="3529338" y="824916"/>
                  </a:cubicBezTo>
                  <a:cubicBezTo>
                    <a:pt x="3529338" y="1099848"/>
                    <a:pt x="3714521" y="1291865"/>
                    <a:pt x="3979622" y="1291865"/>
                  </a:cubicBezTo>
                  <a:cubicBezTo>
                    <a:pt x="4235272" y="1291865"/>
                    <a:pt x="4435464" y="1088418"/>
                    <a:pt x="4435464" y="828654"/>
                  </a:cubicBezTo>
                  <a:moveTo>
                    <a:pt x="5261608" y="828654"/>
                  </a:moveTo>
                  <a:cubicBezTo>
                    <a:pt x="5261608" y="909382"/>
                    <a:pt x="5239596" y="986748"/>
                    <a:pt x="5205508" y="1025854"/>
                  </a:cubicBezTo>
                  <a:cubicBezTo>
                    <a:pt x="5153150" y="1087026"/>
                    <a:pt x="5080062" y="1122077"/>
                    <a:pt x="5005052" y="1122077"/>
                  </a:cubicBezTo>
                  <a:cubicBezTo>
                    <a:pt x="4855296" y="1122077"/>
                    <a:pt x="4746675" y="996361"/>
                    <a:pt x="4746675" y="823153"/>
                  </a:cubicBezTo>
                  <a:cubicBezTo>
                    <a:pt x="4746675" y="650316"/>
                    <a:pt x="4854386" y="529677"/>
                    <a:pt x="5008683" y="529677"/>
                  </a:cubicBezTo>
                  <a:cubicBezTo>
                    <a:pt x="5078193" y="529677"/>
                    <a:pt x="5151652" y="563177"/>
                    <a:pt x="5200378" y="617081"/>
                  </a:cubicBezTo>
                  <a:cubicBezTo>
                    <a:pt x="5246112" y="667892"/>
                    <a:pt x="5261608" y="721266"/>
                    <a:pt x="5261608" y="828654"/>
                  </a:cubicBezTo>
                  <a:moveTo>
                    <a:pt x="5327264" y="1583314"/>
                  </a:moveTo>
                  <a:cubicBezTo>
                    <a:pt x="5409426" y="1504990"/>
                    <a:pt x="5446113" y="1404277"/>
                    <a:pt x="5446113" y="1256819"/>
                  </a:cubicBezTo>
                  <a:lnTo>
                    <a:pt x="5446113" y="380187"/>
                  </a:lnTo>
                  <a:lnTo>
                    <a:pt x="5265239" y="380187"/>
                  </a:lnTo>
                  <a:lnTo>
                    <a:pt x="5265239" y="488537"/>
                  </a:lnTo>
                  <a:cubicBezTo>
                    <a:pt x="5186005" y="398673"/>
                    <a:pt x="5100153" y="359885"/>
                    <a:pt x="4982875" y="359885"/>
                  </a:cubicBezTo>
                  <a:cubicBezTo>
                    <a:pt x="4866567" y="359885"/>
                    <a:pt x="4771201" y="395361"/>
                    <a:pt x="4699394" y="465190"/>
                  </a:cubicBezTo>
                  <a:cubicBezTo>
                    <a:pt x="4611080" y="549710"/>
                    <a:pt x="4558400" y="685574"/>
                    <a:pt x="4558400" y="828654"/>
                  </a:cubicBezTo>
                  <a:cubicBezTo>
                    <a:pt x="4558400" y="1092743"/>
                    <a:pt x="4736097" y="1291865"/>
                    <a:pt x="4971816" y="1291865"/>
                  </a:cubicBezTo>
                  <a:cubicBezTo>
                    <a:pt x="5092032" y="1291865"/>
                    <a:pt x="5185952" y="1246830"/>
                    <a:pt x="5265239" y="1150553"/>
                  </a:cubicBezTo>
                  <a:lnTo>
                    <a:pt x="5265239" y="1267931"/>
                  </a:lnTo>
                  <a:cubicBezTo>
                    <a:pt x="5265239" y="1350745"/>
                    <a:pt x="5245313" y="1414431"/>
                    <a:pt x="5206095" y="1457116"/>
                  </a:cubicBezTo>
                  <a:cubicBezTo>
                    <a:pt x="5162288" y="1504291"/>
                    <a:pt x="5083159" y="1533625"/>
                    <a:pt x="4999546" y="1533625"/>
                  </a:cubicBezTo>
                  <a:cubicBezTo>
                    <a:pt x="4932122" y="1533625"/>
                    <a:pt x="4856471" y="1514979"/>
                    <a:pt x="4811695" y="1487409"/>
                  </a:cubicBezTo>
                  <a:cubicBezTo>
                    <a:pt x="4788777" y="1471596"/>
                    <a:pt x="4771254" y="1455624"/>
                    <a:pt x="4733588" y="1416300"/>
                  </a:cubicBezTo>
                  <a:lnTo>
                    <a:pt x="4719215" y="1401339"/>
                  </a:lnTo>
                  <a:lnTo>
                    <a:pt x="4595103" y="1525451"/>
                  </a:lnTo>
                  <a:lnTo>
                    <a:pt x="4607819" y="1539824"/>
                  </a:lnTo>
                  <a:cubicBezTo>
                    <a:pt x="4703719" y="1647106"/>
                    <a:pt x="4835528" y="1701544"/>
                    <a:pt x="4999546" y="1701544"/>
                  </a:cubicBezTo>
                  <a:cubicBezTo>
                    <a:pt x="5134664" y="1701544"/>
                    <a:pt x="5247981" y="1660675"/>
                    <a:pt x="5327264" y="1583314"/>
                  </a:cubicBezTo>
                  <a:moveTo>
                    <a:pt x="6317923" y="747497"/>
                  </a:moveTo>
                  <a:lnTo>
                    <a:pt x="5805203" y="747497"/>
                  </a:lnTo>
                  <a:cubicBezTo>
                    <a:pt x="5814785" y="696051"/>
                    <a:pt x="5825267" y="667627"/>
                    <a:pt x="5845913" y="635144"/>
                  </a:cubicBezTo>
                  <a:cubicBezTo>
                    <a:pt x="5892024" y="566756"/>
                    <a:pt x="5971327" y="525990"/>
                    <a:pt x="6057989" y="525990"/>
                  </a:cubicBezTo>
                  <a:cubicBezTo>
                    <a:pt x="6144228" y="525990"/>
                    <a:pt x="6225702" y="566274"/>
                    <a:pt x="6275730" y="633487"/>
                  </a:cubicBezTo>
                  <a:cubicBezTo>
                    <a:pt x="6300453" y="669067"/>
                    <a:pt x="6312047" y="699841"/>
                    <a:pt x="6317923" y="747497"/>
                  </a:cubicBezTo>
                  <a:moveTo>
                    <a:pt x="6508188" y="872890"/>
                  </a:moveTo>
                  <a:cubicBezTo>
                    <a:pt x="6510094" y="851683"/>
                    <a:pt x="6510094" y="827426"/>
                    <a:pt x="6510094" y="815779"/>
                  </a:cubicBezTo>
                  <a:cubicBezTo>
                    <a:pt x="6510094" y="555909"/>
                    <a:pt x="6315700" y="359885"/>
                    <a:pt x="6057989" y="359885"/>
                  </a:cubicBezTo>
                  <a:cubicBezTo>
                    <a:pt x="5798109" y="359885"/>
                    <a:pt x="5609538" y="557084"/>
                    <a:pt x="5609538" y="828654"/>
                  </a:cubicBezTo>
                  <a:cubicBezTo>
                    <a:pt x="5609538" y="1097074"/>
                    <a:pt x="5800491" y="1291865"/>
                    <a:pt x="6063495" y="1291865"/>
                  </a:cubicBezTo>
                  <a:cubicBezTo>
                    <a:pt x="6235020" y="1291865"/>
                    <a:pt x="6386956" y="1199867"/>
                    <a:pt x="6460066" y="1051710"/>
                  </a:cubicBezTo>
                  <a:lnTo>
                    <a:pt x="6469966" y="1031572"/>
                  </a:lnTo>
                  <a:lnTo>
                    <a:pt x="6308923" y="971517"/>
                  </a:lnTo>
                  <a:lnTo>
                    <a:pt x="6300559" y="986689"/>
                  </a:lnTo>
                  <a:cubicBezTo>
                    <a:pt x="6254237" y="1068968"/>
                    <a:pt x="6161169" y="1122077"/>
                    <a:pt x="6063495" y="1122077"/>
                  </a:cubicBezTo>
                  <a:cubicBezTo>
                    <a:pt x="5977415" y="1122077"/>
                    <a:pt x="5901923" y="1083664"/>
                    <a:pt x="5850784" y="1013832"/>
                  </a:cubicBezTo>
                  <a:cubicBezTo>
                    <a:pt x="5821932" y="975900"/>
                    <a:pt x="5809438" y="945021"/>
                    <a:pt x="5802132" y="891377"/>
                  </a:cubicBezTo>
                  <a:lnTo>
                    <a:pt x="6506547" y="891377"/>
                  </a:lnTo>
                  <a:lnTo>
                    <a:pt x="6508188" y="872890"/>
                  </a:lnTo>
                  <a:close/>
                  <a:moveTo>
                    <a:pt x="7205139" y="1271563"/>
                  </a:moveTo>
                  <a:lnTo>
                    <a:pt x="7385928" y="1271563"/>
                  </a:lnTo>
                  <a:lnTo>
                    <a:pt x="7385928" y="677294"/>
                  </a:lnTo>
                  <a:cubicBezTo>
                    <a:pt x="7385928" y="554734"/>
                    <a:pt x="7365387" y="491422"/>
                    <a:pt x="7307154" y="435163"/>
                  </a:cubicBezTo>
                  <a:cubicBezTo>
                    <a:pt x="7252520" y="386599"/>
                    <a:pt x="7177557" y="359885"/>
                    <a:pt x="7096189" y="359885"/>
                  </a:cubicBezTo>
                  <a:cubicBezTo>
                    <a:pt x="7000739" y="359885"/>
                    <a:pt x="6929853" y="391193"/>
                    <a:pt x="6863625" y="463694"/>
                  </a:cubicBezTo>
                  <a:lnTo>
                    <a:pt x="6863625" y="380187"/>
                  </a:lnTo>
                  <a:lnTo>
                    <a:pt x="6682836" y="380187"/>
                  </a:lnTo>
                  <a:lnTo>
                    <a:pt x="6682836" y="1271563"/>
                  </a:lnTo>
                  <a:lnTo>
                    <a:pt x="6863625" y="1271563"/>
                  </a:lnTo>
                  <a:lnTo>
                    <a:pt x="6863625" y="732701"/>
                  </a:lnTo>
                  <a:cubicBezTo>
                    <a:pt x="6863625" y="667839"/>
                    <a:pt x="6876278" y="632147"/>
                    <a:pt x="6913971" y="591066"/>
                  </a:cubicBezTo>
                  <a:cubicBezTo>
                    <a:pt x="6951505" y="548481"/>
                    <a:pt x="7002433" y="525990"/>
                    <a:pt x="7061143" y="525990"/>
                  </a:cubicBezTo>
                  <a:cubicBezTo>
                    <a:pt x="7110748" y="525990"/>
                    <a:pt x="7155428" y="544744"/>
                    <a:pt x="7177769" y="575089"/>
                  </a:cubicBezTo>
                  <a:cubicBezTo>
                    <a:pt x="7197410" y="601215"/>
                    <a:pt x="7205139" y="638722"/>
                    <a:pt x="7205139" y="708709"/>
                  </a:cubicBezTo>
                  <a:lnTo>
                    <a:pt x="7205139" y="1271563"/>
                  </a:lnTo>
                  <a:close/>
                  <a:moveTo>
                    <a:pt x="7822309" y="162418"/>
                  </a:moveTo>
                  <a:cubicBezTo>
                    <a:pt x="7822309" y="99268"/>
                    <a:pt x="7774452" y="49847"/>
                    <a:pt x="7713412" y="49847"/>
                  </a:cubicBezTo>
                  <a:cubicBezTo>
                    <a:pt x="7650255" y="49847"/>
                    <a:pt x="7602662" y="97451"/>
                    <a:pt x="7602662" y="160549"/>
                  </a:cubicBezTo>
                  <a:cubicBezTo>
                    <a:pt x="7602662" y="223699"/>
                    <a:pt x="7649514" y="271303"/>
                    <a:pt x="7711560" y="271303"/>
                  </a:cubicBezTo>
                  <a:cubicBezTo>
                    <a:pt x="7773711" y="271303"/>
                    <a:pt x="7822309" y="223432"/>
                    <a:pt x="7822309" y="162418"/>
                  </a:cubicBezTo>
                  <a:moveTo>
                    <a:pt x="8704760" y="826838"/>
                  </a:moveTo>
                  <a:cubicBezTo>
                    <a:pt x="8704760" y="1000692"/>
                    <a:pt x="8594751" y="1122077"/>
                    <a:pt x="8437150" y="1122077"/>
                  </a:cubicBezTo>
                  <a:cubicBezTo>
                    <a:pt x="8276002" y="1122077"/>
                    <a:pt x="8167740" y="1003466"/>
                    <a:pt x="8167740" y="826838"/>
                  </a:cubicBezTo>
                  <a:cubicBezTo>
                    <a:pt x="8167740" y="649088"/>
                    <a:pt x="8276743" y="529677"/>
                    <a:pt x="8439003" y="529677"/>
                  </a:cubicBezTo>
                  <a:cubicBezTo>
                    <a:pt x="8597980" y="529677"/>
                    <a:pt x="8704760" y="649088"/>
                    <a:pt x="8704760" y="826838"/>
                  </a:cubicBezTo>
                  <a:moveTo>
                    <a:pt x="8889307" y="828654"/>
                  </a:moveTo>
                  <a:cubicBezTo>
                    <a:pt x="8889307" y="557084"/>
                    <a:pt x="8699942" y="359885"/>
                    <a:pt x="8439003" y="359885"/>
                  </a:cubicBezTo>
                  <a:cubicBezTo>
                    <a:pt x="8170652" y="359885"/>
                    <a:pt x="7983193" y="551155"/>
                    <a:pt x="7983193" y="824916"/>
                  </a:cubicBezTo>
                  <a:cubicBezTo>
                    <a:pt x="7983193" y="1099848"/>
                    <a:pt x="8168375" y="1291865"/>
                    <a:pt x="8433444" y="1291865"/>
                  </a:cubicBezTo>
                  <a:cubicBezTo>
                    <a:pt x="8689089" y="1291865"/>
                    <a:pt x="8889307" y="1088418"/>
                    <a:pt x="8889307" y="828654"/>
                  </a:cubicBezTo>
                  <a:moveTo>
                    <a:pt x="9658150" y="1197940"/>
                  </a:moveTo>
                  <a:cubicBezTo>
                    <a:pt x="9724854" y="1137144"/>
                    <a:pt x="9749630" y="1068539"/>
                    <a:pt x="9749630" y="944968"/>
                  </a:cubicBezTo>
                  <a:lnTo>
                    <a:pt x="9749630" y="380187"/>
                  </a:lnTo>
                  <a:lnTo>
                    <a:pt x="9566988" y="380187"/>
                  </a:lnTo>
                  <a:lnTo>
                    <a:pt x="9566988" y="944968"/>
                  </a:lnTo>
                  <a:cubicBezTo>
                    <a:pt x="9566988" y="1008437"/>
                    <a:pt x="9558835" y="1039587"/>
                    <a:pt x="9535012" y="1068222"/>
                  </a:cubicBezTo>
                  <a:cubicBezTo>
                    <a:pt x="9503831" y="1104284"/>
                    <a:pt x="9453009" y="1125815"/>
                    <a:pt x="9399010" y="1125815"/>
                  </a:cubicBezTo>
                  <a:cubicBezTo>
                    <a:pt x="9299060" y="1125815"/>
                    <a:pt x="9229233" y="1049947"/>
                    <a:pt x="9229233" y="941225"/>
                  </a:cubicBezTo>
                  <a:lnTo>
                    <a:pt x="9229233" y="380187"/>
                  </a:lnTo>
                  <a:lnTo>
                    <a:pt x="9048391" y="380187"/>
                  </a:lnTo>
                  <a:lnTo>
                    <a:pt x="9048391" y="944968"/>
                  </a:lnTo>
                  <a:cubicBezTo>
                    <a:pt x="9048391" y="1054330"/>
                    <a:pt x="9078249" y="1136392"/>
                    <a:pt x="9139659" y="1195965"/>
                  </a:cubicBezTo>
                  <a:cubicBezTo>
                    <a:pt x="9204563" y="1256925"/>
                    <a:pt x="9299113" y="1291865"/>
                    <a:pt x="9399010" y="1291865"/>
                  </a:cubicBezTo>
                  <a:cubicBezTo>
                    <a:pt x="9499701" y="1291865"/>
                    <a:pt x="9591763" y="1258529"/>
                    <a:pt x="9658150" y="1197945"/>
                  </a:cubicBezTo>
                  <a:moveTo>
                    <a:pt x="10385594" y="653307"/>
                  </a:moveTo>
                  <a:lnTo>
                    <a:pt x="10567335" y="653307"/>
                  </a:lnTo>
                  <a:lnTo>
                    <a:pt x="10566383" y="632041"/>
                  </a:lnTo>
                  <a:cubicBezTo>
                    <a:pt x="10558442" y="459099"/>
                    <a:pt x="10442768" y="359885"/>
                    <a:pt x="10249009" y="359885"/>
                  </a:cubicBezTo>
                  <a:cubicBezTo>
                    <a:pt x="10058003" y="359885"/>
                    <a:pt x="9929730" y="467434"/>
                    <a:pt x="9929730" y="627446"/>
                  </a:cubicBezTo>
                  <a:cubicBezTo>
                    <a:pt x="9929730" y="765666"/>
                    <a:pt x="10016922" y="850825"/>
                    <a:pt x="10212587" y="903611"/>
                  </a:cubicBezTo>
                  <a:cubicBezTo>
                    <a:pt x="10347689" y="937858"/>
                    <a:pt x="10391099" y="968955"/>
                    <a:pt x="10391099" y="1031625"/>
                  </a:cubicBezTo>
                  <a:cubicBezTo>
                    <a:pt x="10391099" y="1095576"/>
                    <a:pt x="10336730" y="1136874"/>
                    <a:pt x="10252715" y="1136874"/>
                  </a:cubicBezTo>
                  <a:cubicBezTo>
                    <a:pt x="10155517" y="1136874"/>
                    <a:pt x="10102102" y="1093384"/>
                    <a:pt x="10093843" y="1007579"/>
                  </a:cubicBezTo>
                  <a:lnTo>
                    <a:pt x="10092096" y="989257"/>
                  </a:lnTo>
                  <a:lnTo>
                    <a:pt x="9913054" y="989257"/>
                  </a:lnTo>
                  <a:lnTo>
                    <a:pt x="9915066" y="1011216"/>
                  </a:lnTo>
                  <a:cubicBezTo>
                    <a:pt x="9930789" y="1194843"/>
                    <a:pt x="10047626" y="1291865"/>
                    <a:pt x="10252715" y="1291865"/>
                  </a:cubicBezTo>
                  <a:cubicBezTo>
                    <a:pt x="10445839" y="1291865"/>
                    <a:pt x="10575647" y="1184371"/>
                    <a:pt x="10575647" y="1024303"/>
                  </a:cubicBezTo>
                  <a:cubicBezTo>
                    <a:pt x="10575647" y="956667"/>
                    <a:pt x="10548542" y="890948"/>
                    <a:pt x="10501426" y="843879"/>
                  </a:cubicBezTo>
                  <a:cubicBezTo>
                    <a:pt x="10457485" y="799913"/>
                    <a:pt x="10397028" y="770955"/>
                    <a:pt x="10285750" y="740769"/>
                  </a:cubicBezTo>
                  <a:cubicBezTo>
                    <a:pt x="10125660" y="696474"/>
                    <a:pt x="10110519" y="671471"/>
                    <a:pt x="10110519" y="616440"/>
                  </a:cubicBezTo>
                  <a:cubicBezTo>
                    <a:pt x="10110519" y="553823"/>
                    <a:pt x="10161447" y="514877"/>
                    <a:pt x="10243398" y="514877"/>
                  </a:cubicBezTo>
                  <a:cubicBezTo>
                    <a:pt x="10329795" y="514877"/>
                    <a:pt x="10385594" y="557672"/>
                    <a:pt x="10385594" y="623762"/>
                  </a:cubicBezTo>
                  <a:lnTo>
                    <a:pt x="10385594" y="653307"/>
                  </a:ln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365B8714-81D7-8604-E035-DDDEBB771359}"/>
              </a:ext>
            </a:extLst>
          </p:cNvPr>
          <p:cNvGrpSpPr/>
          <p:nvPr userDrawn="1"/>
        </p:nvGrpSpPr>
        <p:grpSpPr>
          <a:xfrm rot="5400000">
            <a:off x="-3617983" y="3323777"/>
            <a:ext cx="6854690" cy="213756"/>
            <a:chOff x="-1" y="-286346"/>
            <a:chExt cx="5820565" cy="181508"/>
          </a:xfrm>
        </p:grpSpPr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15C04D2E-77CF-E9C4-898D-08A7443E54D2}"/>
                </a:ext>
              </a:extLst>
            </p:cNvPr>
            <p:cNvGrpSpPr/>
            <p:nvPr userDrawn="1"/>
          </p:nvGrpSpPr>
          <p:grpSpPr>
            <a:xfrm rot="16200000">
              <a:off x="363007" y="-649354"/>
              <a:ext cx="181503" cy="907520"/>
              <a:chOff x="1319213" y="-1663170"/>
              <a:chExt cx="181503" cy="907520"/>
            </a:xfrm>
          </p:grpSpPr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B0A0AB0D-7D2A-2CEE-A837-920135FBF0D9}"/>
                  </a:ext>
                </a:extLst>
              </p:cNvPr>
              <p:cNvSpPr/>
              <p:nvPr/>
            </p:nvSpPr>
            <p:spPr>
              <a:xfrm>
                <a:off x="1319213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44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4CCCBF5B-CFDF-7985-986E-1694CFDCD1D7}"/>
                  </a:ext>
                </a:extLst>
              </p:cNvPr>
              <p:cNvSpPr/>
              <p:nvPr/>
            </p:nvSpPr>
            <p:spPr>
              <a:xfrm>
                <a:off x="1319213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69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F889E528-9136-A636-9AD7-8B2052CFC51F}"/>
                  </a:ext>
                </a:extLst>
              </p:cNvPr>
              <p:cNvSpPr/>
              <p:nvPr/>
            </p:nvSpPr>
            <p:spPr>
              <a:xfrm>
                <a:off x="1319213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FE8F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642419CB-7798-5CAE-3B1B-9C6DE3B2438B}"/>
                  </a:ext>
                </a:extLst>
              </p:cNvPr>
              <p:cNvSpPr/>
              <p:nvPr/>
            </p:nvSpPr>
            <p:spPr>
              <a:xfrm>
                <a:off x="1319213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B4B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7FA80A0D-1151-17C4-5D4B-224D918370AD}"/>
                  </a:ext>
                </a:extLst>
              </p:cNvPr>
              <p:cNvSpPr/>
              <p:nvPr/>
            </p:nvSpPr>
            <p:spPr>
              <a:xfrm>
                <a:off x="1319213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D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89334982-C727-9B6B-0F58-0B686859E0FC}"/>
                </a:ext>
              </a:extLst>
            </p:cNvPr>
            <p:cNvGrpSpPr/>
            <p:nvPr userDrawn="1"/>
          </p:nvGrpSpPr>
          <p:grpSpPr>
            <a:xfrm rot="16200000">
              <a:off x="1345616" y="-649354"/>
              <a:ext cx="181503" cy="907520"/>
              <a:chOff x="1319213" y="-664912"/>
              <a:chExt cx="181503" cy="907520"/>
            </a:xfrm>
          </p:grpSpPr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6C484908-C6AB-7B50-8A61-8A50C1A31B01}"/>
                  </a:ext>
                </a:extLst>
              </p:cNvPr>
              <p:cNvSpPr/>
              <p:nvPr/>
            </p:nvSpPr>
            <p:spPr>
              <a:xfrm>
                <a:off x="1319213" y="-66491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6400A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8C987AEE-C56B-AB4C-39F9-FDBF5362A4EE}"/>
                  </a:ext>
                </a:extLst>
              </p:cNvPr>
              <p:cNvSpPr/>
              <p:nvPr/>
            </p:nvSpPr>
            <p:spPr>
              <a:xfrm>
                <a:off x="1319213" y="-483404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33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1EB014A6-C190-54FB-D86F-3956BB1D6BB5}"/>
                  </a:ext>
                </a:extLst>
              </p:cNvPr>
              <p:cNvSpPr/>
              <p:nvPr/>
            </p:nvSpPr>
            <p:spPr>
              <a:xfrm>
                <a:off x="1319213" y="-30189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266C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52E90624-FB9F-9CAA-EA73-11920438A548}"/>
                  </a:ext>
                </a:extLst>
              </p:cNvPr>
              <p:cNvSpPr/>
              <p:nvPr/>
            </p:nvSpPr>
            <p:spPr>
              <a:xfrm>
                <a:off x="1319213" y="-120387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199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CB1838F9-C81D-EE6B-9DF6-2D2EB98074DD}"/>
                  </a:ext>
                </a:extLst>
              </p:cNvPr>
              <p:cNvSpPr/>
              <p:nvPr/>
            </p:nvSpPr>
            <p:spPr>
              <a:xfrm>
                <a:off x="1319213" y="6110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0CC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04AD27AD-B5C1-2D0D-B009-E4354147FAAB}"/>
                </a:ext>
              </a:extLst>
            </p:cNvPr>
            <p:cNvGrpSpPr/>
            <p:nvPr userDrawn="1"/>
          </p:nvGrpSpPr>
          <p:grpSpPr>
            <a:xfrm rot="16200000">
              <a:off x="2328223" y="-649352"/>
              <a:ext cx="181508" cy="907520"/>
              <a:chOff x="1682219" y="-1663170"/>
              <a:chExt cx="181508" cy="907520"/>
            </a:xfrm>
          </p:grpSpPr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D83A8592-745E-3FF8-C38E-50D041156349}"/>
                  </a:ext>
                </a:extLst>
              </p:cNvPr>
              <p:cNvSpPr/>
              <p:nvPr/>
            </p:nvSpPr>
            <p:spPr>
              <a:xfrm>
                <a:off x="1682219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CC8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4BA37E33-25F3-1B22-F512-30884C9733DD}"/>
                  </a:ext>
                </a:extLst>
              </p:cNvPr>
              <p:cNvSpPr/>
              <p:nvPr/>
            </p:nvSpPr>
            <p:spPr>
              <a:xfrm>
                <a:off x="1682224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3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2CB44573-9F8B-97BE-A89A-4184D7630C9B}"/>
                  </a:ext>
                </a:extLst>
              </p:cNvPr>
              <p:cNvSpPr/>
              <p:nvPr/>
            </p:nvSpPr>
            <p:spPr>
              <a:xfrm>
                <a:off x="1682224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ADE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150EF673-0D06-52B3-AA94-79F2E8FE682E}"/>
                  </a:ext>
                </a:extLst>
              </p:cNvPr>
              <p:cNvSpPr/>
              <p:nvPr/>
            </p:nvSpPr>
            <p:spPr>
              <a:xfrm>
                <a:off x="1682224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E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DFC2D0DF-AA2E-7D08-EFD3-01D10F4D0019}"/>
                  </a:ext>
                </a:extLst>
              </p:cNvPr>
              <p:cNvSpPr/>
              <p:nvPr/>
            </p:nvSpPr>
            <p:spPr>
              <a:xfrm>
                <a:off x="1682219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8F4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26D2B7AB-E0C7-81C3-8477-0A3324795EC7}"/>
                </a:ext>
              </a:extLst>
            </p:cNvPr>
            <p:cNvGrpSpPr/>
            <p:nvPr userDrawn="1"/>
          </p:nvGrpSpPr>
          <p:grpSpPr>
            <a:xfrm rot="16200000">
              <a:off x="5276052" y="-649354"/>
              <a:ext cx="181503" cy="907520"/>
              <a:chOff x="2226738" y="-1663170"/>
              <a:chExt cx="181503" cy="907520"/>
            </a:xfrm>
          </p:grpSpPr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F61FEE71-F080-2798-69EE-03570CE1D7AE}"/>
                  </a:ext>
                </a:extLst>
              </p:cNvPr>
              <p:cNvSpPr/>
              <p:nvPr/>
            </p:nvSpPr>
            <p:spPr>
              <a:xfrm>
                <a:off x="2226738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DD2D5587-EEB7-80FA-F7F0-638B6DC1878E}"/>
                  </a:ext>
                </a:extLst>
              </p:cNvPr>
              <p:cNvSpPr/>
              <p:nvPr/>
            </p:nvSpPr>
            <p:spPr>
              <a:xfrm>
                <a:off x="2226738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5757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2C40784F-6327-D1BA-B974-C00F7BF70D10}"/>
                  </a:ext>
                </a:extLst>
              </p:cNvPr>
              <p:cNvSpPr/>
              <p:nvPr/>
            </p:nvSpPr>
            <p:spPr>
              <a:xfrm>
                <a:off x="2226738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8787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D7E08F99-A410-6857-65C8-B373FDF1BC5B}"/>
                  </a:ext>
                </a:extLst>
              </p:cNvPr>
              <p:cNvSpPr/>
              <p:nvPr/>
            </p:nvSpPr>
            <p:spPr>
              <a:xfrm>
                <a:off x="2226738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2B2B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9DD8EC49-D9E4-B658-4CE1-16509E4E4F4A}"/>
                  </a:ext>
                </a:extLst>
              </p:cNvPr>
              <p:cNvSpPr/>
              <p:nvPr/>
            </p:nvSpPr>
            <p:spPr>
              <a:xfrm>
                <a:off x="2226738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DA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9F28FCBB-8821-EFFB-62CD-7477F6DE7751}"/>
                </a:ext>
              </a:extLst>
            </p:cNvPr>
            <p:cNvGrpSpPr/>
            <p:nvPr userDrawn="1"/>
          </p:nvGrpSpPr>
          <p:grpSpPr>
            <a:xfrm rot="16200000">
              <a:off x="3310834" y="-649354"/>
              <a:ext cx="181503" cy="907520"/>
              <a:chOff x="1863727" y="-1663170"/>
              <a:chExt cx="181503" cy="907520"/>
            </a:xfrm>
          </p:grpSpPr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B38E2E51-382D-CF1E-C93E-6C2386B1A974}"/>
                  </a:ext>
                </a:extLst>
              </p:cNvPr>
              <p:cNvSpPr/>
              <p:nvPr/>
            </p:nvSpPr>
            <p:spPr>
              <a:xfrm>
                <a:off x="1863727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2A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F57D842F-EAA9-E935-5B8A-852D95C73ADA}"/>
                  </a:ext>
                </a:extLst>
              </p:cNvPr>
              <p:cNvSpPr/>
              <p:nvPr/>
            </p:nvSpPr>
            <p:spPr>
              <a:xfrm>
                <a:off x="1863727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5DB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48855603-58F9-184E-F72F-093B74873898}"/>
                  </a:ext>
                </a:extLst>
              </p:cNvPr>
              <p:cNvSpPr/>
              <p:nvPr/>
            </p:nvSpPr>
            <p:spPr>
              <a:xfrm>
                <a:off x="1863727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8E4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76CDE8C5-965B-9B04-C20D-0F83C32834C0}"/>
                  </a:ext>
                </a:extLst>
              </p:cNvPr>
              <p:cNvSpPr/>
              <p:nvPr/>
            </p:nvSpPr>
            <p:spPr>
              <a:xfrm>
                <a:off x="1863727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ED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F94E8670-1D06-7BD1-79B8-4E1BCFD8FE65}"/>
                  </a:ext>
                </a:extLst>
              </p:cNvPr>
              <p:cNvSpPr/>
              <p:nvPr/>
            </p:nvSpPr>
            <p:spPr>
              <a:xfrm>
                <a:off x="1863727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DF6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23AE7D70-5F9E-FC5A-0C89-39F6F0F006CD}"/>
                </a:ext>
              </a:extLst>
            </p:cNvPr>
            <p:cNvGrpSpPr/>
            <p:nvPr userDrawn="1"/>
          </p:nvGrpSpPr>
          <p:grpSpPr>
            <a:xfrm rot="16200000">
              <a:off x="4293441" y="-649352"/>
              <a:ext cx="181508" cy="907520"/>
              <a:chOff x="2045230" y="-1663170"/>
              <a:chExt cx="181508" cy="907520"/>
            </a:xfrm>
          </p:grpSpPr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6832C595-1234-2CCF-E426-AB79894F4466}"/>
                  </a:ext>
                </a:extLst>
              </p:cNvPr>
              <p:cNvSpPr/>
              <p:nvPr/>
            </p:nvSpPr>
            <p:spPr>
              <a:xfrm>
                <a:off x="2045230" y="-937158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9F7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44EDCA8E-A37F-6F39-EEAA-6179FA519B03}"/>
                  </a:ext>
                </a:extLst>
              </p:cNvPr>
              <p:cNvSpPr/>
              <p:nvPr/>
            </p:nvSpPr>
            <p:spPr>
              <a:xfrm>
                <a:off x="2045230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FED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76F0CA41-7EB7-DB2B-E15D-15D72EEAFBF9}"/>
                  </a:ext>
                </a:extLst>
              </p:cNvPr>
              <p:cNvSpPr/>
              <p:nvPr/>
            </p:nvSpPr>
            <p:spPr>
              <a:xfrm>
                <a:off x="2045230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5E3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D2E39ADE-68F1-546A-B883-49450E8AF4B4}"/>
                  </a:ext>
                </a:extLst>
              </p:cNvPr>
              <p:cNvSpPr/>
              <p:nvPr/>
            </p:nvSpPr>
            <p:spPr>
              <a:xfrm>
                <a:off x="2045230" y="-1663170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CFC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CA588B1E-7CEA-9DF9-E087-A9C583D1AE3D}"/>
                  </a:ext>
                </a:extLst>
              </p:cNvPr>
              <p:cNvSpPr/>
              <p:nvPr/>
            </p:nvSpPr>
            <p:spPr>
              <a:xfrm>
                <a:off x="2045230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BD9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0177631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(red) and Text 1/3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73236799-8186-158A-F3A4-9E2D432B77EB}"/>
              </a:ext>
            </a:extLst>
          </p:cNvPr>
          <p:cNvSpPr/>
          <p:nvPr userDrawn="1"/>
        </p:nvSpPr>
        <p:spPr>
          <a:xfrm>
            <a:off x="4067175" y="0"/>
            <a:ext cx="812482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05350" y="843891"/>
            <a:ext cx="6827836" cy="55106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964FA6FD-B18C-64CF-40CD-9C782D91C43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415668" y="503483"/>
            <a:ext cx="1289916" cy="180000"/>
            <a:chOff x="-161925" y="-1630732"/>
            <a:chExt cx="12193587" cy="1701544"/>
          </a:xfrm>
          <a:solidFill>
            <a:schemeClr val="bg1"/>
          </a:solidFill>
        </p:grpSpPr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0BAA8276-ECA1-E336-BCFB-04B3EC51B77A}"/>
                </a:ext>
              </a:extLst>
            </p:cNvPr>
            <p:cNvSpPr/>
            <p:nvPr/>
          </p:nvSpPr>
          <p:spPr>
            <a:xfrm>
              <a:off x="10774928" y="-1247713"/>
              <a:ext cx="1256734" cy="356304"/>
            </a:xfrm>
            <a:custGeom>
              <a:avLst/>
              <a:gdLst>
                <a:gd name="connsiteX0" fmla="*/ 1226823 w 1256734"/>
                <a:gd name="connsiteY0" fmla="*/ 269166 h 356304"/>
                <a:gd name="connsiteX1" fmla="*/ 1133491 w 1256734"/>
                <a:gd name="connsiteY1" fmla="*/ 316610 h 356304"/>
                <a:gd name="connsiteX2" fmla="*/ 1010248 w 1256734"/>
                <a:gd name="connsiteY2" fmla="*/ 178448 h 356304"/>
                <a:gd name="connsiteX3" fmla="*/ 1131426 w 1256734"/>
                <a:gd name="connsiteY3" fmla="*/ 39696 h 356304"/>
                <a:gd name="connsiteX4" fmla="*/ 1226823 w 1256734"/>
                <a:gd name="connsiteY4" fmla="*/ 86659 h 356304"/>
                <a:gd name="connsiteX5" fmla="*/ 1256735 w 1256734"/>
                <a:gd name="connsiteY5" fmla="*/ 58823 h 356304"/>
                <a:gd name="connsiteX6" fmla="*/ 1216553 w 1256734"/>
                <a:gd name="connsiteY6" fmla="*/ 23241 h 356304"/>
                <a:gd name="connsiteX7" fmla="*/ 1130420 w 1256734"/>
                <a:gd name="connsiteY7" fmla="*/ 0 h 356304"/>
                <a:gd name="connsiteX8" fmla="*/ 965885 w 1256734"/>
                <a:gd name="connsiteY8" fmla="*/ 178448 h 356304"/>
                <a:gd name="connsiteX9" fmla="*/ 1011783 w 1256734"/>
                <a:gd name="connsiteY9" fmla="*/ 305763 h 356304"/>
                <a:gd name="connsiteX10" fmla="*/ 1129892 w 1256734"/>
                <a:gd name="connsiteY10" fmla="*/ 356305 h 356304"/>
                <a:gd name="connsiteX11" fmla="*/ 1255676 w 1256734"/>
                <a:gd name="connsiteY11" fmla="*/ 298071 h 356304"/>
                <a:gd name="connsiteX12" fmla="*/ 1226823 w 1256734"/>
                <a:gd name="connsiteY12" fmla="*/ 269166 h 356304"/>
                <a:gd name="connsiteX13" fmla="*/ 679216 w 1256734"/>
                <a:gd name="connsiteY13" fmla="*/ 197999 h 356304"/>
                <a:gd name="connsiteX14" fmla="*/ 846824 w 1256734"/>
                <a:gd name="connsiteY14" fmla="*/ 197999 h 356304"/>
                <a:gd name="connsiteX15" fmla="*/ 846824 w 1256734"/>
                <a:gd name="connsiteY15" fmla="*/ 350105 h 356304"/>
                <a:gd name="connsiteX16" fmla="*/ 890075 w 1256734"/>
                <a:gd name="connsiteY16" fmla="*/ 350105 h 356304"/>
                <a:gd name="connsiteX17" fmla="*/ 890075 w 1256734"/>
                <a:gd name="connsiteY17" fmla="*/ 6198 h 356304"/>
                <a:gd name="connsiteX18" fmla="*/ 846824 w 1256734"/>
                <a:gd name="connsiteY18" fmla="*/ 6198 h 356304"/>
                <a:gd name="connsiteX19" fmla="*/ 846824 w 1256734"/>
                <a:gd name="connsiteY19" fmla="*/ 160920 h 356304"/>
                <a:gd name="connsiteX20" fmla="*/ 679216 w 1256734"/>
                <a:gd name="connsiteY20" fmla="*/ 160920 h 356304"/>
                <a:gd name="connsiteX21" fmla="*/ 679216 w 1256734"/>
                <a:gd name="connsiteY21" fmla="*/ 6198 h 356304"/>
                <a:gd name="connsiteX22" fmla="*/ 635912 w 1256734"/>
                <a:gd name="connsiteY22" fmla="*/ 6198 h 356304"/>
                <a:gd name="connsiteX23" fmla="*/ 635912 w 1256734"/>
                <a:gd name="connsiteY23" fmla="*/ 350105 h 356304"/>
                <a:gd name="connsiteX24" fmla="*/ 679216 w 1256734"/>
                <a:gd name="connsiteY24" fmla="*/ 350105 h 356304"/>
                <a:gd name="connsiteX25" fmla="*/ 679216 w 1256734"/>
                <a:gd name="connsiteY25" fmla="*/ 197999 h 356304"/>
                <a:gd name="connsiteX26" fmla="*/ 392018 w 1256734"/>
                <a:gd name="connsiteY26" fmla="*/ 40230 h 356304"/>
                <a:gd name="connsiteX27" fmla="*/ 476563 w 1256734"/>
                <a:gd name="connsiteY27" fmla="*/ 75813 h 356304"/>
                <a:gd name="connsiteX28" fmla="*/ 515792 w 1256734"/>
                <a:gd name="connsiteY28" fmla="*/ 181011 h 356304"/>
                <a:gd name="connsiteX29" fmla="*/ 482758 w 1256734"/>
                <a:gd name="connsiteY29" fmla="*/ 275365 h 356304"/>
                <a:gd name="connsiteX30" fmla="*/ 390960 w 1256734"/>
                <a:gd name="connsiteY30" fmla="*/ 316610 h 356304"/>
                <a:gd name="connsiteX31" fmla="*/ 267239 w 1256734"/>
                <a:gd name="connsiteY31" fmla="*/ 178448 h 356304"/>
                <a:gd name="connsiteX32" fmla="*/ 392018 w 1256734"/>
                <a:gd name="connsiteY32" fmla="*/ 40230 h 356304"/>
                <a:gd name="connsiteX33" fmla="*/ 393077 w 1256734"/>
                <a:gd name="connsiteY33" fmla="*/ 0 h 356304"/>
                <a:gd name="connsiteX34" fmla="*/ 222876 w 1256734"/>
                <a:gd name="connsiteY34" fmla="*/ 179994 h 356304"/>
                <a:gd name="connsiteX35" fmla="*/ 258982 w 1256734"/>
                <a:gd name="connsiteY35" fmla="*/ 291872 h 356304"/>
                <a:gd name="connsiteX36" fmla="*/ 392018 w 1256734"/>
                <a:gd name="connsiteY36" fmla="*/ 356305 h 356304"/>
                <a:gd name="connsiteX37" fmla="*/ 501868 w 1256734"/>
                <a:gd name="connsiteY37" fmla="*/ 315059 h 356304"/>
                <a:gd name="connsiteX38" fmla="*/ 560155 w 1256734"/>
                <a:gd name="connsiteY38" fmla="*/ 181545 h 356304"/>
                <a:gd name="connsiteX39" fmla="*/ 519921 w 1256734"/>
                <a:gd name="connsiteY39" fmla="*/ 59304 h 356304"/>
                <a:gd name="connsiteX40" fmla="*/ 393077 w 1256734"/>
                <a:gd name="connsiteY40" fmla="*/ 0 h 356304"/>
                <a:gd name="connsiteX41" fmla="*/ 43306 w 1256734"/>
                <a:gd name="connsiteY41" fmla="*/ 310946 h 356304"/>
                <a:gd name="connsiteX42" fmla="*/ 43306 w 1256734"/>
                <a:gd name="connsiteY42" fmla="*/ 6198 h 356304"/>
                <a:gd name="connsiteX43" fmla="*/ 0 w 1256734"/>
                <a:gd name="connsiteY43" fmla="*/ 6198 h 356304"/>
                <a:gd name="connsiteX44" fmla="*/ 0 w 1256734"/>
                <a:gd name="connsiteY44" fmla="*/ 350105 h 356304"/>
                <a:gd name="connsiteX45" fmla="*/ 194237 w 1256734"/>
                <a:gd name="connsiteY45" fmla="*/ 350105 h 356304"/>
                <a:gd name="connsiteX46" fmla="*/ 194237 w 1256734"/>
                <a:gd name="connsiteY46" fmla="*/ 310946 h 356304"/>
                <a:gd name="connsiteX47" fmla="*/ 43306 w 1256734"/>
                <a:gd name="connsiteY47" fmla="*/ 310946 h 35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256734" h="356304">
                  <a:moveTo>
                    <a:pt x="1226823" y="269166"/>
                  </a:moveTo>
                  <a:cubicBezTo>
                    <a:pt x="1200037" y="301650"/>
                    <a:pt x="1171131" y="316610"/>
                    <a:pt x="1133491" y="316610"/>
                  </a:cubicBezTo>
                  <a:cubicBezTo>
                    <a:pt x="1062341" y="316610"/>
                    <a:pt x="1010248" y="258371"/>
                    <a:pt x="1010248" y="178448"/>
                  </a:cubicBezTo>
                  <a:cubicBezTo>
                    <a:pt x="1010248" y="97985"/>
                    <a:pt x="1061334" y="39696"/>
                    <a:pt x="1131426" y="39696"/>
                  </a:cubicBezTo>
                  <a:cubicBezTo>
                    <a:pt x="1168008" y="39696"/>
                    <a:pt x="1193313" y="52092"/>
                    <a:pt x="1226823" y="86659"/>
                  </a:cubicBezTo>
                  <a:lnTo>
                    <a:pt x="1256735" y="58823"/>
                  </a:lnTo>
                  <a:cubicBezTo>
                    <a:pt x="1239742" y="40230"/>
                    <a:pt x="1230424" y="32003"/>
                    <a:pt x="1216553" y="23241"/>
                  </a:cubicBezTo>
                  <a:cubicBezTo>
                    <a:pt x="1191725" y="8281"/>
                    <a:pt x="1161338" y="0"/>
                    <a:pt x="1130420" y="0"/>
                  </a:cubicBezTo>
                  <a:cubicBezTo>
                    <a:pt x="1035500" y="0"/>
                    <a:pt x="965885" y="75279"/>
                    <a:pt x="965885" y="178448"/>
                  </a:cubicBezTo>
                  <a:cubicBezTo>
                    <a:pt x="965885" y="226369"/>
                    <a:pt x="982931" y="273279"/>
                    <a:pt x="1011783" y="305763"/>
                  </a:cubicBezTo>
                  <a:cubicBezTo>
                    <a:pt x="1041165" y="338782"/>
                    <a:pt x="1081928" y="356305"/>
                    <a:pt x="1129892" y="356305"/>
                  </a:cubicBezTo>
                  <a:cubicBezTo>
                    <a:pt x="1182990" y="356305"/>
                    <a:pt x="1221107" y="338782"/>
                    <a:pt x="1255676" y="298071"/>
                  </a:cubicBezTo>
                  <a:lnTo>
                    <a:pt x="1226823" y="269166"/>
                  </a:lnTo>
                  <a:close/>
                  <a:moveTo>
                    <a:pt x="679216" y="197999"/>
                  </a:moveTo>
                  <a:lnTo>
                    <a:pt x="846824" y="197999"/>
                  </a:lnTo>
                  <a:lnTo>
                    <a:pt x="846824" y="350105"/>
                  </a:lnTo>
                  <a:lnTo>
                    <a:pt x="890075" y="350105"/>
                  </a:lnTo>
                  <a:lnTo>
                    <a:pt x="890075" y="6198"/>
                  </a:lnTo>
                  <a:lnTo>
                    <a:pt x="846824" y="6198"/>
                  </a:lnTo>
                  <a:lnTo>
                    <a:pt x="846824" y="160920"/>
                  </a:lnTo>
                  <a:lnTo>
                    <a:pt x="679216" y="160920"/>
                  </a:lnTo>
                  <a:lnTo>
                    <a:pt x="679216" y="6198"/>
                  </a:lnTo>
                  <a:lnTo>
                    <a:pt x="635912" y="6198"/>
                  </a:lnTo>
                  <a:lnTo>
                    <a:pt x="635912" y="350105"/>
                  </a:lnTo>
                  <a:lnTo>
                    <a:pt x="679216" y="350105"/>
                  </a:lnTo>
                  <a:lnTo>
                    <a:pt x="679216" y="197999"/>
                  </a:lnTo>
                  <a:close/>
                  <a:moveTo>
                    <a:pt x="392018" y="40230"/>
                  </a:moveTo>
                  <a:cubicBezTo>
                    <a:pt x="422459" y="40230"/>
                    <a:pt x="453904" y="53641"/>
                    <a:pt x="476563" y="75813"/>
                  </a:cubicBezTo>
                  <a:cubicBezTo>
                    <a:pt x="503404" y="101618"/>
                    <a:pt x="515792" y="135117"/>
                    <a:pt x="515792" y="181011"/>
                  </a:cubicBezTo>
                  <a:cubicBezTo>
                    <a:pt x="515792" y="216057"/>
                    <a:pt x="502874" y="253189"/>
                    <a:pt x="482758" y="275365"/>
                  </a:cubicBezTo>
                  <a:cubicBezTo>
                    <a:pt x="459569" y="301650"/>
                    <a:pt x="425530" y="316610"/>
                    <a:pt x="390960" y="316610"/>
                  </a:cubicBezTo>
                  <a:cubicBezTo>
                    <a:pt x="319809" y="316610"/>
                    <a:pt x="267239" y="258371"/>
                    <a:pt x="267239" y="178448"/>
                  </a:cubicBezTo>
                  <a:cubicBezTo>
                    <a:pt x="267239" y="99000"/>
                    <a:pt x="320338" y="40230"/>
                    <a:pt x="392018" y="40230"/>
                  </a:cubicBezTo>
                  <a:moveTo>
                    <a:pt x="393077" y="0"/>
                  </a:moveTo>
                  <a:cubicBezTo>
                    <a:pt x="295615" y="0"/>
                    <a:pt x="222876" y="77362"/>
                    <a:pt x="222876" y="179994"/>
                  </a:cubicBezTo>
                  <a:cubicBezTo>
                    <a:pt x="222876" y="223273"/>
                    <a:pt x="235318" y="261956"/>
                    <a:pt x="258982" y="291872"/>
                  </a:cubicBezTo>
                  <a:cubicBezTo>
                    <a:pt x="290957" y="332101"/>
                    <a:pt x="340985" y="356305"/>
                    <a:pt x="392018" y="356305"/>
                  </a:cubicBezTo>
                  <a:cubicBezTo>
                    <a:pt x="431723" y="356305"/>
                    <a:pt x="470899" y="341879"/>
                    <a:pt x="501868" y="315059"/>
                  </a:cubicBezTo>
                  <a:cubicBezTo>
                    <a:pt x="539509" y="283110"/>
                    <a:pt x="560155" y="235131"/>
                    <a:pt x="560155" y="181545"/>
                  </a:cubicBezTo>
                  <a:cubicBezTo>
                    <a:pt x="560155" y="129935"/>
                    <a:pt x="547715" y="91788"/>
                    <a:pt x="519921" y="59304"/>
                  </a:cubicBezTo>
                  <a:cubicBezTo>
                    <a:pt x="486886" y="21691"/>
                    <a:pt x="440988" y="0"/>
                    <a:pt x="393077" y="0"/>
                  </a:cubicBezTo>
                  <a:moveTo>
                    <a:pt x="43306" y="310946"/>
                  </a:moveTo>
                  <a:lnTo>
                    <a:pt x="43306" y="6198"/>
                  </a:lnTo>
                  <a:lnTo>
                    <a:pt x="0" y="6198"/>
                  </a:lnTo>
                  <a:lnTo>
                    <a:pt x="0" y="350105"/>
                  </a:lnTo>
                  <a:lnTo>
                    <a:pt x="194237" y="350105"/>
                  </a:lnTo>
                  <a:lnTo>
                    <a:pt x="194237" y="310946"/>
                  </a:lnTo>
                  <a:lnTo>
                    <a:pt x="43306" y="310946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B77DA9CA-81E3-9C95-68A3-BFADB2CD7E3C}"/>
                </a:ext>
              </a:extLst>
            </p:cNvPr>
            <p:cNvSpPr/>
            <p:nvPr/>
          </p:nvSpPr>
          <p:spPr>
            <a:xfrm>
              <a:off x="-161925" y="-1630732"/>
              <a:ext cx="10575647" cy="1701544"/>
            </a:xfrm>
            <a:custGeom>
              <a:avLst/>
              <a:gdLst>
                <a:gd name="connsiteX0" fmla="*/ 7802033 w 10575647"/>
                <a:gd name="connsiteY0" fmla="*/ 380187 h 1701544"/>
                <a:gd name="connsiteX1" fmla="*/ 7621138 w 10575647"/>
                <a:gd name="connsiteY1" fmla="*/ 380187 h 1701544"/>
                <a:gd name="connsiteX2" fmla="*/ 7621138 w 10575647"/>
                <a:gd name="connsiteY2" fmla="*/ 1271563 h 1701544"/>
                <a:gd name="connsiteX3" fmla="*/ 7802033 w 10575647"/>
                <a:gd name="connsiteY3" fmla="*/ 1271563 h 1701544"/>
                <a:gd name="connsiteX4" fmla="*/ 7802033 w 10575647"/>
                <a:gd name="connsiteY4" fmla="*/ 380187 h 1701544"/>
                <a:gd name="connsiteX5" fmla="*/ 706522 w 10575647"/>
                <a:gd name="connsiteY5" fmla="*/ 1271563 h 1701544"/>
                <a:gd name="connsiteX6" fmla="*/ 902065 w 10575647"/>
                <a:gd name="connsiteY6" fmla="*/ 1271563 h 1701544"/>
                <a:gd name="connsiteX7" fmla="*/ 902065 w 10575647"/>
                <a:gd name="connsiteY7" fmla="*/ 0 h 1701544"/>
                <a:gd name="connsiteX8" fmla="*/ 706522 w 10575647"/>
                <a:gd name="connsiteY8" fmla="*/ 0 h 1701544"/>
                <a:gd name="connsiteX9" fmla="*/ 706522 w 10575647"/>
                <a:gd name="connsiteY9" fmla="*/ 553717 h 1701544"/>
                <a:gd name="connsiteX10" fmla="*/ 195543 w 10575647"/>
                <a:gd name="connsiteY10" fmla="*/ 553717 h 1701544"/>
                <a:gd name="connsiteX11" fmla="*/ 195543 w 10575647"/>
                <a:gd name="connsiteY11" fmla="*/ 0 h 1701544"/>
                <a:gd name="connsiteX12" fmla="*/ 0 w 10575647"/>
                <a:gd name="connsiteY12" fmla="*/ 0 h 1701544"/>
                <a:gd name="connsiteX13" fmla="*/ 0 w 10575647"/>
                <a:gd name="connsiteY13" fmla="*/ 1271563 h 1701544"/>
                <a:gd name="connsiteX14" fmla="*/ 195543 w 10575647"/>
                <a:gd name="connsiteY14" fmla="*/ 1271563 h 1701544"/>
                <a:gd name="connsiteX15" fmla="*/ 195543 w 10575647"/>
                <a:gd name="connsiteY15" fmla="*/ 727142 h 1701544"/>
                <a:gd name="connsiteX16" fmla="*/ 706522 w 10575647"/>
                <a:gd name="connsiteY16" fmla="*/ 727142 h 1701544"/>
                <a:gd name="connsiteX17" fmla="*/ 706522 w 10575647"/>
                <a:gd name="connsiteY17" fmla="*/ 1271563 h 1701544"/>
                <a:gd name="connsiteX18" fmla="*/ 1306185 w 10575647"/>
                <a:gd name="connsiteY18" fmla="*/ 1690649 h 1701544"/>
                <a:gd name="connsiteX19" fmla="*/ 1654904 w 10575647"/>
                <a:gd name="connsiteY19" fmla="*/ 1036061 h 1701544"/>
                <a:gd name="connsiteX20" fmla="*/ 1306185 w 10575647"/>
                <a:gd name="connsiteY20" fmla="*/ 381469 h 1701544"/>
                <a:gd name="connsiteX21" fmla="*/ 1090234 w 10575647"/>
                <a:gd name="connsiteY21" fmla="*/ 381469 h 1701544"/>
                <a:gd name="connsiteX22" fmla="*/ 1438900 w 10575647"/>
                <a:gd name="connsiteY22" fmla="*/ 1036061 h 1701544"/>
                <a:gd name="connsiteX23" fmla="*/ 1090234 w 10575647"/>
                <a:gd name="connsiteY23" fmla="*/ 1690649 h 1701544"/>
                <a:gd name="connsiteX24" fmla="*/ 1306185 w 10575647"/>
                <a:gd name="connsiteY24" fmla="*/ 1690649 h 1701544"/>
                <a:gd name="connsiteX25" fmla="*/ 2581808 w 10575647"/>
                <a:gd name="connsiteY25" fmla="*/ 828654 h 1701544"/>
                <a:gd name="connsiteX26" fmla="*/ 2317883 w 10575647"/>
                <a:gd name="connsiteY26" fmla="*/ 1129505 h 1701544"/>
                <a:gd name="connsiteX27" fmla="*/ 2065011 w 10575647"/>
                <a:gd name="connsiteY27" fmla="*/ 832338 h 1701544"/>
                <a:gd name="connsiteX28" fmla="*/ 2327068 w 10575647"/>
                <a:gd name="connsiteY28" fmla="*/ 525990 h 1701544"/>
                <a:gd name="connsiteX29" fmla="*/ 2581808 w 10575647"/>
                <a:gd name="connsiteY29" fmla="*/ 828654 h 1701544"/>
                <a:gd name="connsiteX30" fmla="*/ 2581808 w 10575647"/>
                <a:gd name="connsiteY30" fmla="*/ 1271563 h 1701544"/>
                <a:gd name="connsiteX31" fmla="*/ 2762608 w 10575647"/>
                <a:gd name="connsiteY31" fmla="*/ 1271563 h 1701544"/>
                <a:gd name="connsiteX32" fmla="*/ 2762608 w 10575647"/>
                <a:gd name="connsiteY32" fmla="*/ 0 h 1701544"/>
                <a:gd name="connsiteX33" fmla="*/ 2581808 w 10575647"/>
                <a:gd name="connsiteY33" fmla="*/ 0 h 1701544"/>
                <a:gd name="connsiteX34" fmla="*/ 2581808 w 10575647"/>
                <a:gd name="connsiteY34" fmla="*/ 476356 h 1701544"/>
                <a:gd name="connsiteX35" fmla="*/ 2297581 w 10575647"/>
                <a:gd name="connsiteY35" fmla="*/ 359885 h 1701544"/>
                <a:gd name="connsiteX36" fmla="*/ 1876785 w 10575647"/>
                <a:gd name="connsiteY36" fmla="*/ 830470 h 1701544"/>
                <a:gd name="connsiteX37" fmla="*/ 2297581 w 10575647"/>
                <a:gd name="connsiteY37" fmla="*/ 1291865 h 1701544"/>
                <a:gd name="connsiteX38" fmla="*/ 2581808 w 10575647"/>
                <a:gd name="connsiteY38" fmla="*/ 1163217 h 1701544"/>
                <a:gd name="connsiteX39" fmla="*/ 2581808 w 10575647"/>
                <a:gd name="connsiteY39" fmla="*/ 1271563 h 1701544"/>
                <a:gd name="connsiteX40" fmla="*/ 3437445 w 10575647"/>
                <a:gd name="connsiteY40" fmla="*/ 542393 h 1701544"/>
                <a:gd name="connsiteX41" fmla="*/ 3460310 w 10575647"/>
                <a:gd name="connsiteY41" fmla="*/ 545331 h 1701544"/>
                <a:gd name="connsiteX42" fmla="*/ 3460310 w 10575647"/>
                <a:gd name="connsiteY42" fmla="*/ 359885 h 1701544"/>
                <a:gd name="connsiteX43" fmla="*/ 3406830 w 10575647"/>
                <a:gd name="connsiteY43" fmla="*/ 359885 h 1701544"/>
                <a:gd name="connsiteX44" fmla="*/ 3231965 w 10575647"/>
                <a:gd name="connsiteY44" fmla="*/ 415877 h 1701544"/>
                <a:gd name="connsiteX45" fmla="*/ 3187194 w 10575647"/>
                <a:gd name="connsiteY45" fmla="*/ 462091 h 1701544"/>
                <a:gd name="connsiteX46" fmla="*/ 3187194 w 10575647"/>
                <a:gd name="connsiteY46" fmla="*/ 380187 h 1701544"/>
                <a:gd name="connsiteX47" fmla="*/ 3006395 w 10575647"/>
                <a:gd name="connsiteY47" fmla="*/ 380187 h 1701544"/>
                <a:gd name="connsiteX48" fmla="*/ 3006395 w 10575647"/>
                <a:gd name="connsiteY48" fmla="*/ 1271563 h 1701544"/>
                <a:gd name="connsiteX49" fmla="*/ 3187194 w 10575647"/>
                <a:gd name="connsiteY49" fmla="*/ 1271563 h 1701544"/>
                <a:gd name="connsiteX50" fmla="*/ 3187194 w 10575647"/>
                <a:gd name="connsiteY50" fmla="*/ 819411 h 1701544"/>
                <a:gd name="connsiteX51" fmla="*/ 3233517 w 10575647"/>
                <a:gd name="connsiteY51" fmla="*/ 629638 h 1701544"/>
                <a:gd name="connsiteX52" fmla="*/ 3401277 w 10575647"/>
                <a:gd name="connsiteY52" fmla="*/ 540683 h 1701544"/>
                <a:gd name="connsiteX53" fmla="*/ 3437445 w 10575647"/>
                <a:gd name="connsiteY53" fmla="*/ 542393 h 1701544"/>
                <a:gd name="connsiteX54" fmla="*/ 4250980 w 10575647"/>
                <a:gd name="connsiteY54" fmla="*/ 826838 h 1701544"/>
                <a:gd name="connsiteX55" fmla="*/ 3983364 w 10575647"/>
                <a:gd name="connsiteY55" fmla="*/ 1122077 h 1701544"/>
                <a:gd name="connsiteX56" fmla="*/ 3713875 w 10575647"/>
                <a:gd name="connsiteY56" fmla="*/ 826838 h 1701544"/>
                <a:gd name="connsiteX57" fmla="*/ 3985180 w 10575647"/>
                <a:gd name="connsiteY57" fmla="*/ 529677 h 1701544"/>
                <a:gd name="connsiteX58" fmla="*/ 4250980 w 10575647"/>
                <a:gd name="connsiteY58" fmla="*/ 826838 h 1701544"/>
                <a:gd name="connsiteX59" fmla="*/ 4435464 w 10575647"/>
                <a:gd name="connsiteY59" fmla="*/ 828654 h 1701544"/>
                <a:gd name="connsiteX60" fmla="*/ 3985180 w 10575647"/>
                <a:gd name="connsiteY60" fmla="*/ 359885 h 1701544"/>
                <a:gd name="connsiteX61" fmla="*/ 3529338 w 10575647"/>
                <a:gd name="connsiteY61" fmla="*/ 824916 h 1701544"/>
                <a:gd name="connsiteX62" fmla="*/ 3979622 w 10575647"/>
                <a:gd name="connsiteY62" fmla="*/ 1291865 h 1701544"/>
                <a:gd name="connsiteX63" fmla="*/ 4435464 w 10575647"/>
                <a:gd name="connsiteY63" fmla="*/ 828654 h 1701544"/>
                <a:gd name="connsiteX64" fmla="*/ 5261608 w 10575647"/>
                <a:gd name="connsiteY64" fmla="*/ 828654 h 1701544"/>
                <a:gd name="connsiteX65" fmla="*/ 5205508 w 10575647"/>
                <a:gd name="connsiteY65" fmla="*/ 1025854 h 1701544"/>
                <a:gd name="connsiteX66" fmla="*/ 5005052 w 10575647"/>
                <a:gd name="connsiteY66" fmla="*/ 1122077 h 1701544"/>
                <a:gd name="connsiteX67" fmla="*/ 4746675 w 10575647"/>
                <a:gd name="connsiteY67" fmla="*/ 823153 h 1701544"/>
                <a:gd name="connsiteX68" fmla="*/ 5008683 w 10575647"/>
                <a:gd name="connsiteY68" fmla="*/ 529677 h 1701544"/>
                <a:gd name="connsiteX69" fmla="*/ 5200378 w 10575647"/>
                <a:gd name="connsiteY69" fmla="*/ 617081 h 1701544"/>
                <a:gd name="connsiteX70" fmla="*/ 5261608 w 10575647"/>
                <a:gd name="connsiteY70" fmla="*/ 828654 h 1701544"/>
                <a:gd name="connsiteX71" fmla="*/ 5327264 w 10575647"/>
                <a:gd name="connsiteY71" fmla="*/ 1583314 h 1701544"/>
                <a:gd name="connsiteX72" fmla="*/ 5446113 w 10575647"/>
                <a:gd name="connsiteY72" fmla="*/ 1256819 h 1701544"/>
                <a:gd name="connsiteX73" fmla="*/ 5446113 w 10575647"/>
                <a:gd name="connsiteY73" fmla="*/ 380187 h 1701544"/>
                <a:gd name="connsiteX74" fmla="*/ 5265239 w 10575647"/>
                <a:gd name="connsiteY74" fmla="*/ 380187 h 1701544"/>
                <a:gd name="connsiteX75" fmla="*/ 5265239 w 10575647"/>
                <a:gd name="connsiteY75" fmla="*/ 488537 h 1701544"/>
                <a:gd name="connsiteX76" fmla="*/ 4982875 w 10575647"/>
                <a:gd name="connsiteY76" fmla="*/ 359885 h 1701544"/>
                <a:gd name="connsiteX77" fmla="*/ 4699394 w 10575647"/>
                <a:gd name="connsiteY77" fmla="*/ 465190 h 1701544"/>
                <a:gd name="connsiteX78" fmla="*/ 4558400 w 10575647"/>
                <a:gd name="connsiteY78" fmla="*/ 828654 h 1701544"/>
                <a:gd name="connsiteX79" fmla="*/ 4971816 w 10575647"/>
                <a:gd name="connsiteY79" fmla="*/ 1291865 h 1701544"/>
                <a:gd name="connsiteX80" fmla="*/ 5265239 w 10575647"/>
                <a:gd name="connsiteY80" fmla="*/ 1150553 h 1701544"/>
                <a:gd name="connsiteX81" fmla="*/ 5265239 w 10575647"/>
                <a:gd name="connsiteY81" fmla="*/ 1267931 h 1701544"/>
                <a:gd name="connsiteX82" fmla="*/ 5206095 w 10575647"/>
                <a:gd name="connsiteY82" fmla="*/ 1457116 h 1701544"/>
                <a:gd name="connsiteX83" fmla="*/ 4999546 w 10575647"/>
                <a:gd name="connsiteY83" fmla="*/ 1533625 h 1701544"/>
                <a:gd name="connsiteX84" fmla="*/ 4811695 w 10575647"/>
                <a:gd name="connsiteY84" fmla="*/ 1487409 h 1701544"/>
                <a:gd name="connsiteX85" fmla="*/ 4733588 w 10575647"/>
                <a:gd name="connsiteY85" fmla="*/ 1416300 h 1701544"/>
                <a:gd name="connsiteX86" fmla="*/ 4719215 w 10575647"/>
                <a:gd name="connsiteY86" fmla="*/ 1401339 h 1701544"/>
                <a:gd name="connsiteX87" fmla="*/ 4595103 w 10575647"/>
                <a:gd name="connsiteY87" fmla="*/ 1525451 h 1701544"/>
                <a:gd name="connsiteX88" fmla="*/ 4607819 w 10575647"/>
                <a:gd name="connsiteY88" fmla="*/ 1539824 h 1701544"/>
                <a:gd name="connsiteX89" fmla="*/ 4999546 w 10575647"/>
                <a:gd name="connsiteY89" fmla="*/ 1701544 h 1701544"/>
                <a:gd name="connsiteX90" fmla="*/ 5327264 w 10575647"/>
                <a:gd name="connsiteY90" fmla="*/ 1583314 h 1701544"/>
                <a:gd name="connsiteX91" fmla="*/ 6317923 w 10575647"/>
                <a:gd name="connsiteY91" fmla="*/ 747497 h 1701544"/>
                <a:gd name="connsiteX92" fmla="*/ 5805203 w 10575647"/>
                <a:gd name="connsiteY92" fmla="*/ 747497 h 1701544"/>
                <a:gd name="connsiteX93" fmla="*/ 5845913 w 10575647"/>
                <a:gd name="connsiteY93" fmla="*/ 635144 h 1701544"/>
                <a:gd name="connsiteX94" fmla="*/ 6057989 w 10575647"/>
                <a:gd name="connsiteY94" fmla="*/ 525990 h 1701544"/>
                <a:gd name="connsiteX95" fmla="*/ 6275730 w 10575647"/>
                <a:gd name="connsiteY95" fmla="*/ 633487 h 1701544"/>
                <a:gd name="connsiteX96" fmla="*/ 6317923 w 10575647"/>
                <a:gd name="connsiteY96" fmla="*/ 747497 h 1701544"/>
                <a:gd name="connsiteX97" fmla="*/ 6508188 w 10575647"/>
                <a:gd name="connsiteY97" fmla="*/ 872890 h 1701544"/>
                <a:gd name="connsiteX98" fmla="*/ 6510094 w 10575647"/>
                <a:gd name="connsiteY98" fmla="*/ 815779 h 1701544"/>
                <a:gd name="connsiteX99" fmla="*/ 6057989 w 10575647"/>
                <a:gd name="connsiteY99" fmla="*/ 359885 h 1701544"/>
                <a:gd name="connsiteX100" fmla="*/ 5609538 w 10575647"/>
                <a:gd name="connsiteY100" fmla="*/ 828654 h 1701544"/>
                <a:gd name="connsiteX101" fmla="*/ 6063495 w 10575647"/>
                <a:gd name="connsiteY101" fmla="*/ 1291865 h 1701544"/>
                <a:gd name="connsiteX102" fmla="*/ 6460066 w 10575647"/>
                <a:gd name="connsiteY102" fmla="*/ 1051710 h 1701544"/>
                <a:gd name="connsiteX103" fmla="*/ 6469966 w 10575647"/>
                <a:gd name="connsiteY103" fmla="*/ 1031572 h 1701544"/>
                <a:gd name="connsiteX104" fmla="*/ 6308923 w 10575647"/>
                <a:gd name="connsiteY104" fmla="*/ 971517 h 1701544"/>
                <a:gd name="connsiteX105" fmla="*/ 6300559 w 10575647"/>
                <a:gd name="connsiteY105" fmla="*/ 986689 h 1701544"/>
                <a:gd name="connsiteX106" fmla="*/ 6063495 w 10575647"/>
                <a:gd name="connsiteY106" fmla="*/ 1122077 h 1701544"/>
                <a:gd name="connsiteX107" fmla="*/ 5850784 w 10575647"/>
                <a:gd name="connsiteY107" fmla="*/ 1013832 h 1701544"/>
                <a:gd name="connsiteX108" fmla="*/ 5802132 w 10575647"/>
                <a:gd name="connsiteY108" fmla="*/ 891377 h 1701544"/>
                <a:gd name="connsiteX109" fmla="*/ 6506547 w 10575647"/>
                <a:gd name="connsiteY109" fmla="*/ 891377 h 1701544"/>
                <a:gd name="connsiteX110" fmla="*/ 6508188 w 10575647"/>
                <a:gd name="connsiteY110" fmla="*/ 872890 h 1701544"/>
                <a:gd name="connsiteX111" fmla="*/ 7205139 w 10575647"/>
                <a:gd name="connsiteY111" fmla="*/ 1271563 h 1701544"/>
                <a:gd name="connsiteX112" fmla="*/ 7385928 w 10575647"/>
                <a:gd name="connsiteY112" fmla="*/ 1271563 h 1701544"/>
                <a:gd name="connsiteX113" fmla="*/ 7385928 w 10575647"/>
                <a:gd name="connsiteY113" fmla="*/ 677294 h 1701544"/>
                <a:gd name="connsiteX114" fmla="*/ 7307154 w 10575647"/>
                <a:gd name="connsiteY114" fmla="*/ 435163 h 1701544"/>
                <a:gd name="connsiteX115" fmla="*/ 7096189 w 10575647"/>
                <a:gd name="connsiteY115" fmla="*/ 359885 h 1701544"/>
                <a:gd name="connsiteX116" fmla="*/ 6863625 w 10575647"/>
                <a:gd name="connsiteY116" fmla="*/ 463694 h 1701544"/>
                <a:gd name="connsiteX117" fmla="*/ 6863625 w 10575647"/>
                <a:gd name="connsiteY117" fmla="*/ 380187 h 1701544"/>
                <a:gd name="connsiteX118" fmla="*/ 6682836 w 10575647"/>
                <a:gd name="connsiteY118" fmla="*/ 380187 h 1701544"/>
                <a:gd name="connsiteX119" fmla="*/ 6682836 w 10575647"/>
                <a:gd name="connsiteY119" fmla="*/ 1271563 h 1701544"/>
                <a:gd name="connsiteX120" fmla="*/ 6863625 w 10575647"/>
                <a:gd name="connsiteY120" fmla="*/ 1271563 h 1701544"/>
                <a:gd name="connsiteX121" fmla="*/ 6863625 w 10575647"/>
                <a:gd name="connsiteY121" fmla="*/ 732701 h 1701544"/>
                <a:gd name="connsiteX122" fmla="*/ 6913971 w 10575647"/>
                <a:gd name="connsiteY122" fmla="*/ 591066 h 1701544"/>
                <a:gd name="connsiteX123" fmla="*/ 7061143 w 10575647"/>
                <a:gd name="connsiteY123" fmla="*/ 525990 h 1701544"/>
                <a:gd name="connsiteX124" fmla="*/ 7177769 w 10575647"/>
                <a:gd name="connsiteY124" fmla="*/ 575089 h 1701544"/>
                <a:gd name="connsiteX125" fmla="*/ 7205139 w 10575647"/>
                <a:gd name="connsiteY125" fmla="*/ 708709 h 1701544"/>
                <a:gd name="connsiteX126" fmla="*/ 7205139 w 10575647"/>
                <a:gd name="connsiteY126" fmla="*/ 1271563 h 1701544"/>
                <a:gd name="connsiteX127" fmla="*/ 7822309 w 10575647"/>
                <a:gd name="connsiteY127" fmla="*/ 162418 h 1701544"/>
                <a:gd name="connsiteX128" fmla="*/ 7713412 w 10575647"/>
                <a:gd name="connsiteY128" fmla="*/ 49847 h 1701544"/>
                <a:gd name="connsiteX129" fmla="*/ 7602662 w 10575647"/>
                <a:gd name="connsiteY129" fmla="*/ 160549 h 1701544"/>
                <a:gd name="connsiteX130" fmla="*/ 7711560 w 10575647"/>
                <a:gd name="connsiteY130" fmla="*/ 271303 h 1701544"/>
                <a:gd name="connsiteX131" fmla="*/ 7822309 w 10575647"/>
                <a:gd name="connsiteY131" fmla="*/ 162418 h 1701544"/>
                <a:gd name="connsiteX132" fmla="*/ 8704760 w 10575647"/>
                <a:gd name="connsiteY132" fmla="*/ 826838 h 1701544"/>
                <a:gd name="connsiteX133" fmla="*/ 8437150 w 10575647"/>
                <a:gd name="connsiteY133" fmla="*/ 1122077 h 1701544"/>
                <a:gd name="connsiteX134" fmla="*/ 8167740 w 10575647"/>
                <a:gd name="connsiteY134" fmla="*/ 826838 h 1701544"/>
                <a:gd name="connsiteX135" fmla="*/ 8439003 w 10575647"/>
                <a:gd name="connsiteY135" fmla="*/ 529677 h 1701544"/>
                <a:gd name="connsiteX136" fmla="*/ 8704760 w 10575647"/>
                <a:gd name="connsiteY136" fmla="*/ 826838 h 1701544"/>
                <a:gd name="connsiteX137" fmla="*/ 8889307 w 10575647"/>
                <a:gd name="connsiteY137" fmla="*/ 828654 h 1701544"/>
                <a:gd name="connsiteX138" fmla="*/ 8439003 w 10575647"/>
                <a:gd name="connsiteY138" fmla="*/ 359885 h 1701544"/>
                <a:gd name="connsiteX139" fmla="*/ 7983193 w 10575647"/>
                <a:gd name="connsiteY139" fmla="*/ 824916 h 1701544"/>
                <a:gd name="connsiteX140" fmla="*/ 8433444 w 10575647"/>
                <a:gd name="connsiteY140" fmla="*/ 1291865 h 1701544"/>
                <a:gd name="connsiteX141" fmla="*/ 8889307 w 10575647"/>
                <a:gd name="connsiteY141" fmla="*/ 828654 h 1701544"/>
                <a:gd name="connsiteX142" fmla="*/ 9658150 w 10575647"/>
                <a:gd name="connsiteY142" fmla="*/ 1197940 h 1701544"/>
                <a:gd name="connsiteX143" fmla="*/ 9749630 w 10575647"/>
                <a:gd name="connsiteY143" fmla="*/ 944968 h 1701544"/>
                <a:gd name="connsiteX144" fmla="*/ 9749630 w 10575647"/>
                <a:gd name="connsiteY144" fmla="*/ 380187 h 1701544"/>
                <a:gd name="connsiteX145" fmla="*/ 9566988 w 10575647"/>
                <a:gd name="connsiteY145" fmla="*/ 380187 h 1701544"/>
                <a:gd name="connsiteX146" fmla="*/ 9566988 w 10575647"/>
                <a:gd name="connsiteY146" fmla="*/ 944968 h 1701544"/>
                <a:gd name="connsiteX147" fmla="*/ 9535012 w 10575647"/>
                <a:gd name="connsiteY147" fmla="*/ 1068222 h 1701544"/>
                <a:gd name="connsiteX148" fmla="*/ 9399010 w 10575647"/>
                <a:gd name="connsiteY148" fmla="*/ 1125815 h 1701544"/>
                <a:gd name="connsiteX149" fmla="*/ 9229233 w 10575647"/>
                <a:gd name="connsiteY149" fmla="*/ 941225 h 1701544"/>
                <a:gd name="connsiteX150" fmla="*/ 9229233 w 10575647"/>
                <a:gd name="connsiteY150" fmla="*/ 380187 h 1701544"/>
                <a:gd name="connsiteX151" fmla="*/ 9048391 w 10575647"/>
                <a:gd name="connsiteY151" fmla="*/ 380187 h 1701544"/>
                <a:gd name="connsiteX152" fmla="*/ 9048391 w 10575647"/>
                <a:gd name="connsiteY152" fmla="*/ 944968 h 1701544"/>
                <a:gd name="connsiteX153" fmla="*/ 9139659 w 10575647"/>
                <a:gd name="connsiteY153" fmla="*/ 1195965 h 1701544"/>
                <a:gd name="connsiteX154" fmla="*/ 9399010 w 10575647"/>
                <a:gd name="connsiteY154" fmla="*/ 1291865 h 1701544"/>
                <a:gd name="connsiteX155" fmla="*/ 9658150 w 10575647"/>
                <a:gd name="connsiteY155" fmla="*/ 1197945 h 1701544"/>
                <a:gd name="connsiteX156" fmla="*/ 10385594 w 10575647"/>
                <a:gd name="connsiteY156" fmla="*/ 653307 h 1701544"/>
                <a:gd name="connsiteX157" fmla="*/ 10567335 w 10575647"/>
                <a:gd name="connsiteY157" fmla="*/ 653307 h 1701544"/>
                <a:gd name="connsiteX158" fmla="*/ 10566383 w 10575647"/>
                <a:gd name="connsiteY158" fmla="*/ 632041 h 1701544"/>
                <a:gd name="connsiteX159" fmla="*/ 10249009 w 10575647"/>
                <a:gd name="connsiteY159" fmla="*/ 359885 h 1701544"/>
                <a:gd name="connsiteX160" fmla="*/ 9929730 w 10575647"/>
                <a:gd name="connsiteY160" fmla="*/ 627446 h 1701544"/>
                <a:gd name="connsiteX161" fmla="*/ 10212587 w 10575647"/>
                <a:gd name="connsiteY161" fmla="*/ 903611 h 1701544"/>
                <a:gd name="connsiteX162" fmla="*/ 10391099 w 10575647"/>
                <a:gd name="connsiteY162" fmla="*/ 1031625 h 1701544"/>
                <a:gd name="connsiteX163" fmla="*/ 10252715 w 10575647"/>
                <a:gd name="connsiteY163" fmla="*/ 1136874 h 1701544"/>
                <a:gd name="connsiteX164" fmla="*/ 10093843 w 10575647"/>
                <a:gd name="connsiteY164" fmla="*/ 1007579 h 1701544"/>
                <a:gd name="connsiteX165" fmla="*/ 10092096 w 10575647"/>
                <a:gd name="connsiteY165" fmla="*/ 989257 h 1701544"/>
                <a:gd name="connsiteX166" fmla="*/ 9913054 w 10575647"/>
                <a:gd name="connsiteY166" fmla="*/ 989257 h 1701544"/>
                <a:gd name="connsiteX167" fmla="*/ 9915066 w 10575647"/>
                <a:gd name="connsiteY167" fmla="*/ 1011216 h 1701544"/>
                <a:gd name="connsiteX168" fmla="*/ 10252715 w 10575647"/>
                <a:gd name="connsiteY168" fmla="*/ 1291865 h 1701544"/>
                <a:gd name="connsiteX169" fmla="*/ 10575647 w 10575647"/>
                <a:gd name="connsiteY169" fmla="*/ 1024303 h 1701544"/>
                <a:gd name="connsiteX170" fmla="*/ 10501426 w 10575647"/>
                <a:gd name="connsiteY170" fmla="*/ 843879 h 1701544"/>
                <a:gd name="connsiteX171" fmla="*/ 10285750 w 10575647"/>
                <a:gd name="connsiteY171" fmla="*/ 740769 h 1701544"/>
                <a:gd name="connsiteX172" fmla="*/ 10110519 w 10575647"/>
                <a:gd name="connsiteY172" fmla="*/ 616440 h 1701544"/>
                <a:gd name="connsiteX173" fmla="*/ 10243398 w 10575647"/>
                <a:gd name="connsiteY173" fmla="*/ 514877 h 1701544"/>
                <a:gd name="connsiteX174" fmla="*/ 10385594 w 10575647"/>
                <a:gd name="connsiteY174" fmla="*/ 623762 h 1701544"/>
                <a:gd name="connsiteX175" fmla="*/ 10385594 w 10575647"/>
                <a:gd name="connsiteY175" fmla="*/ 653307 h 170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10575647" h="1701544">
                  <a:moveTo>
                    <a:pt x="7802033" y="380187"/>
                  </a:moveTo>
                  <a:lnTo>
                    <a:pt x="7621138" y="380187"/>
                  </a:lnTo>
                  <a:lnTo>
                    <a:pt x="7621138" y="1271563"/>
                  </a:lnTo>
                  <a:lnTo>
                    <a:pt x="7802033" y="1271563"/>
                  </a:lnTo>
                  <a:lnTo>
                    <a:pt x="7802033" y="380187"/>
                  </a:lnTo>
                  <a:close/>
                  <a:moveTo>
                    <a:pt x="706522" y="1271563"/>
                  </a:moveTo>
                  <a:lnTo>
                    <a:pt x="902065" y="1271563"/>
                  </a:lnTo>
                  <a:lnTo>
                    <a:pt x="902065" y="0"/>
                  </a:lnTo>
                  <a:lnTo>
                    <a:pt x="706522" y="0"/>
                  </a:lnTo>
                  <a:lnTo>
                    <a:pt x="706522" y="553717"/>
                  </a:lnTo>
                  <a:lnTo>
                    <a:pt x="195543" y="553717"/>
                  </a:lnTo>
                  <a:lnTo>
                    <a:pt x="195543" y="0"/>
                  </a:lnTo>
                  <a:lnTo>
                    <a:pt x="0" y="0"/>
                  </a:lnTo>
                  <a:lnTo>
                    <a:pt x="0" y="1271563"/>
                  </a:lnTo>
                  <a:lnTo>
                    <a:pt x="195543" y="1271563"/>
                  </a:lnTo>
                  <a:lnTo>
                    <a:pt x="195543" y="727142"/>
                  </a:lnTo>
                  <a:lnTo>
                    <a:pt x="706522" y="727142"/>
                  </a:lnTo>
                  <a:lnTo>
                    <a:pt x="706522" y="1271563"/>
                  </a:lnTo>
                  <a:close/>
                  <a:moveTo>
                    <a:pt x="1306185" y="1690649"/>
                  </a:moveTo>
                  <a:lnTo>
                    <a:pt x="1654904" y="1036061"/>
                  </a:lnTo>
                  <a:lnTo>
                    <a:pt x="1306185" y="381469"/>
                  </a:lnTo>
                  <a:lnTo>
                    <a:pt x="1090234" y="381469"/>
                  </a:lnTo>
                  <a:lnTo>
                    <a:pt x="1438900" y="1036061"/>
                  </a:lnTo>
                  <a:lnTo>
                    <a:pt x="1090234" y="1690649"/>
                  </a:lnTo>
                  <a:lnTo>
                    <a:pt x="1306185" y="1690649"/>
                  </a:lnTo>
                  <a:close/>
                  <a:moveTo>
                    <a:pt x="2581808" y="828654"/>
                  </a:moveTo>
                  <a:cubicBezTo>
                    <a:pt x="2581808" y="1002989"/>
                    <a:pt x="2470789" y="1129505"/>
                    <a:pt x="2317883" y="1129505"/>
                  </a:cubicBezTo>
                  <a:cubicBezTo>
                    <a:pt x="2168980" y="1129505"/>
                    <a:pt x="2065011" y="1007262"/>
                    <a:pt x="2065011" y="832338"/>
                  </a:cubicBezTo>
                  <a:cubicBezTo>
                    <a:pt x="2065011" y="649088"/>
                    <a:pt x="2170314" y="525990"/>
                    <a:pt x="2327068" y="525990"/>
                  </a:cubicBezTo>
                  <a:cubicBezTo>
                    <a:pt x="2479444" y="525990"/>
                    <a:pt x="2581808" y="647590"/>
                    <a:pt x="2581808" y="828654"/>
                  </a:cubicBezTo>
                  <a:moveTo>
                    <a:pt x="2581808" y="1271563"/>
                  </a:moveTo>
                  <a:lnTo>
                    <a:pt x="2762608" y="1271563"/>
                  </a:lnTo>
                  <a:lnTo>
                    <a:pt x="2762608" y="0"/>
                  </a:lnTo>
                  <a:lnTo>
                    <a:pt x="2581808" y="0"/>
                  </a:lnTo>
                  <a:lnTo>
                    <a:pt x="2581808" y="476356"/>
                  </a:lnTo>
                  <a:cubicBezTo>
                    <a:pt x="2503431" y="397017"/>
                    <a:pt x="2412449" y="359885"/>
                    <a:pt x="2297581" y="359885"/>
                  </a:cubicBezTo>
                  <a:cubicBezTo>
                    <a:pt x="2057690" y="359885"/>
                    <a:pt x="1876785" y="562214"/>
                    <a:pt x="1876785" y="830470"/>
                  </a:cubicBezTo>
                  <a:cubicBezTo>
                    <a:pt x="1876785" y="1102145"/>
                    <a:pt x="2049839" y="1291865"/>
                    <a:pt x="2297581" y="1291865"/>
                  </a:cubicBezTo>
                  <a:cubicBezTo>
                    <a:pt x="2414371" y="1291865"/>
                    <a:pt x="2503061" y="1251959"/>
                    <a:pt x="2581808" y="1163217"/>
                  </a:cubicBezTo>
                  <a:lnTo>
                    <a:pt x="2581808" y="1271563"/>
                  </a:lnTo>
                  <a:close/>
                  <a:moveTo>
                    <a:pt x="3437445" y="542393"/>
                  </a:moveTo>
                  <a:lnTo>
                    <a:pt x="3460310" y="545331"/>
                  </a:lnTo>
                  <a:lnTo>
                    <a:pt x="3460310" y="359885"/>
                  </a:lnTo>
                  <a:lnTo>
                    <a:pt x="3406830" y="359885"/>
                  </a:lnTo>
                  <a:cubicBezTo>
                    <a:pt x="3341169" y="359885"/>
                    <a:pt x="3277430" y="380294"/>
                    <a:pt x="3231965" y="415877"/>
                  </a:cubicBezTo>
                  <a:cubicBezTo>
                    <a:pt x="3213690" y="430035"/>
                    <a:pt x="3199693" y="444353"/>
                    <a:pt x="3187194" y="462091"/>
                  </a:cubicBezTo>
                  <a:lnTo>
                    <a:pt x="3187194" y="380187"/>
                  </a:lnTo>
                  <a:lnTo>
                    <a:pt x="3006395" y="380187"/>
                  </a:lnTo>
                  <a:lnTo>
                    <a:pt x="3006395" y="1271563"/>
                  </a:lnTo>
                  <a:lnTo>
                    <a:pt x="3187194" y="1271563"/>
                  </a:lnTo>
                  <a:lnTo>
                    <a:pt x="3187194" y="819411"/>
                  </a:lnTo>
                  <a:cubicBezTo>
                    <a:pt x="3187194" y="727783"/>
                    <a:pt x="3198894" y="679915"/>
                    <a:pt x="3233517" y="629638"/>
                  </a:cubicBezTo>
                  <a:cubicBezTo>
                    <a:pt x="3272300" y="572310"/>
                    <a:pt x="3331926" y="540683"/>
                    <a:pt x="3401277" y="540683"/>
                  </a:cubicBezTo>
                  <a:cubicBezTo>
                    <a:pt x="3410356" y="540683"/>
                    <a:pt x="3423983" y="540683"/>
                    <a:pt x="3437445" y="542393"/>
                  </a:cubicBezTo>
                  <a:moveTo>
                    <a:pt x="4250980" y="826838"/>
                  </a:moveTo>
                  <a:cubicBezTo>
                    <a:pt x="4250980" y="1000692"/>
                    <a:pt x="4140918" y="1122077"/>
                    <a:pt x="3983364" y="1122077"/>
                  </a:cubicBezTo>
                  <a:cubicBezTo>
                    <a:pt x="3822174" y="1122077"/>
                    <a:pt x="3713875" y="1003466"/>
                    <a:pt x="3713875" y="826838"/>
                  </a:cubicBezTo>
                  <a:cubicBezTo>
                    <a:pt x="3713875" y="649088"/>
                    <a:pt x="3822920" y="529677"/>
                    <a:pt x="3985180" y="529677"/>
                  </a:cubicBezTo>
                  <a:cubicBezTo>
                    <a:pt x="4144179" y="529677"/>
                    <a:pt x="4250980" y="649088"/>
                    <a:pt x="4250980" y="826838"/>
                  </a:cubicBezTo>
                  <a:moveTo>
                    <a:pt x="4435464" y="828654"/>
                  </a:moveTo>
                  <a:cubicBezTo>
                    <a:pt x="4435464" y="557084"/>
                    <a:pt x="4246120" y="359885"/>
                    <a:pt x="3985180" y="359885"/>
                  </a:cubicBezTo>
                  <a:cubicBezTo>
                    <a:pt x="3716818" y="359885"/>
                    <a:pt x="3529338" y="551155"/>
                    <a:pt x="3529338" y="824916"/>
                  </a:cubicBezTo>
                  <a:cubicBezTo>
                    <a:pt x="3529338" y="1099848"/>
                    <a:pt x="3714521" y="1291865"/>
                    <a:pt x="3979622" y="1291865"/>
                  </a:cubicBezTo>
                  <a:cubicBezTo>
                    <a:pt x="4235272" y="1291865"/>
                    <a:pt x="4435464" y="1088418"/>
                    <a:pt x="4435464" y="828654"/>
                  </a:cubicBezTo>
                  <a:moveTo>
                    <a:pt x="5261608" y="828654"/>
                  </a:moveTo>
                  <a:cubicBezTo>
                    <a:pt x="5261608" y="909382"/>
                    <a:pt x="5239596" y="986748"/>
                    <a:pt x="5205508" y="1025854"/>
                  </a:cubicBezTo>
                  <a:cubicBezTo>
                    <a:pt x="5153150" y="1087026"/>
                    <a:pt x="5080062" y="1122077"/>
                    <a:pt x="5005052" y="1122077"/>
                  </a:cubicBezTo>
                  <a:cubicBezTo>
                    <a:pt x="4855296" y="1122077"/>
                    <a:pt x="4746675" y="996361"/>
                    <a:pt x="4746675" y="823153"/>
                  </a:cubicBezTo>
                  <a:cubicBezTo>
                    <a:pt x="4746675" y="650316"/>
                    <a:pt x="4854386" y="529677"/>
                    <a:pt x="5008683" y="529677"/>
                  </a:cubicBezTo>
                  <a:cubicBezTo>
                    <a:pt x="5078193" y="529677"/>
                    <a:pt x="5151652" y="563177"/>
                    <a:pt x="5200378" y="617081"/>
                  </a:cubicBezTo>
                  <a:cubicBezTo>
                    <a:pt x="5246112" y="667892"/>
                    <a:pt x="5261608" y="721266"/>
                    <a:pt x="5261608" y="828654"/>
                  </a:cubicBezTo>
                  <a:moveTo>
                    <a:pt x="5327264" y="1583314"/>
                  </a:moveTo>
                  <a:cubicBezTo>
                    <a:pt x="5409426" y="1504990"/>
                    <a:pt x="5446113" y="1404277"/>
                    <a:pt x="5446113" y="1256819"/>
                  </a:cubicBezTo>
                  <a:lnTo>
                    <a:pt x="5446113" y="380187"/>
                  </a:lnTo>
                  <a:lnTo>
                    <a:pt x="5265239" y="380187"/>
                  </a:lnTo>
                  <a:lnTo>
                    <a:pt x="5265239" y="488537"/>
                  </a:lnTo>
                  <a:cubicBezTo>
                    <a:pt x="5186005" y="398673"/>
                    <a:pt x="5100153" y="359885"/>
                    <a:pt x="4982875" y="359885"/>
                  </a:cubicBezTo>
                  <a:cubicBezTo>
                    <a:pt x="4866567" y="359885"/>
                    <a:pt x="4771201" y="395361"/>
                    <a:pt x="4699394" y="465190"/>
                  </a:cubicBezTo>
                  <a:cubicBezTo>
                    <a:pt x="4611080" y="549710"/>
                    <a:pt x="4558400" y="685574"/>
                    <a:pt x="4558400" y="828654"/>
                  </a:cubicBezTo>
                  <a:cubicBezTo>
                    <a:pt x="4558400" y="1092743"/>
                    <a:pt x="4736097" y="1291865"/>
                    <a:pt x="4971816" y="1291865"/>
                  </a:cubicBezTo>
                  <a:cubicBezTo>
                    <a:pt x="5092032" y="1291865"/>
                    <a:pt x="5185952" y="1246830"/>
                    <a:pt x="5265239" y="1150553"/>
                  </a:cubicBezTo>
                  <a:lnTo>
                    <a:pt x="5265239" y="1267931"/>
                  </a:lnTo>
                  <a:cubicBezTo>
                    <a:pt x="5265239" y="1350745"/>
                    <a:pt x="5245313" y="1414431"/>
                    <a:pt x="5206095" y="1457116"/>
                  </a:cubicBezTo>
                  <a:cubicBezTo>
                    <a:pt x="5162288" y="1504291"/>
                    <a:pt x="5083159" y="1533625"/>
                    <a:pt x="4999546" y="1533625"/>
                  </a:cubicBezTo>
                  <a:cubicBezTo>
                    <a:pt x="4932122" y="1533625"/>
                    <a:pt x="4856471" y="1514979"/>
                    <a:pt x="4811695" y="1487409"/>
                  </a:cubicBezTo>
                  <a:cubicBezTo>
                    <a:pt x="4788777" y="1471596"/>
                    <a:pt x="4771254" y="1455624"/>
                    <a:pt x="4733588" y="1416300"/>
                  </a:cubicBezTo>
                  <a:lnTo>
                    <a:pt x="4719215" y="1401339"/>
                  </a:lnTo>
                  <a:lnTo>
                    <a:pt x="4595103" y="1525451"/>
                  </a:lnTo>
                  <a:lnTo>
                    <a:pt x="4607819" y="1539824"/>
                  </a:lnTo>
                  <a:cubicBezTo>
                    <a:pt x="4703719" y="1647106"/>
                    <a:pt x="4835528" y="1701544"/>
                    <a:pt x="4999546" y="1701544"/>
                  </a:cubicBezTo>
                  <a:cubicBezTo>
                    <a:pt x="5134664" y="1701544"/>
                    <a:pt x="5247981" y="1660675"/>
                    <a:pt x="5327264" y="1583314"/>
                  </a:cubicBezTo>
                  <a:moveTo>
                    <a:pt x="6317923" y="747497"/>
                  </a:moveTo>
                  <a:lnTo>
                    <a:pt x="5805203" y="747497"/>
                  </a:lnTo>
                  <a:cubicBezTo>
                    <a:pt x="5814785" y="696051"/>
                    <a:pt x="5825267" y="667627"/>
                    <a:pt x="5845913" y="635144"/>
                  </a:cubicBezTo>
                  <a:cubicBezTo>
                    <a:pt x="5892024" y="566756"/>
                    <a:pt x="5971327" y="525990"/>
                    <a:pt x="6057989" y="525990"/>
                  </a:cubicBezTo>
                  <a:cubicBezTo>
                    <a:pt x="6144228" y="525990"/>
                    <a:pt x="6225702" y="566274"/>
                    <a:pt x="6275730" y="633487"/>
                  </a:cubicBezTo>
                  <a:cubicBezTo>
                    <a:pt x="6300453" y="669067"/>
                    <a:pt x="6312047" y="699841"/>
                    <a:pt x="6317923" y="747497"/>
                  </a:cubicBezTo>
                  <a:moveTo>
                    <a:pt x="6508188" y="872890"/>
                  </a:moveTo>
                  <a:cubicBezTo>
                    <a:pt x="6510094" y="851683"/>
                    <a:pt x="6510094" y="827426"/>
                    <a:pt x="6510094" y="815779"/>
                  </a:cubicBezTo>
                  <a:cubicBezTo>
                    <a:pt x="6510094" y="555909"/>
                    <a:pt x="6315700" y="359885"/>
                    <a:pt x="6057989" y="359885"/>
                  </a:cubicBezTo>
                  <a:cubicBezTo>
                    <a:pt x="5798109" y="359885"/>
                    <a:pt x="5609538" y="557084"/>
                    <a:pt x="5609538" y="828654"/>
                  </a:cubicBezTo>
                  <a:cubicBezTo>
                    <a:pt x="5609538" y="1097074"/>
                    <a:pt x="5800491" y="1291865"/>
                    <a:pt x="6063495" y="1291865"/>
                  </a:cubicBezTo>
                  <a:cubicBezTo>
                    <a:pt x="6235020" y="1291865"/>
                    <a:pt x="6386956" y="1199867"/>
                    <a:pt x="6460066" y="1051710"/>
                  </a:cubicBezTo>
                  <a:lnTo>
                    <a:pt x="6469966" y="1031572"/>
                  </a:lnTo>
                  <a:lnTo>
                    <a:pt x="6308923" y="971517"/>
                  </a:lnTo>
                  <a:lnTo>
                    <a:pt x="6300559" y="986689"/>
                  </a:lnTo>
                  <a:cubicBezTo>
                    <a:pt x="6254237" y="1068968"/>
                    <a:pt x="6161169" y="1122077"/>
                    <a:pt x="6063495" y="1122077"/>
                  </a:cubicBezTo>
                  <a:cubicBezTo>
                    <a:pt x="5977415" y="1122077"/>
                    <a:pt x="5901923" y="1083664"/>
                    <a:pt x="5850784" y="1013832"/>
                  </a:cubicBezTo>
                  <a:cubicBezTo>
                    <a:pt x="5821932" y="975900"/>
                    <a:pt x="5809438" y="945021"/>
                    <a:pt x="5802132" y="891377"/>
                  </a:cubicBezTo>
                  <a:lnTo>
                    <a:pt x="6506547" y="891377"/>
                  </a:lnTo>
                  <a:lnTo>
                    <a:pt x="6508188" y="872890"/>
                  </a:lnTo>
                  <a:close/>
                  <a:moveTo>
                    <a:pt x="7205139" y="1271563"/>
                  </a:moveTo>
                  <a:lnTo>
                    <a:pt x="7385928" y="1271563"/>
                  </a:lnTo>
                  <a:lnTo>
                    <a:pt x="7385928" y="677294"/>
                  </a:lnTo>
                  <a:cubicBezTo>
                    <a:pt x="7385928" y="554734"/>
                    <a:pt x="7365387" y="491422"/>
                    <a:pt x="7307154" y="435163"/>
                  </a:cubicBezTo>
                  <a:cubicBezTo>
                    <a:pt x="7252520" y="386599"/>
                    <a:pt x="7177557" y="359885"/>
                    <a:pt x="7096189" y="359885"/>
                  </a:cubicBezTo>
                  <a:cubicBezTo>
                    <a:pt x="7000739" y="359885"/>
                    <a:pt x="6929853" y="391193"/>
                    <a:pt x="6863625" y="463694"/>
                  </a:cubicBezTo>
                  <a:lnTo>
                    <a:pt x="6863625" y="380187"/>
                  </a:lnTo>
                  <a:lnTo>
                    <a:pt x="6682836" y="380187"/>
                  </a:lnTo>
                  <a:lnTo>
                    <a:pt x="6682836" y="1271563"/>
                  </a:lnTo>
                  <a:lnTo>
                    <a:pt x="6863625" y="1271563"/>
                  </a:lnTo>
                  <a:lnTo>
                    <a:pt x="6863625" y="732701"/>
                  </a:lnTo>
                  <a:cubicBezTo>
                    <a:pt x="6863625" y="667839"/>
                    <a:pt x="6876278" y="632147"/>
                    <a:pt x="6913971" y="591066"/>
                  </a:cubicBezTo>
                  <a:cubicBezTo>
                    <a:pt x="6951505" y="548481"/>
                    <a:pt x="7002433" y="525990"/>
                    <a:pt x="7061143" y="525990"/>
                  </a:cubicBezTo>
                  <a:cubicBezTo>
                    <a:pt x="7110748" y="525990"/>
                    <a:pt x="7155428" y="544744"/>
                    <a:pt x="7177769" y="575089"/>
                  </a:cubicBezTo>
                  <a:cubicBezTo>
                    <a:pt x="7197410" y="601215"/>
                    <a:pt x="7205139" y="638722"/>
                    <a:pt x="7205139" y="708709"/>
                  </a:cubicBezTo>
                  <a:lnTo>
                    <a:pt x="7205139" y="1271563"/>
                  </a:lnTo>
                  <a:close/>
                  <a:moveTo>
                    <a:pt x="7822309" y="162418"/>
                  </a:moveTo>
                  <a:cubicBezTo>
                    <a:pt x="7822309" y="99268"/>
                    <a:pt x="7774452" y="49847"/>
                    <a:pt x="7713412" y="49847"/>
                  </a:cubicBezTo>
                  <a:cubicBezTo>
                    <a:pt x="7650255" y="49847"/>
                    <a:pt x="7602662" y="97451"/>
                    <a:pt x="7602662" y="160549"/>
                  </a:cubicBezTo>
                  <a:cubicBezTo>
                    <a:pt x="7602662" y="223699"/>
                    <a:pt x="7649514" y="271303"/>
                    <a:pt x="7711560" y="271303"/>
                  </a:cubicBezTo>
                  <a:cubicBezTo>
                    <a:pt x="7773711" y="271303"/>
                    <a:pt x="7822309" y="223432"/>
                    <a:pt x="7822309" y="162418"/>
                  </a:cubicBezTo>
                  <a:moveTo>
                    <a:pt x="8704760" y="826838"/>
                  </a:moveTo>
                  <a:cubicBezTo>
                    <a:pt x="8704760" y="1000692"/>
                    <a:pt x="8594751" y="1122077"/>
                    <a:pt x="8437150" y="1122077"/>
                  </a:cubicBezTo>
                  <a:cubicBezTo>
                    <a:pt x="8276002" y="1122077"/>
                    <a:pt x="8167740" y="1003466"/>
                    <a:pt x="8167740" y="826838"/>
                  </a:cubicBezTo>
                  <a:cubicBezTo>
                    <a:pt x="8167740" y="649088"/>
                    <a:pt x="8276743" y="529677"/>
                    <a:pt x="8439003" y="529677"/>
                  </a:cubicBezTo>
                  <a:cubicBezTo>
                    <a:pt x="8597980" y="529677"/>
                    <a:pt x="8704760" y="649088"/>
                    <a:pt x="8704760" y="826838"/>
                  </a:cubicBezTo>
                  <a:moveTo>
                    <a:pt x="8889307" y="828654"/>
                  </a:moveTo>
                  <a:cubicBezTo>
                    <a:pt x="8889307" y="557084"/>
                    <a:pt x="8699942" y="359885"/>
                    <a:pt x="8439003" y="359885"/>
                  </a:cubicBezTo>
                  <a:cubicBezTo>
                    <a:pt x="8170652" y="359885"/>
                    <a:pt x="7983193" y="551155"/>
                    <a:pt x="7983193" y="824916"/>
                  </a:cubicBezTo>
                  <a:cubicBezTo>
                    <a:pt x="7983193" y="1099848"/>
                    <a:pt x="8168375" y="1291865"/>
                    <a:pt x="8433444" y="1291865"/>
                  </a:cubicBezTo>
                  <a:cubicBezTo>
                    <a:pt x="8689089" y="1291865"/>
                    <a:pt x="8889307" y="1088418"/>
                    <a:pt x="8889307" y="828654"/>
                  </a:cubicBezTo>
                  <a:moveTo>
                    <a:pt x="9658150" y="1197940"/>
                  </a:moveTo>
                  <a:cubicBezTo>
                    <a:pt x="9724854" y="1137144"/>
                    <a:pt x="9749630" y="1068539"/>
                    <a:pt x="9749630" y="944968"/>
                  </a:cubicBezTo>
                  <a:lnTo>
                    <a:pt x="9749630" y="380187"/>
                  </a:lnTo>
                  <a:lnTo>
                    <a:pt x="9566988" y="380187"/>
                  </a:lnTo>
                  <a:lnTo>
                    <a:pt x="9566988" y="944968"/>
                  </a:lnTo>
                  <a:cubicBezTo>
                    <a:pt x="9566988" y="1008437"/>
                    <a:pt x="9558835" y="1039587"/>
                    <a:pt x="9535012" y="1068222"/>
                  </a:cubicBezTo>
                  <a:cubicBezTo>
                    <a:pt x="9503831" y="1104284"/>
                    <a:pt x="9453009" y="1125815"/>
                    <a:pt x="9399010" y="1125815"/>
                  </a:cubicBezTo>
                  <a:cubicBezTo>
                    <a:pt x="9299060" y="1125815"/>
                    <a:pt x="9229233" y="1049947"/>
                    <a:pt x="9229233" y="941225"/>
                  </a:cubicBezTo>
                  <a:lnTo>
                    <a:pt x="9229233" y="380187"/>
                  </a:lnTo>
                  <a:lnTo>
                    <a:pt x="9048391" y="380187"/>
                  </a:lnTo>
                  <a:lnTo>
                    <a:pt x="9048391" y="944968"/>
                  </a:lnTo>
                  <a:cubicBezTo>
                    <a:pt x="9048391" y="1054330"/>
                    <a:pt x="9078249" y="1136392"/>
                    <a:pt x="9139659" y="1195965"/>
                  </a:cubicBezTo>
                  <a:cubicBezTo>
                    <a:pt x="9204563" y="1256925"/>
                    <a:pt x="9299113" y="1291865"/>
                    <a:pt x="9399010" y="1291865"/>
                  </a:cubicBezTo>
                  <a:cubicBezTo>
                    <a:pt x="9499701" y="1291865"/>
                    <a:pt x="9591763" y="1258529"/>
                    <a:pt x="9658150" y="1197945"/>
                  </a:cubicBezTo>
                  <a:moveTo>
                    <a:pt x="10385594" y="653307"/>
                  </a:moveTo>
                  <a:lnTo>
                    <a:pt x="10567335" y="653307"/>
                  </a:lnTo>
                  <a:lnTo>
                    <a:pt x="10566383" y="632041"/>
                  </a:lnTo>
                  <a:cubicBezTo>
                    <a:pt x="10558442" y="459099"/>
                    <a:pt x="10442768" y="359885"/>
                    <a:pt x="10249009" y="359885"/>
                  </a:cubicBezTo>
                  <a:cubicBezTo>
                    <a:pt x="10058003" y="359885"/>
                    <a:pt x="9929730" y="467434"/>
                    <a:pt x="9929730" y="627446"/>
                  </a:cubicBezTo>
                  <a:cubicBezTo>
                    <a:pt x="9929730" y="765666"/>
                    <a:pt x="10016922" y="850825"/>
                    <a:pt x="10212587" y="903611"/>
                  </a:cubicBezTo>
                  <a:cubicBezTo>
                    <a:pt x="10347689" y="937858"/>
                    <a:pt x="10391099" y="968955"/>
                    <a:pt x="10391099" y="1031625"/>
                  </a:cubicBezTo>
                  <a:cubicBezTo>
                    <a:pt x="10391099" y="1095576"/>
                    <a:pt x="10336730" y="1136874"/>
                    <a:pt x="10252715" y="1136874"/>
                  </a:cubicBezTo>
                  <a:cubicBezTo>
                    <a:pt x="10155517" y="1136874"/>
                    <a:pt x="10102102" y="1093384"/>
                    <a:pt x="10093843" y="1007579"/>
                  </a:cubicBezTo>
                  <a:lnTo>
                    <a:pt x="10092096" y="989257"/>
                  </a:lnTo>
                  <a:lnTo>
                    <a:pt x="9913054" y="989257"/>
                  </a:lnTo>
                  <a:lnTo>
                    <a:pt x="9915066" y="1011216"/>
                  </a:lnTo>
                  <a:cubicBezTo>
                    <a:pt x="9930789" y="1194843"/>
                    <a:pt x="10047626" y="1291865"/>
                    <a:pt x="10252715" y="1291865"/>
                  </a:cubicBezTo>
                  <a:cubicBezTo>
                    <a:pt x="10445839" y="1291865"/>
                    <a:pt x="10575647" y="1184371"/>
                    <a:pt x="10575647" y="1024303"/>
                  </a:cubicBezTo>
                  <a:cubicBezTo>
                    <a:pt x="10575647" y="956667"/>
                    <a:pt x="10548542" y="890948"/>
                    <a:pt x="10501426" y="843879"/>
                  </a:cubicBezTo>
                  <a:cubicBezTo>
                    <a:pt x="10457485" y="799913"/>
                    <a:pt x="10397028" y="770955"/>
                    <a:pt x="10285750" y="740769"/>
                  </a:cubicBezTo>
                  <a:cubicBezTo>
                    <a:pt x="10125660" y="696474"/>
                    <a:pt x="10110519" y="671471"/>
                    <a:pt x="10110519" y="616440"/>
                  </a:cubicBezTo>
                  <a:cubicBezTo>
                    <a:pt x="10110519" y="553823"/>
                    <a:pt x="10161447" y="514877"/>
                    <a:pt x="10243398" y="514877"/>
                  </a:cubicBezTo>
                  <a:cubicBezTo>
                    <a:pt x="10329795" y="514877"/>
                    <a:pt x="10385594" y="557672"/>
                    <a:pt x="10385594" y="623762"/>
                  </a:cubicBezTo>
                  <a:lnTo>
                    <a:pt x="10385594" y="653307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</p:grp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76515260-D7C2-9F10-90D5-067BD272CB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4" y="843892"/>
            <a:ext cx="2749548" cy="5511338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2C265266-5858-F63B-38A5-C36D9D241E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E81BDE5F-81E3-BC5E-2E6B-E85DD8BA9D5E}"/>
              </a:ext>
            </a:extLst>
          </p:cNvPr>
          <p:cNvGrpSpPr/>
          <p:nvPr userDrawn="1"/>
        </p:nvGrpSpPr>
        <p:grpSpPr>
          <a:xfrm rot="5400000">
            <a:off x="-3617983" y="3323777"/>
            <a:ext cx="6854690" cy="213756"/>
            <a:chOff x="-1" y="-286346"/>
            <a:chExt cx="5820565" cy="181508"/>
          </a:xfrm>
        </p:grpSpPr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BF4F7638-1F82-DCD8-F35A-710A71DA07DA}"/>
                </a:ext>
              </a:extLst>
            </p:cNvPr>
            <p:cNvGrpSpPr/>
            <p:nvPr userDrawn="1"/>
          </p:nvGrpSpPr>
          <p:grpSpPr>
            <a:xfrm rot="16200000">
              <a:off x="363007" y="-649354"/>
              <a:ext cx="181503" cy="907520"/>
              <a:chOff x="1319213" y="-1663170"/>
              <a:chExt cx="181503" cy="907520"/>
            </a:xfrm>
          </p:grpSpPr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E44BBB4B-6E70-348F-6029-9EE2B0F2CE6F}"/>
                  </a:ext>
                </a:extLst>
              </p:cNvPr>
              <p:cNvSpPr/>
              <p:nvPr/>
            </p:nvSpPr>
            <p:spPr>
              <a:xfrm>
                <a:off x="1319213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44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53102CFC-6571-0F5B-F83F-EF72793BD006}"/>
                  </a:ext>
                </a:extLst>
              </p:cNvPr>
              <p:cNvSpPr/>
              <p:nvPr/>
            </p:nvSpPr>
            <p:spPr>
              <a:xfrm>
                <a:off x="1319213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69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605AB9C6-231A-E4F6-9FAF-DEACDC6CD2ED}"/>
                  </a:ext>
                </a:extLst>
              </p:cNvPr>
              <p:cNvSpPr/>
              <p:nvPr/>
            </p:nvSpPr>
            <p:spPr>
              <a:xfrm>
                <a:off x="1319213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FE8F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2E0D634C-0A94-3C96-8B72-30537FC6EF66}"/>
                  </a:ext>
                </a:extLst>
              </p:cNvPr>
              <p:cNvSpPr/>
              <p:nvPr/>
            </p:nvSpPr>
            <p:spPr>
              <a:xfrm>
                <a:off x="1319213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B4B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B57F60B0-579B-48F3-3C5C-0668B4B01AA6}"/>
                  </a:ext>
                </a:extLst>
              </p:cNvPr>
              <p:cNvSpPr/>
              <p:nvPr/>
            </p:nvSpPr>
            <p:spPr>
              <a:xfrm>
                <a:off x="1319213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D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BEB77ED3-6B0D-B1D8-CB39-2D0AE43CC672}"/>
                </a:ext>
              </a:extLst>
            </p:cNvPr>
            <p:cNvGrpSpPr/>
            <p:nvPr userDrawn="1"/>
          </p:nvGrpSpPr>
          <p:grpSpPr>
            <a:xfrm rot="16200000">
              <a:off x="1345616" y="-649354"/>
              <a:ext cx="181503" cy="907520"/>
              <a:chOff x="1319213" y="-664912"/>
              <a:chExt cx="181503" cy="907520"/>
            </a:xfrm>
          </p:grpSpPr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E47DA8EB-20BC-3A80-56BC-E09B062A8582}"/>
                  </a:ext>
                </a:extLst>
              </p:cNvPr>
              <p:cNvSpPr/>
              <p:nvPr/>
            </p:nvSpPr>
            <p:spPr>
              <a:xfrm>
                <a:off x="1319213" y="-66491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6400A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EBC12C8D-CBA2-9CF3-3E7F-CE2DEC980E7C}"/>
                  </a:ext>
                </a:extLst>
              </p:cNvPr>
              <p:cNvSpPr/>
              <p:nvPr/>
            </p:nvSpPr>
            <p:spPr>
              <a:xfrm>
                <a:off x="1319213" y="-483404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33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9FBAD21C-7372-FE1F-B2BE-DFD6B7C2FB4A}"/>
                  </a:ext>
                </a:extLst>
              </p:cNvPr>
              <p:cNvSpPr/>
              <p:nvPr/>
            </p:nvSpPr>
            <p:spPr>
              <a:xfrm>
                <a:off x="1319213" y="-30189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266C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D7737953-5C29-EBC9-A62E-D08EF7031817}"/>
                  </a:ext>
                </a:extLst>
              </p:cNvPr>
              <p:cNvSpPr/>
              <p:nvPr/>
            </p:nvSpPr>
            <p:spPr>
              <a:xfrm>
                <a:off x="1319213" y="-120387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199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8A8FFACE-8BA9-74E5-44CC-E470E02D499B}"/>
                  </a:ext>
                </a:extLst>
              </p:cNvPr>
              <p:cNvSpPr/>
              <p:nvPr/>
            </p:nvSpPr>
            <p:spPr>
              <a:xfrm>
                <a:off x="1319213" y="6110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0CC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BF08B0B9-C57E-D9A3-5C2A-FC31AA22B4AE}"/>
                </a:ext>
              </a:extLst>
            </p:cNvPr>
            <p:cNvGrpSpPr/>
            <p:nvPr userDrawn="1"/>
          </p:nvGrpSpPr>
          <p:grpSpPr>
            <a:xfrm rot="16200000">
              <a:off x="2328223" y="-649352"/>
              <a:ext cx="181508" cy="907520"/>
              <a:chOff x="1682219" y="-1663170"/>
              <a:chExt cx="181508" cy="907520"/>
            </a:xfrm>
          </p:grpSpPr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9C558B03-1912-6EF6-196F-30EF75CB7824}"/>
                  </a:ext>
                </a:extLst>
              </p:cNvPr>
              <p:cNvSpPr/>
              <p:nvPr/>
            </p:nvSpPr>
            <p:spPr>
              <a:xfrm>
                <a:off x="1682219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CC8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CAC2FB5F-DE6E-579D-556F-EC1E0E7F00A2}"/>
                  </a:ext>
                </a:extLst>
              </p:cNvPr>
              <p:cNvSpPr/>
              <p:nvPr/>
            </p:nvSpPr>
            <p:spPr>
              <a:xfrm>
                <a:off x="1682224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3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B354726A-1187-3E3A-E240-FAD142915A68}"/>
                  </a:ext>
                </a:extLst>
              </p:cNvPr>
              <p:cNvSpPr/>
              <p:nvPr/>
            </p:nvSpPr>
            <p:spPr>
              <a:xfrm>
                <a:off x="1682224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ADE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BDBAEF9D-CB49-F3AB-490C-DAE4EFAC831F}"/>
                  </a:ext>
                </a:extLst>
              </p:cNvPr>
              <p:cNvSpPr/>
              <p:nvPr/>
            </p:nvSpPr>
            <p:spPr>
              <a:xfrm>
                <a:off x="1682224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E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891BBF6E-F03F-1542-B24A-1BE9009B6ADD}"/>
                  </a:ext>
                </a:extLst>
              </p:cNvPr>
              <p:cNvSpPr/>
              <p:nvPr/>
            </p:nvSpPr>
            <p:spPr>
              <a:xfrm>
                <a:off x="1682219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8F4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5C98C305-AC29-5244-97B9-5330041E6BFA}"/>
                </a:ext>
              </a:extLst>
            </p:cNvPr>
            <p:cNvGrpSpPr/>
            <p:nvPr userDrawn="1"/>
          </p:nvGrpSpPr>
          <p:grpSpPr>
            <a:xfrm rot="16200000">
              <a:off x="5276052" y="-649354"/>
              <a:ext cx="181503" cy="907520"/>
              <a:chOff x="2226738" y="-1663170"/>
              <a:chExt cx="181503" cy="907520"/>
            </a:xfrm>
          </p:grpSpPr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B70FBA6B-C8CD-D29D-3BFD-0BC4A6DFAE40}"/>
                  </a:ext>
                </a:extLst>
              </p:cNvPr>
              <p:cNvSpPr/>
              <p:nvPr/>
            </p:nvSpPr>
            <p:spPr>
              <a:xfrm>
                <a:off x="2226738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B8E4674B-457F-5A47-73E4-72A1E7B7E7C6}"/>
                  </a:ext>
                </a:extLst>
              </p:cNvPr>
              <p:cNvSpPr/>
              <p:nvPr/>
            </p:nvSpPr>
            <p:spPr>
              <a:xfrm>
                <a:off x="2226738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5757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AE1F8339-6FAE-AEB6-01D3-60D5B2C2F3BC}"/>
                  </a:ext>
                </a:extLst>
              </p:cNvPr>
              <p:cNvSpPr/>
              <p:nvPr/>
            </p:nvSpPr>
            <p:spPr>
              <a:xfrm>
                <a:off x="2226738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8787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737A46FD-0D4A-3C1E-C149-3BDD438A900F}"/>
                  </a:ext>
                </a:extLst>
              </p:cNvPr>
              <p:cNvSpPr/>
              <p:nvPr/>
            </p:nvSpPr>
            <p:spPr>
              <a:xfrm>
                <a:off x="2226738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2B2B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3341FADB-ADFF-0209-CE22-DDC20C49C656}"/>
                  </a:ext>
                </a:extLst>
              </p:cNvPr>
              <p:cNvSpPr/>
              <p:nvPr/>
            </p:nvSpPr>
            <p:spPr>
              <a:xfrm>
                <a:off x="2226738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DA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0ABC1E8C-CE17-1449-67FB-81547A246F02}"/>
                </a:ext>
              </a:extLst>
            </p:cNvPr>
            <p:cNvGrpSpPr/>
            <p:nvPr userDrawn="1"/>
          </p:nvGrpSpPr>
          <p:grpSpPr>
            <a:xfrm rot="16200000">
              <a:off x="3310834" y="-649354"/>
              <a:ext cx="181503" cy="907520"/>
              <a:chOff x="1863727" y="-1663170"/>
              <a:chExt cx="181503" cy="907520"/>
            </a:xfrm>
          </p:grpSpPr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AF014668-DE14-DF79-6A0C-D3EE8890E2C9}"/>
                  </a:ext>
                </a:extLst>
              </p:cNvPr>
              <p:cNvSpPr/>
              <p:nvPr/>
            </p:nvSpPr>
            <p:spPr>
              <a:xfrm>
                <a:off x="1863727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2A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12EF70AD-6542-2E82-28C7-0E971F8FA7C6}"/>
                  </a:ext>
                </a:extLst>
              </p:cNvPr>
              <p:cNvSpPr/>
              <p:nvPr/>
            </p:nvSpPr>
            <p:spPr>
              <a:xfrm>
                <a:off x="1863727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5DB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74F7F4AF-C289-1552-54D0-00FFFC82375A}"/>
                  </a:ext>
                </a:extLst>
              </p:cNvPr>
              <p:cNvSpPr/>
              <p:nvPr/>
            </p:nvSpPr>
            <p:spPr>
              <a:xfrm>
                <a:off x="1863727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8E4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BBED75A4-1BD9-AA4E-163F-6CFE3F1C1054}"/>
                  </a:ext>
                </a:extLst>
              </p:cNvPr>
              <p:cNvSpPr/>
              <p:nvPr/>
            </p:nvSpPr>
            <p:spPr>
              <a:xfrm>
                <a:off x="1863727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ED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123669EF-BE4C-7F82-42A4-BF7D4F79A272}"/>
                  </a:ext>
                </a:extLst>
              </p:cNvPr>
              <p:cNvSpPr/>
              <p:nvPr/>
            </p:nvSpPr>
            <p:spPr>
              <a:xfrm>
                <a:off x="1863727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DF6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8FBC6F11-DB3B-2DF7-8225-2F8AB5681F18}"/>
                </a:ext>
              </a:extLst>
            </p:cNvPr>
            <p:cNvGrpSpPr/>
            <p:nvPr userDrawn="1"/>
          </p:nvGrpSpPr>
          <p:grpSpPr>
            <a:xfrm rot="16200000">
              <a:off x="4293441" y="-649352"/>
              <a:ext cx="181508" cy="907520"/>
              <a:chOff x="2045230" y="-1663170"/>
              <a:chExt cx="181508" cy="907520"/>
            </a:xfrm>
          </p:grpSpPr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65EB6CA7-7870-71FF-CB3A-E43E768A1D76}"/>
                  </a:ext>
                </a:extLst>
              </p:cNvPr>
              <p:cNvSpPr/>
              <p:nvPr/>
            </p:nvSpPr>
            <p:spPr>
              <a:xfrm>
                <a:off x="2045230" y="-937158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9F7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949411AB-BD0E-0F40-105B-145665A6D2E4}"/>
                  </a:ext>
                </a:extLst>
              </p:cNvPr>
              <p:cNvSpPr/>
              <p:nvPr/>
            </p:nvSpPr>
            <p:spPr>
              <a:xfrm>
                <a:off x="2045230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FED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21213B96-1109-A74C-76E3-1D13277AAFC3}"/>
                  </a:ext>
                </a:extLst>
              </p:cNvPr>
              <p:cNvSpPr/>
              <p:nvPr/>
            </p:nvSpPr>
            <p:spPr>
              <a:xfrm>
                <a:off x="2045230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5E3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3126AB36-1B34-E575-CF24-AD07B2C642DC}"/>
                  </a:ext>
                </a:extLst>
              </p:cNvPr>
              <p:cNvSpPr/>
              <p:nvPr/>
            </p:nvSpPr>
            <p:spPr>
              <a:xfrm>
                <a:off x="2045230" y="-1663170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CFC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3C0BF767-A180-0C20-652F-62EBD4D56240}"/>
                  </a:ext>
                </a:extLst>
              </p:cNvPr>
              <p:cNvSpPr/>
              <p:nvPr/>
            </p:nvSpPr>
            <p:spPr>
              <a:xfrm>
                <a:off x="2045230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BD9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7216242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 (red) and Text 1/3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Grafik 48">
            <a:extLst>
              <a:ext uri="{FF2B5EF4-FFF2-40B4-BE49-F238E27FC236}">
                <a16:creationId xmlns:a16="http://schemas.microsoft.com/office/drawing/2014/main" id="{C780019E-242F-7873-77C5-73EDB73EC5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7170" y="0"/>
            <a:ext cx="8124830" cy="6857999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05350" y="843891"/>
            <a:ext cx="6827836" cy="55106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964FA6FD-B18C-64CF-40CD-9C782D91C43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415668" y="503483"/>
            <a:ext cx="1289916" cy="180000"/>
            <a:chOff x="-161925" y="-1630732"/>
            <a:chExt cx="12193587" cy="1701544"/>
          </a:xfrm>
          <a:solidFill>
            <a:schemeClr val="bg1"/>
          </a:solidFill>
        </p:grpSpPr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0BAA8276-ECA1-E336-BCFB-04B3EC51B77A}"/>
                </a:ext>
              </a:extLst>
            </p:cNvPr>
            <p:cNvSpPr/>
            <p:nvPr/>
          </p:nvSpPr>
          <p:spPr>
            <a:xfrm>
              <a:off x="10774928" y="-1247713"/>
              <a:ext cx="1256734" cy="356304"/>
            </a:xfrm>
            <a:custGeom>
              <a:avLst/>
              <a:gdLst>
                <a:gd name="connsiteX0" fmla="*/ 1226823 w 1256734"/>
                <a:gd name="connsiteY0" fmla="*/ 269166 h 356304"/>
                <a:gd name="connsiteX1" fmla="*/ 1133491 w 1256734"/>
                <a:gd name="connsiteY1" fmla="*/ 316610 h 356304"/>
                <a:gd name="connsiteX2" fmla="*/ 1010248 w 1256734"/>
                <a:gd name="connsiteY2" fmla="*/ 178448 h 356304"/>
                <a:gd name="connsiteX3" fmla="*/ 1131426 w 1256734"/>
                <a:gd name="connsiteY3" fmla="*/ 39696 h 356304"/>
                <a:gd name="connsiteX4" fmla="*/ 1226823 w 1256734"/>
                <a:gd name="connsiteY4" fmla="*/ 86659 h 356304"/>
                <a:gd name="connsiteX5" fmla="*/ 1256735 w 1256734"/>
                <a:gd name="connsiteY5" fmla="*/ 58823 h 356304"/>
                <a:gd name="connsiteX6" fmla="*/ 1216553 w 1256734"/>
                <a:gd name="connsiteY6" fmla="*/ 23241 h 356304"/>
                <a:gd name="connsiteX7" fmla="*/ 1130420 w 1256734"/>
                <a:gd name="connsiteY7" fmla="*/ 0 h 356304"/>
                <a:gd name="connsiteX8" fmla="*/ 965885 w 1256734"/>
                <a:gd name="connsiteY8" fmla="*/ 178448 h 356304"/>
                <a:gd name="connsiteX9" fmla="*/ 1011783 w 1256734"/>
                <a:gd name="connsiteY9" fmla="*/ 305763 h 356304"/>
                <a:gd name="connsiteX10" fmla="*/ 1129892 w 1256734"/>
                <a:gd name="connsiteY10" fmla="*/ 356305 h 356304"/>
                <a:gd name="connsiteX11" fmla="*/ 1255676 w 1256734"/>
                <a:gd name="connsiteY11" fmla="*/ 298071 h 356304"/>
                <a:gd name="connsiteX12" fmla="*/ 1226823 w 1256734"/>
                <a:gd name="connsiteY12" fmla="*/ 269166 h 356304"/>
                <a:gd name="connsiteX13" fmla="*/ 679216 w 1256734"/>
                <a:gd name="connsiteY13" fmla="*/ 197999 h 356304"/>
                <a:gd name="connsiteX14" fmla="*/ 846824 w 1256734"/>
                <a:gd name="connsiteY14" fmla="*/ 197999 h 356304"/>
                <a:gd name="connsiteX15" fmla="*/ 846824 w 1256734"/>
                <a:gd name="connsiteY15" fmla="*/ 350105 h 356304"/>
                <a:gd name="connsiteX16" fmla="*/ 890075 w 1256734"/>
                <a:gd name="connsiteY16" fmla="*/ 350105 h 356304"/>
                <a:gd name="connsiteX17" fmla="*/ 890075 w 1256734"/>
                <a:gd name="connsiteY17" fmla="*/ 6198 h 356304"/>
                <a:gd name="connsiteX18" fmla="*/ 846824 w 1256734"/>
                <a:gd name="connsiteY18" fmla="*/ 6198 h 356304"/>
                <a:gd name="connsiteX19" fmla="*/ 846824 w 1256734"/>
                <a:gd name="connsiteY19" fmla="*/ 160920 h 356304"/>
                <a:gd name="connsiteX20" fmla="*/ 679216 w 1256734"/>
                <a:gd name="connsiteY20" fmla="*/ 160920 h 356304"/>
                <a:gd name="connsiteX21" fmla="*/ 679216 w 1256734"/>
                <a:gd name="connsiteY21" fmla="*/ 6198 h 356304"/>
                <a:gd name="connsiteX22" fmla="*/ 635912 w 1256734"/>
                <a:gd name="connsiteY22" fmla="*/ 6198 h 356304"/>
                <a:gd name="connsiteX23" fmla="*/ 635912 w 1256734"/>
                <a:gd name="connsiteY23" fmla="*/ 350105 h 356304"/>
                <a:gd name="connsiteX24" fmla="*/ 679216 w 1256734"/>
                <a:gd name="connsiteY24" fmla="*/ 350105 h 356304"/>
                <a:gd name="connsiteX25" fmla="*/ 679216 w 1256734"/>
                <a:gd name="connsiteY25" fmla="*/ 197999 h 356304"/>
                <a:gd name="connsiteX26" fmla="*/ 392018 w 1256734"/>
                <a:gd name="connsiteY26" fmla="*/ 40230 h 356304"/>
                <a:gd name="connsiteX27" fmla="*/ 476563 w 1256734"/>
                <a:gd name="connsiteY27" fmla="*/ 75813 h 356304"/>
                <a:gd name="connsiteX28" fmla="*/ 515792 w 1256734"/>
                <a:gd name="connsiteY28" fmla="*/ 181011 h 356304"/>
                <a:gd name="connsiteX29" fmla="*/ 482758 w 1256734"/>
                <a:gd name="connsiteY29" fmla="*/ 275365 h 356304"/>
                <a:gd name="connsiteX30" fmla="*/ 390960 w 1256734"/>
                <a:gd name="connsiteY30" fmla="*/ 316610 h 356304"/>
                <a:gd name="connsiteX31" fmla="*/ 267239 w 1256734"/>
                <a:gd name="connsiteY31" fmla="*/ 178448 h 356304"/>
                <a:gd name="connsiteX32" fmla="*/ 392018 w 1256734"/>
                <a:gd name="connsiteY32" fmla="*/ 40230 h 356304"/>
                <a:gd name="connsiteX33" fmla="*/ 393077 w 1256734"/>
                <a:gd name="connsiteY33" fmla="*/ 0 h 356304"/>
                <a:gd name="connsiteX34" fmla="*/ 222876 w 1256734"/>
                <a:gd name="connsiteY34" fmla="*/ 179994 h 356304"/>
                <a:gd name="connsiteX35" fmla="*/ 258982 w 1256734"/>
                <a:gd name="connsiteY35" fmla="*/ 291872 h 356304"/>
                <a:gd name="connsiteX36" fmla="*/ 392018 w 1256734"/>
                <a:gd name="connsiteY36" fmla="*/ 356305 h 356304"/>
                <a:gd name="connsiteX37" fmla="*/ 501868 w 1256734"/>
                <a:gd name="connsiteY37" fmla="*/ 315059 h 356304"/>
                <a:gd name="connsiteX38" fmla="*/ 560155 w 1256734"/>
                <a:gd name="connsiteY38" fmla="*/ 181545 h 356304"/>
                <a:gd name="connsiteX39" fmla="*/ 519921 w 1256734"/>
                <a:gd name="connsiteY39" fmla="*/ 59304 h 356304"/>
                <a:gd name="connsiteX40" fmla="*/ 393077 w 1256734"/>
                <a:gd name="connsiteY40" fmla="*/ 0 h 356304"/>
                <a:gd name="connsiteX41" fmla="*/ 43306 w 1256734"/>
                <a:gd name="connsiteY41" fmla="*/ 310946 h 356304"/>
                <a:gd name="connsiteX42" fmla="*/ 43306 w 1256734"/>
                <a:gd name="connsiteY42" fmla="*/ 6198 h 356304"/>
                <a:gd name="connsiteX43" fmla="*/ 0 w 1256734"/>
                <a:gd name="connsiteY43" fmla="*/ 6198 h 356304"/>
                <a:gd name="connsiteX44" fmla="*/ 0 w 1256734"/>
                <a:gd name="connsiteY44" fmla="*/ 350105 h 356304"/>
                <a:gd name="connsiteX45" fmla="*/ 194237 w 1256734"/>
                <a:gd name="connsiteY45" fmla="*/ 350105 h 356304"/>
                <a:gd name="connsiteX46" fmla="*/ 194237 w 1256734"/>
                <a:gd name="connsiteY46" fmla="*/ 310946 h 356304"/>
                <a:gd name="connsiteX47" fmla="*/ 43306 w 1256734"/>
                <a:gd name="connsiteY47" fmla="*/ 310946 h 35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256734" h="356304">
                  <a:moveTo>
                    <a:pt x="1226823" y="269166"/>
                  </a:moveTo>
                  <a:cubicBezTo>
                    <a:pt x="1200037" y="301650"/>
                    <a:pt x="1171131" y="316610"/>
                    <a:pt x="1133491" y="316610"/>
                  </a:cubicBezTo>
                  <a:cubicBezTo>
                    <a:pt x="1062341" y="316610"/>
                    <a:pt x="1010248" y="258371"/>
                    <a:pt x="1010248" y="178448"/>
                  </a:cubicBezTo>
                  <a:cubicBezTo>
                    <a:pt x="1010248" y="97985"/>
                    <a:pt x="1061334" y="39696"/>
                    <a:pt x="1131426" y="39696"/>
                  </a:cubicBezTo>
                  <a:cubicBezTo>
                    <a:pt x="1168008" y="39696"/>
                    <a:pt x="1193313" y="52092"/>
                    <a:pt x="1226823" y="86659"/>
                  </a:cubicBezTo>
                  <a:lnTo>
                    <a:pt x="1256735" y="58823"/>
                  </a:lnTo>
                  <a:cubicBezTo>
                    <a:pt x="1239742" y="40230"/>
                    <a:pt x="1230424" y="32003"/>
                    <a:pt x="1216553" y="23241"/>
                  </a:cubicBezTo>
                  <a:cubicBezTo>
                    <a:pt x="1191725" y="8281"/>
                    <a:pt x="1161338" y="0"/>
                    <a:pt x="1130420" y="0"/>
                  </a:cubicBezTo>
                  <a:cubicBezTo>
                    <a:pt x="1035500" y="0"/>
                    <a:pt x="965885" y="75279"/>
                    <a:pt x="965885" y="178448"/>
                  </a:cubicBezTo>
                  <a:cubicBezTo>
                    <a:pt x="965885" y="226369"/>
                    <a:pt x="982931" y="273279"/>
                    <a:pt x="1011783" y="305763"/>
                  </a:cubicBezTo>
                  <a:cubicBezTo>
                    <a:pt x="1041165" y="338782"/>
                    <a:pt x="1081928" y="356305"/>
                    <a:pt x="1129892" y="356305"/>
                  </a:cubicBezTo>
                  <a:cubicBezTo>
                    <a:pt x="1182990" y="356305"/>
                    <a:pt x="1221107" y="338782"/>
                    <a:pt x="1255676" y="298071"/>
                  </a:cubicBezTo>
                  <a:lnTo>
                    <a:pt x="1226823" y="269166"/>
                  </a:lnTo>
                  <a:close/>
                  <a:moveTo>
                    <a:pt x="679216" y="197999"/>
                  </a:moveTo>
                  <a:lnTo>
                    <a:pt x="846824" y="197999"/>
                  </a:lnTo>
                  <a:lnTo>
                    <a:pt x="846824" y="350105"/>
                  </a:lnTo>
                  <a:lnTo>
                    <a:pt x="890075" y="350105"/>
                  </a:lnTo>
                  <a:lnTo>
                    <a:pt x="890075" y="6198"/>
                  </a:lnTo>
                  <a:lnTo>
                    <a:pt x="846824" y="6198"/>
                  </a:lnTo>
                  <a:lnTo>
                    <a:pt x="846824" y="160920"/>
                  </a:lnTo>
                  <a:lnTo>
                    <a:pt x="679216" y="160920"/>
                  </a:lnTo>
                  <a:lnTo>
                    <a:pt x="679216" y="6198"/>
                  </a:lnTo>
                  <a:lnTo>
                    <a:pt x="635912" y="6198"/>
                  </a:lnTo>
                  <a:lnTo>
                    <a:pt x="635912" y="350105"/>
                  </a:lnTo>
                  <a:lnTo>
                    <a:pt x="679216" y="350105"/>
                  </a:lnTo>
                  <a:lnTo>
                    <a:pt x="679216" y="197999"/>
                  </a:lnTo>
                  <a:close/>
                  <a:moveTo>
                    <a:pt x="392018" y="40230"/>
                  </a:moveTo>
                  <a:cubicBezTo>
                    <a:pt x="422459" y="40230"/>
                    <a:pt x="453904" y="53641"/>
                    <a:pt x="476563" y="75813"/>
                  </a:cubicBezTo>
                  <a:cubicBezTo>
                    <a:pt x="503404" y="101618"/>
                    <a:pt x="515792" y="135117"/>
                    <a:pt x="515792" y="181011"/>
                  </a:cubicBezTo>
                  <a:cubicBezTo>
                    <a:pt x="515792" y="216057"/>
                    <a:pt x="502874" y="253189"/>
                    <a:pt x="482758" y="275365"/>
                  </a:cubicBezTo>
                  <a:cubicBezTo>
                    <a:pt x="459569" y="301650"/>
                    <a:pt x="425530" y="316610"/>
                    <a:pt x="390960" y="316610"/>
                  </a:cubicBezTo>
                  <a:cubicBezTo>
                    <a:pt x="319809" y="316610"/>
                    <a:pt x="267239" y="258371"/>
                    <a:pt x="267239" y="178448"/>
                  </a:cubicBezTo>
                  <a:cubicBezTo>
                    <a:pt x="267239" y="99000"/>
                    <a:pt x="320338" y="40230"/>
                    <a:pt x="392018" y="40230"/>
                  </a:cubicBezTo>
                  <a:moveTo>
                    <a:pt x="393077" y="0"/>
                  </a:moveTo>
                  <a:cubicBezTo>
                    <a:pt x="295615" y="0"/>
                    <a:pt x="222876" y="77362"/>
                    <a:pt x="222876" y="179994"/>
                  </a:cubicBezTo>
                  <a:cubicBezTo>
                    <a:pt x="222876" y="223273"/>
                    <a:pt x="235318" y="261956"/>
                    <a:pt x="258982" y="291872"/>
                  </a:cubicBezTo>
                  <a:cubicBezTo>
                    <a:pt x="290957" y="332101"/>
                    <a:pt x="340985" y="356305"/>
                    <a:pt x="392018" y="356305"/>
                  </a:cubicBezTo>
                  <a:cubicBezTo>
                    <a:pt x="431723" y="356305"/>
                    <a:pt x="470899" y="341879"/>
                    <a:pt x="501868" y="315059"/>
                  </a:cubicBezTo>
                  <a:cubicBezTo>
                    <a:pt x="539509" y="283110"/>
                    <a:pt x="560155" y="235131"/>
                    <a:pt x="560155" y="181545"/>
                  </a:cubicBezTo>
                  <a:cubicBezTo>
                    <a:pt x="560155" y="129935"/>
                    <a:pt x="547715" y="91788"/>
                    <a:pt x="519921" y="59304"/>
                  </a:cubicBezTo>
                  <a:cubicBezTo>
                    <a:pt x="486886" y="21691"/>
                    <a:pt x="440988" y="0"/>
                    <a:pt x="393077" y="0"/>
                  </a:cubicBezTo>
                  <a:moveTo>
                    <a:pt x="43306" y="310946"/>
                  </a:moveTo>
                  <a:lnTo>
                    <a:pt x="43306" y="6198"/>
                  </a:lnTo>
                  <a:lnTo>
                    <a:pt x="0" y="6198"/>
                  </a:lnTo>
                  <a:lnTo>
                    <a:pt x="0" y="350105"/>
                  </a:lnTo>
                  <a:lnTo>
                    <a:pt x="194237" y="350105"/>
                  </a:lnTo>
                  <a:lnTo>
                    <a:pt x="194237" y="310946"/>
                  </a:lnTo>
                  <a:lnTo>
                    <a:pt x="43306" y="310946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B77DA9CA-81E3-9C95-68A3-BFADB2CD7E3C}"/>
                </a:ext>
              </a:extLst>
            </p:cNvPr>
            <p:cNvSpPr/>
            <p:nvPr/>
          </p:nvSpPr>
          <p:spPr>
            <a:xfrm>
              <a:off x="-161925" y="-1630732"/>
              <a:ext cx="10575647" cy="1701544"/>
            </a:xfrm>
            <a:custGeom>
              <a:avLst/>
              <a:gdLst>
                <a:gd name="connsiteX0" fmla="*/ 7802033 w 10575647"/>
                <a:gd name="connsiteY0" fmla="*/ 380187 h 1701544"/>
                <a:gd name="connsiteX1" fmla="*/ 7621138 w 10575647"/>
                <a:gd name="connsiteY1" fmla="*/ 380187 h 1701544"/>
                <a:gd name="connsiteX2" fmla="*/ 7621138 w 10575647"/>
                <a:gd name="connsiteY2" fmla="*/ 1271563 h 1701544"/>
                <a:gd name="connsiteX3" fmla="*/ 7802033 w 10575647"/>
                <a:gd name="connsiteY3" fmla="*/ 1271563 h 1701544"/>
                <a:gd name="connsiteX4" fmla="*/ 7802033 w 10575647"/>
                <a:gd name="connsiteY4" fmla="*/ 380187 h 1701544"/>
                <a:gd name="connsiteX5" fmla="*/ 706522 w 10575647"/>
                <a:gd name="connsiteY5" fmla="*/ 1271563 h 1701544"/>
                <a:gd name="connsiteX6" fmla="*/ 902065 w 10575647"/>
                <a:gd name="connsiteY6" fmla="*/ 1271563 h 1701544"/>
                <a:gd name="connsiteX7" fmla="*/ 902065 w 10575647"/>
                <a:gd name="connsiteY7" fmla="*/ 0 h 1701544"/>
                <a:gd name="connsiteX8" fmla="*/ 706522 w 10575647"/>
                <a:gd name="connsiteY8" fmla="*/ 0 h 1701544"/>
                <a:gd name="connsiteX9" fmla="*/ 706522 w 10575647"/>
                <a:gd name="connsiteY9" fmla="*/ 553717 h 1701544"/>
                <a:gd name="connsiteX10" fmla="*/ 195543 w 10575647"/>
                <a:gd name="connsiteY10" fmla="*/ 553717 h 1701544"/>
                <a:gd name="connsiteX11" fmla="*/ 195543 w 10575647"/>
                <a:gd name="connsiteY11" fmla="*/ 0 h 1701544"/>
                <a:gd name="connsiteX12" fmla="*/ 0 w 10575647"/>
                <a:gd name="connsiteY12" fmla="*/ 0 h 1701544"/>
                <a:gd name="connsiteX13" fmla="*/ 0 w 10575647"/>
                <a:gd name="connsiteY13" fmla="*/ 1271563 h 1701544"/>
                <a:gd name="connsiteX14" fmla="*/ 195543 w 10575647"/>
                <a:gd name="connsiteY14" fmla="*/ 1271563 h 1701544"/>
                <a:gd name="connsiteX15" fmla="*/ 195543 w 10575647"/>
                <a:gd name="connsiteY15" fmla="*/ 727142 h 1701544"/>
                <a:gd name="connsiteX16" fmla="*/ 706522 w 10575647"/>
                <a:gd name="connsiteY16" fmla="*/ 727142 h 1701544"/>
                <a:gd name="connsiteX17" fmla="*/ 706522 w 10575647"/>
                <a:gd name="connsiteY17" fmla="*/ 1271563 h 1701544"/>
                <a:gd name="connsiteX18" fmla="*/ 1306185 w 10575647"/>
                <a:gd name="connsiteY18" fmla="*/ 1690649 h 1701544"/>
                <a:gd name="connsiteX19" fmla="*/ 1654904 w 10575647"/>
                <a:gd name="connsiteY19" fmla="*/ 1036061 h 1701544"/>
                <a:gd name="connsiteX20" fmla="*/ 1306185 w 10575647"/>
                <a:gd name="connsiteY20" fmla="*/ 381469 h 1701544"/>
                <a:gd name="connsiteX21" fmla="*/ 1090234 w 10575647"/>
                <a:gd name="connsiteY21" fmla="*/ 381469 h 1701544"/>
                <a:gd name="connsiteX22" fmla="*/ 1438900 w 10575647"/>
                <a:gd name="connsiteY22" fmla="*/ 1036061 h 1701544"/>
                <a:gd name="connsiteX23" fmla="*/ 1090234 w 10575647"/>
                <a:gd name="connsiteY23" fmla="*/ 1690649 h 1701544"/>
                <a:gd name="connsiteX24" fmla="*/ 1306185 w 10575647"/>
                <a:gd name="connsiteY24" fmla="*/ 1690649 h 1701544"/>
                <a:gd name="connsiteX25" fmla="*/ 2581808 w 10575647"/>
                <a:gd name="connsiteY25" fmla="*/ 828654 h 1701544"/>
                <a:gd name="connsiteX26" fmla="*/ 2317883 w 10575647"/>
                <a:gd name="connsiteY26" fmla="*/ 1129505 h 1701544"/>
                <a:gd name="connsiteX27" fmla="*/ 2065011 w 10575647"/>
                <a:gd name="connsiteY27" fmla="*/ 832338 h 1701544"/>
                <a:gd name="connsiteX28" fmla="*/ 2327068 w 10575647"/>
                <a:gd name="connsiteY28" fmla="*/ 525990 h 1701544"/>
                <a:gd name="connsiteX29" fmla="*/ 2581808 w 10575647"/>
                <a:gd name="connsiteY29" fmla="*/ 828654 h 1701544"/>
                <a:gd name="connsiteX30" fmla="*/ 2581808 w 10575647"/>
                <a:gd name="connsiteY30" fmla="*/ 1271563 h 1701544"/>
                <a:gd name="connsiteX31" fmla="*/ 2762608 w 10575647"/>
                <a:gd name="connsiteY31" fmla="*/ 1271563 h 1701544"/>
                <a:gd name="connsiteX32" fmla="*/ 2762608 w 10575647"/>
                <a:gd name="connsiteY32" fmla="*/ 0 h 1701544"/>
                <a:gd name="connsiteX33" fmla="*/ 2581808 w 10575647"/>
                <a:gd name="connsiteY33" fmla="*/ 0 h 1701544"/>
                <a:gd name="connsiteX34" fmla="*/ 2581808 w 10575647"/>
                <a:gd name="connsiteY34" fmla="*/ 476356 h 1701544"/>
                <a:gd name="connsiteX35" fmla="*/ 2297581 w 10575647"/>
                <a:gd name="connsiteY35" fmla="*/ 359885 h 1701544"/>
                <a:gd name="connsiteX36" fmla="*/ 1876785 w 10575647"/>
                <a:gd name="connsiteY36" fmla="*/ 830470 h 1701544"/>
                <a:gd name="connsiteX37" fmla="*/ 2297581 w 10575647"/>
                <a:gd name="connsiteY37" fmla="*/ 1291865 h 1701544"/>
                <a:gd name="connsiteX38" fmla="*/ 2581808 w 10575647"/>
                <a:gd name="connsiteY38" fmla="*/ 1163217 h 1701544"/>
                <a:gd name="connsiteX39" fmla="*/ 2581808 w 10575647"/>
                <a:gd name="connsiteY39" fmla="*/ 1271563 h 1701544"/>
                <a:gd name="connsiteX40" fmla="*/ 3437445 w 10575647"/>
                <a:gd name="connsiteY40" fmla="*/ 542393 h 1701544"/>
                <a:gd name="connsiteX41" fmla="*/ 3460310 w 10575647"/>
                <a:gd name="connsiteY41" fmla="*/ 545331 h 1701544"/>
                <a:gd name="connsiteX42" fmla="*/ 3460310 w 10575647"/>
                <a:gd name="connsiteY42" fmla="*/ 359885 h 1701544"/>
                <a:gd name="connsiteX43" fmla="*/ 3406830 w 10575647"/>
                <a:gd name="connsiteY43" fmla="*/ 359885 h 1701544"/>
                <a:gd name="connsiteX44" fmla="*/ 3231965 w 10575647"/>
                <a:gd name="connsiteY44" fmla="*/ 415877 h 1701544"/>
                <a:gd name="connsiteX45" fmla="*/ 3187194 w 10575647"/>
                <a:gd name="connsiteY45" fmla="*/ 462091 h 1701544"/>
                <a:gd name="connsiteX46" fmla="*/ 3187194 w 10575647"/>
                <a:gd name="connsiteY46" fmla="*/ 380187 h 1701544"/>
                <a:gd name="connsiteX47" fmla="*/ 3006395 w 10575647"/>
                <a:gd name="connsiteY47" fmla="*/ 380187 h 1701544"/>
                <a:gd name="connsiteX48" fmla="*/ 3006395 w 10575647"/>
                <a:gd name="connsiteY48" fmla="*/ 1271563 h 1701544"/>
                <a:gd name="connsiteX49" fmla="*/ 3187194 w 10575647"/>
                <a:gd name="connsiteY49" fmla="*/ 1271563 h 1701544"/>
                <a:gd name="connsiteX50" fmla="*/ 3187194 w 10575647"/>
                <a:gd name="connsiteY50" fmla="*/ 819411 h 1701544"/>
                <a:gd name="connsiteX51" fmla="*/ 3233517 w 10575647"/>
                <a:gd name="connsiteY51" fmla="*/ 629638 h 1701544"/>
                <a:gd name="connsiteX52" fmla="*/ 3401277 w 10575647"/>
                <a:gd name="connsiteY52" fmla="*/ 540683 h 1701544"/>
                <a:gd name="connsiteX53" fmla="*/ 3437445 w 10575647"/>
                <a:gd name="connsiteY53" fmla="*/ 542393 h 1701544"/>
                <a:gd name="connsiteX54" fmla="*/ 4250980 w 10575647"/>
                <a:gd name="connsiteY54" fmla="*/ 826838 h 1701544"/>
                <a:gd name="connsiteX55" fmla="*/ 3983364 w 10575647"/>
                <a:gd name="connsiteY55" fmla="*/ 1122077 h 1701544"/>
                <a:gd name="connsiteX56" fmla="*/ 3713875 w 10575647"/>
                <a:gd name="connsiteY56" fmla="*/ 826838 h 1701544"/>
                <a:gd name="connsiteX57" fmla="*/ 3985180 w 10575647"/>
                <a:gd name="connsiteY57" fmla="*/ 529677 h 1701544"/>
                <a:gd name="connsiteX58" fmla="*/ 4250980 w 10575647"/>
                <a:gd name="connsiteY58" fmla="*/ 826838 h 1701544"/>
                <a:gd name="connsiteX59" fmla="*/ 4435464 w 10575647"/>
                <a:gd name="connsiteY59" fmla="*/ 828654 h 1701544"/>
                <a:gd name="connsiteX60" fmla="*/ 3985180 w 10575647"/>
                <a:gd name="connsiteY60" fmla="*/ 359885 h 1701544"/>
                <a:gd name="connsiteX61" fmla="*/ 3529338 w 10575647"/>
                <a:gd name="connsiteY61" fmla="*/ 824916 h 1701544"/>
                <a:gd name="connsiteX62" fmla="*/ 3979622 w 10575647"/>
                <a:gd name="connsiteY62" fmla="*/ 1291865 h 1701544"/>
                <a:gd name="connsiteX63" fmla="*/ 4435464 w 10575647"/>
                <a:gd name="connsiteY63" fmla="*/ 828654 h 1701544"/>
                <a:gd name="connsiteX64" fmla="*/ 5261608 w 10575647"/>
                <a:gd name="connsiteY64" fmla="*/ 828654 h 1701544"/>
                <a:gd name="connsiteX65" fmla="*/ 5205508 w 10575647"/>
                <a:gd name="connsiteY65" fmla="*/ 1025854 h 1701544"/>
                <a:gd name="connsiteX66" fmla="*/ 5005052 w 10575647"/>
                <a:gd name="connsiteY66" fmla="*/ 1122077 h 1701544"/>
                <a:gd name="connsiteX67" fmla="*/ 4746675 w 10575647"/>
                <a:gd name="connsiteY67" fmla="*/ 823153 h 1701544"/>
                <a:gd name="connsiteX68" fmla="*/ 5008683 w 10575647"/>
                <a:gd name="connsiteY68" fmla="*/ 529677 h 1701544"/>
                <a:gd name="connsiteX69" fmla="*/ 5200378 w 10575647"/>
                <a:gd name="connsiteY69" fmla="*/ 617081 h 1701544"/>
                <a:gd name="connsiteX70" fmla="*/ 5261608 w 10575647"/>
                <a:gd name="connsiteY70" fmla="*/ 828654 h 1701544"/>
                <a:gd name="connsiteX71" fmla="*/ 5327264 w 10575647"/>
                <a:gd name="connsiteY71" fmla="*/ 1583314 h 1701544"/>
                <a:gd name="connsiteX72" fmla="*/ 5446113 w 10575647"/>
                <a:gd name="connsiteY72" fmla="*/ 1256819 h 1701544"/>
                <a:gd name="connsiteX73" fmla="*/ 5446113 w 10575647"/>
                <a:gd name="connsiteY73" fmla="*/ 380187 h 1701544"/>
                <a:gd name="connsiteX74" fmla="*/ 5265239 w 10575647"/>
                <a:gd name="connsiteY74" fmla="*/ 380187 h 1701544"/>
                <a:gd name="connsiteX75" fmla="*/ 5265239 w 10575647"/>
                <a:gd name="connsiteY75" fmla="*/ 488537 h 1701544"/>
                <a:gd name="connsiteX76" fmla="*/ 4982875 w 10575647"/>
                <a:gd name="connsiteY76" fmla="*/ 359885 h 1701544"/>
                <a:gd name="connsiteX77" fmla="*/ 4699394 w 10575647"/>
                <a:gd name="connsiteY77" fmla="*/ 465190 h 1701544"/>
                <a:gd name="connsiteX78" fmla="*/ 4558400 w 10575647"/>
                <a:gd name="connsiteY78" fmla="*/ 828654 h 1701544"/>
                <a:gd name="connsiteX79" fmla="*/ 4971816 w 10575647"/>
                <a:gd name="connsiteY79" fmla="*/ 1291865 h 1701544"/>
                <a:gd name="connsiteX80" fmla="*/ 5265239 w 10575647"/>
                <a:gd name="connsiteY80" fmla="*/ 1150553 h 1701544"/>
                <a:gd name="connsiteX81" fmla="*/ 5265239 w 10575647"/>
                <a:gd name="connsiteY81" fmla="*/ 1267931 h 1701544"/>
                <a:gd name="connsiteX82" fmla="*/ 5206095 w 10575647"/>
                <a:gd name="connsiteY82" fmla="*/ 1457116 h 1701544"/>
                <a:gd name="connsiteX83" fmla="*/ 4999546 w 10575647"/>
                <a:gd name="connsiteY83" fmla="*/ 1533625 h 1701544"/>
                <a:gd name="connsiteX84" fmla="*/ 4811695 w 10575647"/>
                <a:gd name="connsiteY84" fmla="*/ 1487409 h 1701544"/>
                <a:gd name="connsiteX85" fmla="*/ 4733588 w 10575647"/>
                <a:gd name="connsiteY85" fmla="*/ 1416300 h 1701544"/>
                <a:gd name="connsiteX86" fmla="*/ 4719215 w 10575647"/>
                <a:gd name="connsiteY86" fmla="*/ 1401339 h 1701544"/>
                <a:gd name="connsiteX87" fmla="*/ 4595103 w 10575647"/>
                <a:gd name="connsiteY87" fmla="*/ 1525451 h 1701544"/>
                <a:gd name="connsiteX88" fmla="*/ 4607819 w 10575647"/>
                <a:gd name="connsiteY88" fmla="*/ 1539824 h 1701544"/>
                <a:gd name="connsiteX89" fmla="*/ 4999546 w 10575647"/>
                <a:gd name="connsiteY89" fmla="*/ 1701544 h 1701544"/>
                <a:gd name="connsiteX90" fmla="*/ 5327264 w 10575647"/>
                <a:gd name="connsiteY90" fmla="*/ 1583314 h 1701544"/>
                <a:gd name="connsiteX91" fmla="*/ 6317923 w 10575647"/>
                <a:gd name="connsiteY91" fmla="*/ 747497 h 1701544"/>
                <a:gd name="connsiteX92" fmla="*/ 5805203 w 10575647"/>
                <a:gd name="connsiteY92" fmla="*/ 747497 h 1701544"/>
                <a:gd name="connsiteX93" fmla="*/ 5845913 w 10575647"/>
                <a:gd name="connsiteY93" fmla="*/ 635144 h 1701544"/>
                <a:gd name="connsiteX94" fmla="*/ 6057989 w 10575647"/>
                <a:gd name="connsiteY94" fmla="*/ 525990 h 1701544"/>
                <a:gd name="connsiteX95" fmla="*/ 6275730 w 10575647"/>
                <a:gd name="connsiteY95" fmla="*/ 633487 h 1701544"/>
                <a:gd name="connsiteX96" fmla="*/ 6317923 w 10575647"/>
                <a:gd name="connsiteY96" fmla="*/ 747497 h 1701544"/>
                <a:gd name="connsiteX97" fmla="*/ 6508188 w 10575647"/>
                <a:gd name="connsiteY97" fmla="*/ 872890 h 1701544"/>
                <a:gd name="connsiteX98" fmla="*/ 6510094 w 10575647"/>
                <a:gd name="connsiteY98" fmla="*/ 815779 h 1701544"/>
                <a:gd name="connsiteX99" fmla="*/ 6057989 w 10575647"/>
                <a:gd name="connsiteY99" fmla="*/ 359885 h 1701544"/>
                <a:gd name="connsiteX100" fmla="*/ 5609538 w 10575647"/>
                <a:gd name="connsiteY100" fmla="*/ 828654 h 1701544"/>
                <a:gd name="connsiteX101" fmla="*/ 6063495 w 10575647"/>
                <a:gd name="connsiteY101" fmla="*/ 1291865 h 1701544"/>
                <a:gd name="connsiteX102" fmla="*/ 6460066 w 10575647"/>
                <a:gd name="connsiteY102" fmla="*/ 1051710 h 1701544"/>
                <a:gd name="connsiteX103" fmla="*/ 6469966 w 10575647"/>
                <a:gd name="connsiteY103" fmla="*/ 1031572 h 1701544"/>
                <a:gd name="connsiteX104" fmla="*/ 6308923 w 10575647"/>
                <a:gd name="connsiteY104" fmla="*/ 971517 h 1701544"/>
                <a:gd name="connsiteX105" fmla="*/ 6300559 w 10575647"/>
                <a:gd name="connsiteY105" fmla="*/ 986689 h 1701544"/>
                <a:gd name="connsiteX106" fmla="*/ 6063495 w 10575647"/>
                <a:gd name="connsiteY106" fmla="*/ 1122077 h 1701544"/>
                <a:gd name="connsiteX107" fmla="*/ 5850784 w 10575647"/>
                <a:gd name="connsiteY107" fmla="*/ 1013832 h 1701544"/>
                <a:gd name="connsiteX108" fmla="*/ 5802132 w 10575647"/>
                <a:gd name="connsiteY108" fmla="*/ 891377 h 1701544"/>
                <a:gd name="connsiteX109" fmla="*/ 6506547 w 10575647"/>
                <a:gd name="connsiteY109" fmla="*/ 891377 h 1701544"/>
                <a:gd name="connsiteX110" fmla="*/ 6508188 w 10575647"/>
                <a:gd name="connsiteY110" fmla="*/ 872890 h 1701544"/>
                <a:gd name="connsiteX111" fmla="*/ 7205139 w 10575647"/>
                <a:gd name="connsiteY111" fmla="*/ 1271563 h 1701544"/>
                <a:gd name="connsiteX112" fmla="*/ 7385928 w 10575647"/>
                <a:gd name="connsiteY112" fmla="*/ 1271563 h 1701544"/>
                <a:gd name="connsiteX113" fmla="*/ 7385928 w 10575647"/>
                <a:gd name="connsiteY113" fmla="*/ 677294 h 1701544"/>
                <a:gd name="connsiteX114" fmla="*/ 7307154 w 10575647"/>
                <a:gd name="connsiteY114" fmla="*/ 435163 h 1701544"/>
                <a:gd name="connsiteX115" fmla="*/ 7096189 w 10575647"/>
                <a:gd name="connsiteY115" fmla="*/ 359885 h 1701544"/>
                <a:gd name="connsiteX116" fmla="*/ 6863625 w 10575647"/>
                <a:gd name="connsiteY116" fmla="*/ 463694 h 1701544"/>
                <a:gd name="connsiteX117" fmla="*/ 6863625 w 10575647"/>
                <a:gd name="connsiteY117" fmla="*/ 380187 h 1701544"/>
                <a:gd name="connsiteX118" fmla="*/ 6682836 w 10575647"/>
                <a:gd name="connsiteY118" fmla="*/ 380187 h 1701544"/>
                <a:gd name="connsiteX119" fmla="*/ 6682836 w 10575647"/>
                <a:gd name="connsiteY119" fmla="*/ 1271563 h 1701544"/>
                <a:gd name="connsiteX120" fmla="*/ 6863625 w 10575647"/>
                <a:gd name="connsiteY120" fmla="*/ 1271563 h 1701544"/>
                <a:gd name="connsiteX121" fmla="*/ 6863625 w 10575647"/>
                <a:gd name="connsiteY121" fmla="*/ 732701 h 1701544"/>
                <a:gd name="connsiteX122" fmla="*/ 6913971 w 10575647"/>
                <a:gd name="connsiteY122" fmla="*/ 591066 h 1701544"/>
                <a:gd name="connsiteX123" fmla="*/ 7061143 w 10575647"/>
                <a:gd name="connsiteY123" fmla="*/ 525990 h 1701544"/>
                <a:gd name="connsiteX124" fmla="*/ 7177769 w 10575647"/>
                <a:gd name="connsiteY124" fmla="*/ 575089 h 1701544"/>
                <a:gd name="connsiteX125" fmla="*/ 7205139 w 10575647"/>
                <a:gd name="connsiteY125" fmla="*/ 708709 h 1701544"/>
                <a:gd name="connsiteX126" fmla="*/ 7205139 w 10575647"/>
                <a:gd name="connsiteY126" fmla="*/ 1271563 h 1701544"/>
                <a:gd name="connsiteX127" fmla="*/ 7822309 w 10575647"/>
                <a:gd name="connsiteY127" fmla="*/ 162418 h 1701544"/>
                <a:gd name="connsiteX128" fmla="*/ 7713412 w 10575647"/>
                <a:gd name="connsiteY128" fmla="*/ 49847 h 1701544"/>
                <a:gd name="connsiteX129" fmla="*/ 7602662 w 10575647"/>
                <a:gd name="connsiteY129" fmla="*/ 160549 h 1701544"/>
                <a:gd name="connsiteX130" fmla="*/ 7711560 w 10575647"/>
                <a:gd name="connsiteY130" fmla="*/ 271303 h 1701544"/>
                <a:gd name="connsiteX131" fmla="*/ 7822309 w 10575647"/>
                <a:gd name="connsiteY131" fmla="*/ 162418 h 1701544"/>
                <a:gd name="connsiteX132" fmla="*/ 8704760 w 10575647"/>
                <a:gd name="connsiteY132" fmla="*/ 826838 h 1701544"/>
                <a:gd name="connsiteX133" fmla="*/ 8437150 w 10575647"/>
                <a:gd name="connsiteY133" fmla="*/ 1122077 h 1701544"/>
                <a:gd name="connsiteX134" fmla="*/ 8167740 w 10575647"/>
                <a:gd name="connsiteY134" fmla="*/ 826838 h 1701544"/>
                <a:gd name="connsiteX135" fmla="*/ 8439003 w 10575647"/>
                <a:gd name="connsiteY135" fmla="*/ 529677 h 1701544"/>
                <a:gd name="connsiteX136" fmla="*/ 8704760 w 10575647"/>
                <a:gd name="connsiteY136" fmla="*/ 826838 h 1701544"/>
                <a:gd name="connsiteX137" fmla="*/ 8889307 w 10575647"/>
                <a:gd name="connsiteY137" fmla="*/ 828654 h 1701544"/>
                <a:gd name="connsiteX138" fmla="*/ 8439003 w 10575647"/>
                <a:gd name="connsiteY138" fmla="*/ 359885 h 1701544"/>
                <a:gd name="connsiteX139" fmla="*/ 7983193 w 10575647"/>
                <a:gd name="connsiteY139" fmla="*/ 824916 h 1701544"/>
                <a:gd name="connsiteX140" fmla="*/ 8433444 w 10575647"/>
                <a:gd name="connsiteY140" fmla="*/ 1291865 h 1701544"/>
                <a:gd name="connsiteX141" fmla="*/ 8889307 w 10575647"/>
                <a:gd name="connsiteY141" fmla="*/ 828654 h 1701544"/>
                <a:gd name="connsiteX142" fmla="*/ 9658150 w 10575647"/>
                <a:gd name="connsiteY142" fmla="*/ 1197940 h 1701544"/>
                <a:gd name="connsiteX143" fmla="*/ 9749630 w 10575647"/>
                <a:gd name="connsiteY143" fmla="*/ 944968 h 1701544"/>
                <a:gd name="connsiteX144" fmla="*/ 9749630 w 10575647"/>
                <a:gd name="connsiteY144" fmla="*/ 380187 h 1701544"/>
                <a:gd name="connsiteX145" fmla="*/ 9566988 w 10575647"/>
                <a:gd name="connsiteY145" fmla="*/ 380187 h 1701544"/>
                <a:gd name="connsiteX146" fmla="*/ 9566988 w 10575647"/>
                <a:gd name="connsiteY146" fmla="*/ 944968 h 1701544"/>
                <a:gd name="connsiteX147" fmla="*/ 9535012 w 10575647"/>
                <a:gd name="connsiteY147" fmla="*/ 1068222 h 1701544"/>
                <a:gd name="connsiteX148" fmla="*/ 9399010 w 10575647"/>
                <a:gd name="connsiteY148" fmla="*/ 1125815 h 1701544"/>
                <a:gd name="connsiteX149" fmla="*/ 9229233 w 10575647"/>
                <a:gd name="connsiteY149" fmla="*/ 941225 h 1701544"/>
                <a:gd name="connsiteX150" fmla="*/ 9229233 w 10575647"/>
                <a:gd name="connsiteY150" fmla="*/ 380187 h 1701544"/>
                <a:gd name="connsiteX151" fmla="*/ 9048391 w 10575647"/>
                <a:gd name="connsiteY151" fmla="*/ 380187 h 1701544"/>
                <a:gd name="connsiteX152" fmla="*/ 9048391 w 10575647"/>
                <a:gd name="connsiteY152" fmla="*/ 944968 h 1701544"/>
                <a:gd name="connsiteX153" fmla="*/ 9139659 w 10575647"/>
                <a:gd name="connsiteY153" fmla="*/ 1195965 h 1701544"/>
                <a:gd name="connsiteX154" fmla="*/ 9399010 w 10575647"/>
                <a:gd name="connsiteY154" fmla="*/ 1291865 h 1701544"/>
                <a:gd name="connsiteX155" fmla="*/ 9658150 w 10575647"/>
                <a:gd name="connsiteY155" fmla="*/ 1197945 h 1701544"/>
                <a:gd name="connsiteX156" fmla="*/ 10385594 w 10575647"/>
                <a:gd name="connsiteY156" fmla="*/ 653307 h 1701544"/>
                <a:gd name="connsiteX157" fmla="*/ 10567335 w 10575647"/>
                <a:gd name="connsiteY157" fmla="*/ 653307 h 1701544"/>
                <a:gd name="connsiteX158" fmla="*/ 10566383 w 10575647"/>
                <a:gd name="connsiteY158" fmla="*/ 632041 h 1701544"/>
                <a:gd name="connsiteX159" fmla="*/ 10249009 w 10575647"/>
                <a:gd name="connsiteY159" fmla="*/ 359885 h 1701544"/>
                <a:gd name="connsiteX160" fmla="*/ 9929730 w 10575647"/>
                <a:gd name="connsiteY160" fmla="*/ 627446 h 1701544"/>
                <a:gd name="connsiteX161" fmla="*/ 10212587 w 10575647"/>
                <a:gd name="connsiteY161" fmla="*/ 903611 h 1701544"/>
                <a:gd name="connsiteX162" fmla="*/ 10391099 w 10575647"/>
                <a:gd name="connsiteY162" fmla="*/ 1031625 h 1701544"/>
                <a:gd name="connsiteX163" fmla="*/ 10252715 w 10575647"/>
                <a:gd name="connsiteY163" fmla="*/ 1136874 h 1701544"/>
                <a:gd name="connsiteX164" fmla="*/ 10093843 w 10575647"/>
                <a:gd name="connsiteY164" fmla="*/ 1007579 h 1701544"/>
                <a:gd name="connsiteX165" fmla="*/ 10092096 w 10575647"/>
                <a:gd name="connsiteY165" fmla="*/ 989257 h 1701544"/>
                <a:gd name="connsiteX166" fmla="*/ 9913054 w 10575647"/>
                <a:gd name="connsiteY166" fmla="*/ 989257 h 1701544"/>
                <a:gd name="connsiteX167" fmla="*/ 9915066 w 10575647"/>
                <a:gd name="connsiteY167" fmla="*/ 1011216 h 1701544"/>
                <a:gd name="connsiteX168" fmla="*/ 10252715 w 10575647"/>
                <a:gd name="connsiteY168" fmla="*/ 1291865 h 1701544"/>
                <a:gd name="connsiteX169" fmla="*/ 10575647 w 10575647"/>
                <a:gd name="connsiteY169" fmla="*/ 1024303 h 1701544"/>
                <a:gd name="connsiteX170" fmla="*/ 10501426 w 10575647"/>
                <a:gd name="connsiteY170" fmla="*/ 843879 h 1701544"/>
                <a:gd name="connsiteX171" fmla="*/ 10285750 w 10575647"/>
                <a:gd name="connsiteY171" fmla="*/ 740769 h 1701544"/>
                <a:gd name="connsiteX172" fmla="*/ 10110519 w 10575647"/>
                <a:gd name="connsiteY172" fmla="*/ 616440 h 1701544"/>
                <a:gd name="connsiteX173" fmla="*/ 10243398 w 10575647"/>
                <a:gd name="connsiteY173" fmla="*/ 514877 h 1701544"/>
                <a:gd name="connsiteX174" fmla="*/ 10385594 w 10575647"/>
                <a:gd name="connsiteY174" fmla="*/ 623762 h 1701544"/>
                <a:gd name="connsiteX175" fmla="*/ 10385594 w 10575647"/>
                <a:gd name="connsiteY175" fmla="*/ 653307 h 170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10575647" h="1701544">
                  <a:moveTo>
                    <a:pt x="7802033" y="380187"/>
                  </a:moveTo>
                  <a:lnTo>
                    <a:pt x="7621138" y="380187"/>
                  </a:lnTo>
                  <a:lnTo>
                    <a:pt x="7621138" y="1271563"/>
                  </a:lnTo>
                  <a:lnTo>
                    <a:pt x="7802033" y="1271563"/>
                  </a:lnTo>
                  <a:lnTo>
                    <a:pt x="7802033" y="380187"/>
                  </a:lnTo>
                  <a:close/>
                  <a:moveTo>
                    <a:pt x="706522" y="1271563"/>
                  </a:moveTo>
                  <a:lnTo>
                    <a:pt x="902065" y="1271563"/>
                  </a:lnTo>
                  <a:lnTo>
                    <a:pt x="902065" y="0"/>
                  </a:lnTo>
                  <a:lnTo>
                    <a:pt x="706522" y="0"/>
                  </a:lnTo>
                  <a:lnTo>
                    <a:pt x="706522" y="553717"/>
                  </a:lnTo>
                  <a:lnTo>
                    <a:pt x="195543" y="553717"/>
                  </a:lnTo>
                  <a:lnTo>
                    <a:pt x="195543" y="0"/>
                  </a:lnTo>
                  <a:lnTo>
                    <a:pt x="0" y="0"/>
                  </a:lnTo>
                  <a:lnTo>
                    <a:pt x="0" y="1271563"/>
                  </a:lnTo>
                  <a:lnTo>
                    <a:pt x="195543" y="1271563"/>
                  </a:lnTo>
                  <a:lnTo>
                    <a:pt x="195543" y="727142"/>
                  </a:lnTo>
                  <a:lnTo>
                    <a:pt x="706522" y="727142"/>
                  </a:lnTo>
                  <a:lnTo>
                    <a:pt x="706522" y="1271563"/>
                  </a:lnTo>
                  <a:close/>
                  <a:moveTo>
                    <a:pt x="1306185" y="1690649"/>
                  </a:moveTo>
                  <a:lnTo>
                    <a:pt x="1654904" y="1036061"/>
                  </a:lnTo>
                  <a:lnTo>
                    <a:pt x="1306185" y="381469"/>
                  </a:lnTo>
                  <a:lnTo>
                    <a:pt x="1090234" y="381469"/>
                  </a:lnTo>
                  <a:lnTo>
                    <a:pt x="1438900" y="1036061"/>
                  </a:lnTo>
                  <a:lnTo>
                    <a:pt x="1090234" y="1690649"/>
                  </a:lnTo>
                  <a:lnTo>
                    <a:pt x="1306185" y="1690649"/>
                  </a:lnTo>
                  <a:close/>
                  <a:moveTo>
                    <a:pt x="2581808" y="828654"/>
                  </a:moveTo>
                  <a:cubicBezTo>
                    <a:pt x="2581808" y="1002989"/>
                    <a:pt x="2470789" y="1129505"/>
                    <a:pt x="2317883" y="1129505"/>
                  </a:cubicBezTo>
                  <a:cubicBezTo>
                    <a:pt x="2168980" y="1129505"/>
                    <a:pt x="2065011" y="1007262"/>
                    <a:pt x="2065011" y="832338"/>
                  </a:cubicBezTo>
                  <a:cubicBezTo>
                    <a:pt x="2065011" y="649088"/>
                    <a:pt x="2170314" y="525990"/>
                    <a:pt x="2327068" y="525990"/>
                  </a:cubicBezTo>
                  <a:cubicBezTo>
                    <a:pt x="2479444" y="525990"/>
                    <a:pt x="2581808" y="647590"/>
                    <a:pt x="2581808" y="828654"/>
                  </a:cubicBezTo>
                  <a:moveTo>
                    <a:pt x="2581808" y="1271563"/>
                  </a:moveTo>
                  <a:lnTo>
                    <a:pt x="2762608" y="1271563"/>
                  </a:lnTo>
                  <a:lnTo>
                    <a:pt x="2762608" y="0"/>
                  </a:lnTo>
                  <a:lnTo>
                    <a:pt x="2581808" y="0"/>
                  </a:lnTo>
                  <a:lnTo>
                    <a:pt x="2581808" y="476356"/>
                  </a:lnTo>
                  <a:cubicBezTo>
                    <a:pt x="2503431" y="397017"/>
                    <a:pt x="2412449" y="359885"/>
                    <a:pt x="2297581" y="359885"/>
                  </a:cubicBezTo>
                  <a:cubicBezTo>
                    <a:pt x="2057690" y="359885"/>
                    <a:pt x="1876785" y="562214"/>
                    <a:pt x="1876785" y="830470"/>
                  </a:cubicBezTo>
                  <a:cubicBezTo>
                    <a:pt x="1876785" y="1102145"/>
                    <a:pt x="2049839" y="1291865"/>
                    <a:pt x="2297581" y="1291865"/>
                  </a:cubicBezTo>
                  <a:cubicBezTo>
                    <a:pt x="2414371" y="1291865"/>
                    <a:pt x="2503061" y="1251959"/>
                    <a:pt x="2581808" y="1163217"/>
                  </a:cubicBezTo>
                  <a:lnTo>
                    <a:pt x="2581808" y="1271563"/>
                  </a:lnTo>
                  <a:close/>
                  <a:moveTo>
                    <a:pt x="3437445" y="542393"/>
                  </a:moveTo>
                  <a:lnTo>
                    <a:pt x="3460310" y="545331"/>
                  </a:lnTo>
                  <a:lnTo>
                    <a:pt x="3460310" y="359885"/>
                  </a:lnTo>
                  <a:lnTo>
                    <a:pt x="3406830" y="359885"/>
                  </a:lnTo>
                  <a:cubicBezTo>
                    <a:pt x="3341169" y="359885"/>
                    <a:pt x="3277430" y="380294"/>
                    <a:pt x="3231965" y="415877"/>
                  </a:cubicBezTo>
                  <a:cubicBezTo>
                    <a:pt x="3213690" y="430035"/>
                    <a:pt x="3199693" y="444353"/>
                    <a:pt x="3187194" y="462091"/>
                  </a:cubicBezTo>
                  <a:lnTo>
                    <a:pt x="3187194" y="380187"/>
                  </a:lnTo>
                  <a:lnTo>
                    <a:pt x="3006395" y="380187"/>
                  </a:lnTo>
                  <a:lnTo>
                    <a:pt x="3006395" y="1271563"/>
                  </a:lnTo>
                  <a:lnTo>
                    <a:pt x="3187194" y="1271563"/>
                  </a:lnTo>
                  <a:lnTo>
                    <a:pt x="3187194" y="819411"/>
                  </a:lnTo>
                  <a:cubicBezTo>
                    <a:pt x="3187194" y="727783"/>
                    <a:pt x="3198894" y="679915"/>
                    <a:pt x="3233517" y="629638"/>
                  </a:cubicBezTo>
                  <a:cubicBezTo>
                    <a:pt x="3272300" y="572310"/>
                    <a:pt x="3331926" y="540683"/>
                    <a:pt x="3401277" y="540683"/>
                  </a:cubicBezTo>
                  <a:cubicBezTo>
                    <a:pt x="3410356" y="540683"/>
                    <a:pt x="3423983" y="540683"/>
                    <a:pt x="3437445" y="542393"/>
                  </a:cubicBezTo>
                  <a:moveTo>
                    <a:pt x="4250980" y="826838"/>
                  </a:moveTo>
                  <a:cubicBezTo>
                    <a:pt x="4250980" y="1000692"/>
                    <a:pt x="4140918" y="1122077"/>
                    <a:pt x="3983364" y="1122077"/>
                  </a:cubicBezTo>
                  <a:cubicBezTo>
                    <a:pt x="3822174" y="1122077"/>
                    <a:pt x="3713875" y="1003466"/>
                    <a:pt x="3713875" y="826838"/>
                  </a:cubicBezTo>
                  <a:cubicBezTo>
                    <a:pt x="3713875" y="649088"/>
                    <a:pt x="3822920" y="529677"/>
                    <a:pt x="3985180" y="529677"/>
                  </a:cubicBezTo>
                  <a:cubicBezTo>
                    <a:pt x="4144179" y="529677"/>
                    <a:pt x="4250980" y="649088"/>
                    <a:pt x="4250980" y="826838"/>
                  </a:cubicBezTo>
                  <a:moveTo>
                    <a:pt x="4435464" y="828654"/>
                  </a:moveTo>
                  <a:cubicBezTo>
                    <a:pt x="4435464" y="557084"/>
                    <a:pt x="4246120" y="359885"/>
                    <a:pt x="3985180" y="359885"/>
                  </a:cubicBezTo>
                  <a:cubicBezTo>
                    <a:pt x="3716818" y="359885"/>
                    <a:pt x="3529338" y="551155"/>
                    <a:pt x="3529338" y="824916"/>
                  </a:cubicBezTo>
                  <a:cubicBezTo>
                    <a:pt x="3529338" y="1099848"/>
                    <a:pt x="3714521" y="1291865"/>
                    <a:pt x="3979622" y="1291865"/>
                  </a:cubicBezTo>
                  <a:cubicBezTo>
                    <a:pt x="4235272" y="1291865"/>
                    <a:pt x="4435464" y="1088418"/>
                    <a:pt x="4435464" y="828654"/>
                  </a:cubicBezTo>
                  <a:moveTo>
                    <a:pt x="5261608" y="828654"/>
                  </a:moveTo>
                  <a:cubicBezTo>
                    <a:pt x="5261608" y="909382"/>
                    <a:pt x="5239596" y="986748"/>
                    <a:pt x="5205508" y="1025854"/>
                  </a:cubicBezTo>
                  <a:cubicBezTo>
                    <a:pt x="5153150" y="1087026"/>
                    <a:pt x="5080062" y="1122077"/>
                    <a:pt x="5005052" y="1122077"/>
                  </a:cubicBezTo>
                  <a:cubicBezTo>
                    <a:pt x="4855296" y="1122077"/>
                    <a:pt x="4746675" y="996361"/>
                    <a:pt x="4746675" y="823153"/>
                  </a:cubicBezTo>
                  <a:cubicBezTo>
                    <a:pt x="4746675" y="650316"/>
                    <a:pt x="4854386" y="529677"/>
                    <a:pt x="5008683" y="529677"/>
                  </a:cubicBezTo>
                  <a:cubicBezTo>
                    <a:pt x="5078193" y="529677"/>
                    <a:pt x="5151652" y="563177"/>
                    <a:pt x="5200378" y="617081"/>
                  </a:cubicBezTo>
                  <a:cubicBezTo>
                    <a:pt x="5246112" y="667892"/>
                    <a:pt x="5261608" y="721266"/>
                    <a:pt x="5261608" y="828654"/>
                  </a:cubicBezTo>
                  <a:moveTo>
                    <a:pt x="5327264" y="1583314"/>
                  </a:moveTo>
                  <a:cubicBezTo>
                    <a:pt x="5409426" y="1504990"/>
                    <a:pt x="5446113" y="1404277"/>
                    <a:pt x="5446113" y="1256819"/>
                  </a:cubicBezTo>
                  <a:lnTo>
                    <a:pt x="5446113" y="380187"/>
                  </a:lnTo>
                  <a:lnTo>
                    <a:pt x="5265239" y="380187"/>
                  </a:lnTo>
                  <a:lnTo>
                    <a:pt x="5265239" y="488537"/>
                  </a:lnTo>
                  <a:cubicBezTo>
                    <a:pt x="5186005" y="398673"/>
                    <a:pt x="5100153" y="359885"/>
                    <a:pt x="4982875" y="359885"/>
                  </a:cubicBezTo>
                  <a:cubicBezTo>
                    <a:pt x="4866567" y="359885"/>
                    <a:pt x="4771201" y="395361"/>
                    <a:pt x="4699394" y="465190"/>
                  </a:cubicBezTo>
                  <a:cubicBezTo>
                    <a:pt x="4611080" y="549710"/>
                    <a:pt x="4558400" y="685574"/>
                    <a:pt x="4558400" y="828654"/>
                  </a:cubicBezTo>
                  <a:cubicBezTo>
                    <a:pt x="4558400" y="1092743"/>
                    <a:pt x="4736097" y="1291865"/>
                    <a:pt x="4971816" y="1291865"/>
                  </a:cubicBezTo>
                  <a:cubicBezTo>
                    <a:pt x="5092032" y="1291865"/>
                    <a:pt x="5185952" y="1246830"/>
                    <a:pt x="5265239" y="1150553"/>
                  </a:cubicBezTo>
                  <a:lnTo>
                    <a:pt x="5265239" y="1267931"/>
                  </a:lnTo>
                  <a:cubicBezTo>
                    <a:pt x="5265239" y="1350745"/>
                    <a:pt x="5245313" y="1414431"/>
                    <a:pt x="5206095" y="1457116"/>
                  </a:cubicBezTo>
                  <a:cubicBezTo>
                    <a:pt x="5162288" y="1504291"/>
                    <a:pt x="5083159" y="1533625"/>
                    <a:pt x="4999546" y="1533625"/>
                  </a:cubicBezTo>
                  <a:cubicBezTo>
                    <a:pt x="4932122" y="1533625"/>
                    <a:pt x="4856471" y="1514979"/>
                    <a:pt x="4811695" y="1487409"/>
                  </a:cubicBezTo>
                  <a:cubicBezTo>
                    <a:pt x="4788777" y="1471596"/>
                    <a:pt x="4771254" y="1455624"/>
                    <a:pt x="4733588" y="1416300"/>
                  </a:cubicBezTo>
                  <a:lnTo>
                    <a:pt x="4719215" y="1401339"/>
                  </a:lnTo>
                  <a:lnTo>
                    <a:pt x="4595103" y="1525451"/>
                  </a:lnTo>
                  <a:lnTo>
                    <a:pt x="4607819" y="1539824"/>
                  </a:lnTo>
                  <a:cubicBezTo>
                    <a:pt x="4703719" y="1647106"/>
                    <a:pt x="4835528" y="1701544"/>
                    <a:pt x="4999546" y="1701544"/>
                  </a:cubicBezTo>
                  <a:cubicBezTo>
                    <a:pt x="5134664" y="1701544"/>
                    <a:pt x="5247981" y="1660675"/>
                    <a:pt x="5327264" y="1583314"/>
                  </a:cubicBezTo>
                  <a:moveTo>
                    <a:pt x="6317923" y="747497"/>
                  </a:moveTo>
                  <a:lnTo>
                    <a:pt x="5805203" y="747497"/>
                  </a:lnTo>
                  <a:cubicBezTo>
                    <a:pt x="5814785" y="696051"/>
                    <a:pt x="5825267" y="667627"/>
                    <a:pt x="5845913" y="635144"/>
                  </a:cubicBezTo>
                  <a:cubicBezTo>
                    <a:pt x="5892024" y="566756"/>
                    <a:pt x="5971327" y="525990"/>
                    <a:pt x="6057989" y="525990"/>
                  </a:cubicBezTo>
                  <a:cubicBezTo>
                    <a:pt x="6144228" y="525990"/>
                    <a:pt x="6225702" y="566274"/>
                    <a:pt x="6275730" y="633487"/>
                  </a:cubicBezTo>
                  <a:cubicBezTo>
                    <a:pt x="6300453" y="669067"/>
                    <a:pt x="6312047" y="699841"/>
                    <a:pt x="6317923" y="747497"/>
                  </a:cubicBezTo>
                  <a:moveTo>
                    <a:pt x="6508188" y="872890"/>
                  </a:moveTo>
                  <a:cubicBezTo>
                    <a:pt x="6510094" y="851683"/>
                    <a:pt x="6510094" y="827426"/>
                    <a:pt x="6510094" y="815779"/>
                  </a:cubicBezTo>
                  <a:cubicBezTo>
                    <a:pt x="6510094" y="555909"/>
                    <a:pt x="6315700" y="359885"/>
                    <a:pt x="6057989" y="359885"/>
                  </a:cubicBezTo>
                  <a:cubicBezTo>
                    <a:pt x="5798109" y="359885"/>
                    <a:pt x="5609538" y="557084"/>
                    <a:pt x="5609538" y="828654"/>
                  </a:cubicBezTo>
                  <a:cubicBezTo>
                    <a:pt x="5609538" y="1097074"/>
                    <a:pt x="5800491" y="1291865"/>
                    <a:pt x="6063495" y="1291865"/>
                  </a:cubicBezTo>
                  <a:cubicBezTo>
                    <a:pt x="6235020" y="1291865"/>
                    <a:pt x="6386956" y="1199867"/>
                    <a:pt x="6460066" y="1051710"/>
                  </a:cubicBezTo>
                  <a:lnTo>
                    <a:pt x="6469966" y="1031572"/>
                  </a:lnTo>
                  <a:lnTo>
                    <a:pt x="6308923" y="971517"/>
                  </a:lnTo>
                  <a:lnTo>
                    <a:pt x="6300559" y="986689"/>
                  </a:lnTo>
                  <a:cubicBezTo>
                    <a:pt x="6254237" y="1068968"/>
                    <a:pt x="6161169" y="1122077"/>
                    <a:pt x="6063495" y="1122077"/>
                  </a:cubicBezTo>
                  <a:cubicBezTo>
                    <a:pt x="5977415" y="1122077"/>
                    <a:pt x="5901923" y="1083664"/>
                    <a:pt x="5850784" y="1013832"/>
                  </a:cubicBezTo>
                  <a:cubicBezTo>
                    <a:pt x="5821932" y="975900"/>
                    <a:pt x="5809438" y="945021"/>
                    <a:pt x="5802132" y="891377"/>
                  </a:cubicBezTo>
                  <a:lnTo>
                    <a:pt x="6506547" y="891377"/>
                  </a:lnTo>
                  <a:lnTo>
                    <a:pt x="6508188" y="872890"/>
                  </a:lnTo>
                  <a:close/>
                  <a:moveTo>
                    <a:pt x="7205139" y="1271563"/>
                  </a:moveTo>
                  <a:lnTo>
                    <a:pt x="7385928" y="1271563"/>
                  </a:lnTo>
                  <a:lnTo>
                    <a:pt x="7385928" y="677294"/>
                  </a:lnTo>
                  <a:cubicBezTo>
                    <a:pt x="7385928" y="554734"/>
                    <a:pt x="7365387" y="491422"/>
                    <a:pt x="7307154" y="435163"/>
                  </a:cubicBezTo>
                  <a:cubicBezTo>
                    <a:pt x="7252520" y="386599"/>
                    <a:pt x="7177557" y="359885"/>
                    <a:pt x="7096189" y="359885"/>
                  </a:cubicBezTo>
                  <a:cubicBezTo>
                    <a:pt x="7000739" y="359885"/>
                    <a:pt x="6929853" y="391193"/>
                    <a:pt x="6863625" y="463694"/>
                  </a:cubicBezTo>
                  <a:lnTo>
                    <a:pt x="6863625" y="380187"/>
                  </a:lnTo>
                  <a:lnTo>
                    <a:pt x="6682836" y="380187"/>
                  </a:lnTo>
                  <a:lnTo>
                    <a:pt x="6682836" y="1271563"/>
                  </a:lnTo>
                  <a:lnTo>
                    <a:pt x="6863625" y="1271563"/>
                  </a:lnTo>
                  <a:lnTo>
                    <a:pt x="6863625" y="732701"/>
                  </a:lnTo>
                  <a:cubicBezTo>
                    <a:pt x="6863625" y="667839"/>
                    <a:pt x="6876278" y="632147"/>
                    <a:pt x="6913971" y="591066"/>
                  </a:cubicBezTo>
                  <a:cubicBezTo>
                    <a:pt x="6951505" y="548481"/>
                    <a:pt x="7002433" y="525990"/>
                    <a:pt x="7061143" y="525990"/>
                  </a:cubicBezTo>
                  <a:cubicBezTo>
                    <a:pt x="7110748" y="525990"/>
                    <a:pt x="7155428" y="544744"/>
                    <a:pt x="7177769" y="575089"/>
                  </a:cubicBezTo>
                  <a:cubicBezTo>
                    <a:pt x="7197410" y="601215"/>
                    <a:pt x="7205139" y="638722"/>
                    <a:pt x="7205139" y="708709"/>
                  </a:cubicBezTo>
                  <a:lnTo>
                    <a:pt x="7205139" y="1271563"/>
                  </a:lnTo>
                  <a:close/>
                  <a:moveTo>
                    <a:pt x="7822309" y="162418"/>
                  </a:moveTo>
                  <a:cubicBezTo>
                    <a:pt x="7822309" y="99268"/>
                    <a:pt x="7774452" y="49847"/>
                    <a:pt x="7713412" y="49847"/>
                  </a:cubicBezTo>
                  <a:cubicBezTo>
                    <a:pt x="7650255" y="49847"/>
                    <a:pt x="7602662" y="97451"/>
                    <a:pt x="7602662" y="160549"/>
                  </a:cubicBezTo>
                  <a:cubicBezTo>
                    <a:pt x="7602662" y="223699"/>
                    <a:pt x="7649514" y="271303"/>
                    <a:pt x="7711560" y="271303"/>
                  </a:cubicBezTo>
                  <a:cubicBezTo>
                    <a:pt x="7773711" y="271303"/>
                    <a:pt x="7822309" y="223432"/>
                    <a:pt x="7822309" y="162418"/>
                  </a:cubicBezTo>
                  <a:moveTo>
                    <a:pt x="8704760" y="826838"/>
                  </a:moveTo>
                  <a:cubicBezTo>
                    <a:pt x="8704760" y="1000692"/>
                    <a:pt x="8594751" y="1122077"/>
                    <a:pt x="8437150" y="1122077"/>
                  </a:cubicBezTo>
                  <a:cubicBezTo>
                    <a:pt x="8276002" y="1122077"/>
                    <a:pt x="8167740" y="1003466"/>
                    <a:pt x="8167740" y="826838"/>
                  </a:cubicBezTo>
                  <a:cubicBezTo>
                    <a:pt x="8167740" y="649088"/>
                    <a:pt x="8276743" y="529677"/>
                    <a:pt x="8439003" y="529677"/>
                  </a:cubicBezTo>
                  <a:cubicBezTo>
                    <a:pt x="8597980" y="529677"/>
                    <a:pt x="8704760" y="649088"/>
                    <a:pt x="8704760" y="826838"/>
                  </a:cubicBezTo>
                  <a:moveTo>
                    <a:pt x="8889307" y="828654"/>
                  </a:moveTo>
                  <a:cubicBezTo>
                    <a:pt x="8889307" y="557084"/>
                    <a:pt x="8699942" y="359885"/>
                    <a:pt x="8439003" y="359885"/>
                  </a:cubicBezTo>
                  <a:cubicBezTo>
                    <a:pt x="8170652" y="359885"/>
                    <a:pt x="7983193" y="551155"/>
                    <a:pt x="7983193" y="824916"/>
                  </a:cubicBezTo>
                  <a:cubicBezTo>
                    <a:pt x="7983193" y="1099848"/>
                    <a:pt x="8168375" y="1291865"/>
                    <a:pt x="8433444" y="1291865"/>
                  </a:cubicBezTo>
                  <a:cubicBezTo>
                    <a:pt x="8689089" y="1291865"/>
                    <a:pt x="8889307" y="1088418"/>
                    <a:pt x="8889307" y="828654"/>
                  </a:cubicBezTo>
                  <a:moveTo>
                    <a:pt x="9658150" y="1197940"/>
                  </a:moveTo>
                  <a:cubicBezTo>
                    <a:pt x="9724854" y="1137144"/>
                    <a:pt x="9749630" y="1068539"/>
                    <a:pt x="9749630" y="944968"/>
                  </a:cubicBezTo>
                  <a:lnTo>
                    <a:pt x="9749630" y="380187"/>
                  </a:lnTo>
                  <a:lnTo>
                    <a:pt x="9566988" y="380187"/>
                  </a:lnTo>
                  <a:lnTo>
                    <a:pt x="9566988" y="944968"/>
                  </a:lnTo>
                  <a:cubicBezTo>
                    <a:pt x="9566988" y="1008437"/>
                    <a:pt x="9558835" y="1039587"/>
                    <a:pt x="9535012" y="1068222"/>
                  </a:cubicBezTo>
                  <a:cubicBezTo>
                    <a:pt x="9503831" y="1104284"/>
                    <a:pt x="9453009" y="1125815"/>
                    <a:pt x="9399010" y="1125815"/>
                  </a:cubicBezTo>
                  <a:cubicBezTo>
                    <a:pt x="9299060" y="1125815"/>
                    <a:pt x="9229233" y="1049947"/>
                    <a:pt x="9229233" y="941225"/>
                  </a:cubicBezTo>
                  <a:lnTo>
                    <a:pt x="9229233" y="380187"/>
                  </a:lnTo>
                  <a:lnTo>
                    <a:pt x="9048391" y="380187"/>
                  </a:lnTo>
                  <a:lnTo>
                    <a:pt x="9048391" y="944968"/>
                  </a:lnTo>
                  <a:cubicBezTo>
                    <a:pt x="9048391" y="1054330"/>
                    <a:pt x="9078249" y="1136392"/>
                    <a:pt x="9139659" y="1195965"/>
                  </a:cubicBezTo>
                  <a:cubicBezTo>
                    <a:pt x="9204563" y="1256925"/>
                    <a:pt x="9299113" y="1291865"/>
                    <a:pt x="9399010" y="1291865"/>
                  </a:cubicBezTo>
                  <a:cubicBezTo>
                    <a:pt x="9499701" y="1291865"/>
                    <a:pt x="9591763" y="1258529"/>
                    <a:pt x="9658150" y="1197945"/>
                  </a:cubicBezTo>
                  <a:moveTo>
                    <a:pt x="10385594" y="653307"/>
                  </a:moveTo>
                  <a:lnTo>
                    <a:pt x="10567335" y="653307"/>
                  </a:lnTo>
                  <a:lnTo>
                    <a:pt x="10566383" y="632041"/>
                  </a:lnTo>
                  <a:cubicBezTo>
                    <a:pt x="10558442" y="459099"/>
                    <a:pt x="10442768" y="359885"/>
                    <a:pt x="10249009" y="359885"/>
                  </a:cubicBezTo>
                  <a:cubicBezTo>
                    <a:pt x="10058003" y="359885"/>
                    <a:pt x="9929730" y="467434"/>
                    <a:pt x="9929730" y="627446"/>
                  </a:cubicBezTo>
                  <a:cubicBezTo>
                    <a:pt x="9929730" y="765666"/>
                    <a:pt x="10016922" y="850825"/>
                    <a:pt x="10212587" y="903611"/>
                  </a:cubicBezTo>
                  <a:cubicBezTo>
                    <a:pt x="10347689" y="937858"/>
                    <a:pt x="10391099" y="968955"/>
                    <a:pt x="10391099" y="1031625"/>
                  </a:cubicBezTo>
                  <a:cubicBezTo>
                    <a:pt x="10391099" y="1095576"/>
                    <a:pt x="10336730" y="1136874"/>
                    <a:pt x="10252715" y="1136874"/>
                  </a:cubicBezTo>
                  <a:cubicBezTo>
                    <a:pt x="10155517" y="1136874"/>
                    <a:pt x="10102102" y="1093384"/>
                    <a:pt x="10093843" y="1007579"/>
                  </a:cubicBezTo>
                  <a:lnTo>
                    <a:pt x="10092096" y="989257"/>
                  </a:lnTo>
                  <a:lnTo>
                    <a:pt x="9913054" y="989257"/>
                  </a:lnTo>
                  <a:lnTo>
                    <a:pt x="9915066" y="1011216"/>
                  </a:lnTo>
                  <a:cubicBezTo>
                    <a:pt x="9930789" y="1194843"/>
                    <a:pt x="10047626" y="1291865"/>
                    <a:pt x="10252715" y="1291865"/>
                  </a:cubicBezTo>
                  <a:cubicBezTo>
                    <a:pt x="10445839" y="1291865"/>
                    <a:pt x="10575647" y="1184371"/>
                    <a:pt x="10575647" y="1024303"/>
                  </a:cubicBezTo>
                  <a:cubicBezTo>
                    <a:pt x="10575647" y="956667"/>
                    <a:pt x="10548542" y="890948"/>
                    <a:pt x="10501426" y="843879"/>
                  </a:cubicBezTo>
                  <a:cubicBezTo>
                    <a:pt x="10457485" y="799913"/>
                    <a:pt x="10397028" y="770955"/>
                    <a:pt x="10285750" y="740769"/>
                  </a:cubicBezTo>
                  <a:cubicBezTo>
                    <a:pt x="10125660" y="696474"/>
                    <a:pt x="10110519" y="671471"/>
                    <a:pt x="10110519" y="616440"/>
                  </a:cubicBezTo>
                  <a:cubicBezTo>
                    <a:pt x="10110519" y="553823"/>
                    <a:pt x="10161447" y="514877"/>
                    <a:pt x="10243398" y="514877"/>
                  </a:cubicBezTo>
                  <a:cubicBezTo>
                    <a:pt x="10329795" y="514877"/>
                    <a:pt x="10385594" y="557672"/>
                    <a:pt x="10385594" y="623762"/>
                  </a:cubicBezTo>
                  <a:lnTo>
                    <a:pt x="10385594" y="653307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</p:grp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76515260-D7C2-9F10-90D5-067BD272CB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4" y="843892"/>
            <a:ext cx="2749548" cy="5511338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2C265266-5858-F63B-38A5-C36D9D241E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E81BDE5F-81E3-BC5E-2E6B-E85DD8BA9D5E}"/>
              </a:ext>
            </a:extLst>
          </p:cNvPr>
          <p:cNvGrpSpPr/>
          <p:nvPr userDrawn="1"/>
        </p:nvGrpSpPr>
        <p:grpSpPr>
          <a:xfrm rot="5400000">
            <a:off x="-3617983" y="3323777"/>
            <a:ext cx="6854690" cy="213756"/>
            <a:chOff x="-1" y="-286346"/>
            <a:chExt cx="5820565" cy="181508"/>
          </a:xfrm>
        </p:grpSpPr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BF4F7638-1F82-DCD8-F35A-710A71DA07DA}"/>
                </a:ext>
              </a:extLst>
            </p:cNvPr>
            <p:cNvGrpSpPr/>
            <p:nvPr userDrawn="1"/>
          </p:nvGrpSpPr>
          <p:grpSpPr>
            <a:xfrm rot="16200000">
              <a:off x="363007" y="-649354"/>
              <a:ext cx="181503" cy="907520"/>
              <a:chOff x="1319213" y="-1663170"/>
              <a:chExt cx="181503" cy="907520"/>
            </a:xfrm>
          </p:grpSpPr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E44BBB4B-6E70-348F-6029-9EE2B0F2CE6F}"/>
                  </a:ext>
                </a:extLst>
              </p:cNvPr>
              <p:cNvSpPr/>
              <p:nvPr/>
            </p:nvSpPr>
            <p:spPr>
              <a:xfrm>
                <a:off x="1319213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44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53102CFC-6571-0F5B-F83F-EF72793BD006}"/>
                  </a:ext>
                </a:extLst>
              </p:cNvPr>
              <p:cNvSpPr/>
              <p:nvPr/>
            </p:nvSpPr>
            <p:spPr>
              <a:xfrm>
                <a:off x="1319213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69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605AB9C6-231A-E4F6-9FAF-DEACDC6CD2ED}"/>
                  </a:ext>
                </a:extLst>
              </p:cNvPr>
              <p:cNvSpPr/>
              <p:nvPr/>
            </p:nvSpPr>
            <p:spPr>
              <a:xfrm>
                <a:off x="1319213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FE8F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2E0D634C-0A94-3C96-8B72-30537FC6EF66}"/>
                  </a:ext>
                </a:extLst>
              </p:cNvPr>
              <p:cNvSpPr/>
              <p:nvPr/>
            </p:nvSpPr>
            <p:spPr>
              <a:xfrm>
                <a:off x="1319213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B4B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B57F60B0-579B-48F3-3C5C-0668B4B01AA6}"/>
                  </a:ext>
                </a:extLst>
              </p:cNvPr>
              <p:cNvSpPr/>
              <p:nvPr/>
            </p:nvSpPr>
            <p:spPr>
              <a:xfrm>
                <a:off x="1319213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D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BEB77ED3-6B0D-B1D8-CB39-2D0AE43CC672}"/>
                </a:ext>
              </a:extLst>
            </p:cNvPr>
            <p:cNvGrpSpPr/>
            <p:nvPr userDrawn="1"/>
          </p:nvGrpSpPr>
          <p:grpSpPr>
            <a:xfrm rot="16200000">
              <a:off x="1345616" y="-649354"/>
              <a:ext cx="181503" cy="907520"/>
              <a:chOff x="1319213" y="-664912"/>
              <a:chExt cx="181503" cy="907520"/>
            </a:xfrm>
          </p:grpSpPr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E47DA8EB-20BC-3A80-56BC-E09B062A8582}"/>
                  </a:ext>
                </a:extLst>
              </p:cNvPr>
              <p:cNvSpPr/>
              <p:nvPr/>
            </p:nvSpPr>
            <p:spPr>
              <a:xfrm>
                <a:off x="1319213" y="-66491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6400A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EBC12C8D-CBA2-9CF3-3E7F-CE2DEC980E7C}"/>
                  </a:ext>
                </a:extLst>
              </p:cNvPr>
              <p:cNvSpPr/>
              <p:nvPr/>
            </p:nvSpPr>
            <p:spPr>
              <a:xfrm>
                <a:off x="1319213" y="-483404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33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9FBAD21C-7372-FE1F-B2BE-DFD6B7C2FB4A}"/>
                  </a:ext>
                </a:extLst>
              </p:cNvPr>
              <p:cNvSpPr/>
              <p:nvPr/>
            </p:nvSpPr>
            <p:spPr>
              <a:xfrm>
                <a:off x="1319213" y="-30189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266C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D7737953-5C29-EBC9-A62E-D08EF7031817}"/>
                  </a:ext>
                </a:extLst>
              </p:cNvPr>
              <p:cNvSpPr/>
              <p:nvPr/>
            </p:nvSpPr>
            <p:spPr>
              <a:xfrm>
                <a:off x="1319213" y="-120387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199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8A8FFACE-8BA9-74E5-44CC-E470E02D499B}"/>
                  </a:ext>
                </a:extLst>
              </p:cNvPr>
              <p:cNvSpPr/>
              <p:nvPr/>
            </p:nvSpPr>
            <p:spPr>
              <a:xfrm>
                <a:off x="1319213" y="6110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0CC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BF08B0B9-C57E-D9A3-5C2A-FC31AA22B4AE}"/>
                </a:ext>
              </a:extLst>
            </p:cNvPr>
            <p:cNvGrpSpPr/>
            <p:nvPr userDrawn="1"/>
          </p:nvGrpSpPr>
          <p:grpSpPr>
            <a:xfrm rot="16200000">
              <a:off x="2328223" y="-649352"/>
              <a:ext cx="181508" cy="907520"/>
              <a:chOff x="1682219" y="-1663170"/>
              <a:chExt cx="181508" cy="907520"/>
            </a:xfrm>
          </p:grpSpPr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9C558B03-1912-6EF6-196F-30EF75CB7824}"/>
                  </a:ext>
                </a:extLst>
              </p:cNvPr>
              <p:cNvSpPr/>
              <p:nvPr/>
            </p:nvSpPr>
            <p:spPr>
              <a:xfrm>
                <a:off x="1682219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CC8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CAC2FB5F-DE6E-579D-556F-EC1E0E7F00A2}"/>
                  </a:ext>
                </a:extLst>
              </p:cNvPr>
              <p:cNvSpPr/>
              <p:nvPr/>
            </p:nvSpPr>
            <p:spPr>
              <a:xfrm>
                <a:off x="1682224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3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B354726A-1187-3E3A-E240-FAD142915A68}"/>
                  </a:ext>
                </a:extLst>
              </p:cNvPr>
              <p:cNvSpPr/>
              <p:nvPr/>
            </p:nvSpPr>
            <p:spPr>
              <a:xfrm>
                <a:off x="1682224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ADE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BDBAEF9D-CB49-F3AB-490C-DAE4EFAC831F}"/>
                  </a:ext>
                </a:extLst>
              </p:cNvPr>
              <p:cNvSpPr/>
              <p:nvPr/>
            </p:nvSpPr>
            <p:spPr>
              <a:xfrm>
                <a:off x="1682224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E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891BBF6E-F03F-1542-B24A-1BE9009B6ADD}"/>
                  </a:ext>
                </a:extLst>
              </p:cNvPr>
              <p:cNvSpPr/>
              <p:nvPr/>
            </p:nvSpPr>
            <p:spPr>
              <a:xfrm>
                <a:off x="1682219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8F4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5C98C305-AC29-5244-97B9-5330041E6BFA}"/>
                </a:ext>
              </a:extLst>
            </p:cNvPr>
            <p:cNvGrpSpPr/>
            <p:nvPr userDrawn="1"/>
          </p:nvGrpSpPr>
          <p:grpSpPr>
            <a:xfrm rot="16200000">
              <a:off x="5276052" y="-649354"/>
              <a:ext cx="181503" cy="907520"/>
              <a:chOff x="2226738" y="-1663170"/>
              <a:chExt cx="181503" cy="907520"/>
            </a:xfrm>
          </p:grpSpPr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B70FBA6B-C8CD-D29D-3BFD-0BC4A6DFAE40}"/>
                  </a:ext>
                </a:extLst>
              </p:cNvPr>
              <p:cNvSpPr/>
              <p:nvPr/>
            </p:nvSpPr>
            <p:spPr>
              <a:xfrm>
                <a:off x="2226738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B8E4674B-457F-5A47-73E4-72A1E7B7E7C6}"/>
                  </a:ext>
                </a:extLst>
              </p:cNvPr>
              <p:cNvSpPr/>
              <p:nvPr/>
            </p:nvSpPr>
            <p:spPr>
              <a:xfrm>
                <a:off x="2226738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5757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AE1F8339-6FAE-AEB6-01D3-60D5B2C2F3BC}"/>
                  </a:ext>
                </a:extLst>
              </p:cNvPr>
              <p:cNvSpPr/>
              <p:nvPr/>
            </p:nvSpPr>
            <p:spPr>
              <a:xfrm>
                <a:off x="2226738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8787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737A46FD-0D4A-3C1E-C149-3BDD438A900F}"/>
                  </a:ext>
                </a:extLst>
              </p:cNvPr>
              <p:cNvSpPr/>
              <p:nvPr/>
            </p:nvSpPr>
            <p:spPr>
              <a:xfrm>
                <a:off x="2226738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2B2B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3341FADB-ADFF-0209-CE22-DDC20C49C656}"/>
                  </a:ext>
                </a:extLst>
              </p:cNvPr>
              <p:cNvSpPr/>
              <p:nvPr/>
            </p:nvSpPr>
            <p:spPr>
              <a:xfrm>
                <a:off x="2226738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DA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0ABC1E8C-CE17-1449-67FB-81547A246F02}"/>
                </a:ext>
              </a:extLst>
            </p:cNvPr>
            <p:cNvGrpSpPr/>
            <p:nvPr userDrawn="1"/>
          </p:nvGrpSpPr>
          <p:grpSpPr>
            <a:xfrm rot="16200000">
              <a:off x="3310834" y="-649354"/>
              <a:ext cx="181503" cy="907520"/>
              <a:chOff x="1863727" y="-1663170"/>
              <a:chExt cx="181503" cy="907520"/>
            </a:xfrm>
          </p:grpSpPr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AF014668-DE14-DF79-6A0C-D3EE8890E2C9}"/>
                  </a:ext>
                </a:extLst>
              </p:cNvPr>
              <p:cNvSpPr/>
              <p:nvPr/>
            </p:nvSpPr>
            <p:spPr>
              <a:xfrm>
                <a:off x="1863727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2A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12EF70AD-6542-2E82-28C7-0E971F8FA7C6}"/>
                  </a:ext>
                </a:extLst>
              </p:cNvPr>
              <p:cNvSpPr/>
              <p:nvPr/>
            </p:nvSpPr>
            <p:spPr>
              <a:xfrm>
                <a:off x="1863727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5DB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74F7F4AF-C289-1552-54D0-00FFFC82375A}"/>
                  </a:ext>
                </a:extLst>
              </p:cNvPr>
              <p:cNvSpPr/>
              <p:nvPr/>
            </p:nvSpPr>
            <p:spPr>
              <a:xfrm>
                <a:off x="1863727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8E4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BBED75A4-1BD9-AA4E-163F-6CFE3F1C1054}"/>
                  </a:ext>
                </a:extLst>
              </p:cNvPr>
              <p:cNvSpPr/>
              <p:nvPr/>
            </p:nvSpPr>
            <p:spPr>
              <a:xfrm>
                <a:off x="1863727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ED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123669EF-BE4C-7F82-42A4-BF7D4F79A272}"/>
                  </a:ext>
                </a:extLst>
              </p:cNvPr>
              <p:cNvSpPr/>
              <p:nvPr/>
            </p:nvSpPr>
            <p:spPr>
              <a:xfrm>
                <a:off x="1863727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DF6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8FBC6F11-DB3B-2DF7-8225-2F8AB5681F18}"/>
                </a:ext>
              </a:extLst>
            </p:cNvPr>
            <p:cNvGrpSpPr/>
            <p:nvPr userDrawn="1"/>
          </p:nvGrpSpPr>
          <p:grpSpPr>
            <a:xfrm rot="16200000">
              <a:off x="4293441" y="-649352"/>
              <a:ext cx="181508" cy="907520"/>
              <a:chOff x="2045230" y="-1663170"/>
              <a:chExt cx="181508" cy="907520"/>
            </a:xfrm>
          </p:grpSpPr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65EB6CA7-7870-71FF-CB3A-E43E768A1D76}"/>
                  </a:ext>
                </a:extLst>
              </p:cNvPr>
              <p:cNvSpPr/>
              <p:nvPr/>
            </p:nvSpPr>
            <p:spPr>
              <a:xfrm>
                <a:off x="2045230" y="-937158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9F7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949411AB-BD0E-0F40-105B-145665A6D2E4}"/>
                  </a:ext>
                </a:extLst>
              </p:cNvPr>
              <p:cNvSpPr/>
              <p:nvPr/>
            </p:nvSpPr>
            <p:spPr>
              <a:xfrm>
                <a:off x="2045230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FED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21213B96-1109-A74C-76E3-1D13277AAFC3}"/>
                  </a:ext>
                </a:extLst>
              </p:cNvPr>
              <p:cNvSpPr/>
              <p:nvPr/>
            </p:nvSpPr>
            <p:spPr>
              <a:xfrm>
                <a:off x="2045230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5E3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3126AB36-1B34-E575-CF24-AD07B2C642DC}"/>
                  </a:ext>
                </a:extLst>
              </p:cNvPr>
              <p:cNvSpPr/>
              <p:nvPr/>
            </p:nvSpPr>
            <p:spPr>
              <a:xfrm>
                <a:off x="2045230" y="-1663170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CFC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3C0BF767-A180-0C20-652F-62EBD4D56240}"/>
                  </a:ext>
                </a:extLst>
              </p:cNvPr>
              <p:cNvSpPr/>
              <p:nvPr/>
            </p:nvSpPr>
            <p:spPr>
              <a:xfrm>
                <a:off x="2045230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BD9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5730446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(sand) and Text 1/3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73236799-8186-158A-F3A4-9E2D432B77EB}"/>
              </a:ext>
            </a:extLst>
          </p:cNvPr>
          <p:cNvSpPr/>
          <p:nvPr userDrawn="1"/>
        </p:nvSpPr>
        <p:spPr>
          <a:xfrm>
            <a:off x="4067175" y="0"/>
            <a:ext cx="812482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05350" y="843891"/>
            <a:ext cx="6827836" cy="55106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76515260-D7C2-9F10-90D5-067BD272CB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4" y="843892"/>
            <a:ext cx="2749548" cy="5511338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2C265266-5858-F63B-38A5-C36D9D241E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7F8FF178-59E1-7FB8-81A0-CE6ADCDEDAC0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0415668" y="503483"/>
            <a:ext cx="1289916" cy="180000"/>
            <a:chOff x="-161925" y="-1630732"/>
            <a:chExt cx="12193587" cy="1701544"/>
          </a:xfrm>
          <a:solidFill>
            <a:schemeClr val="accent2"/>
          </a:solidFill>
        </p:grpSpPr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5FDE795A-0230-94BA-D56E-1273F786E25A}"/>
                </a:ext>
              </a:extLst>
            </p:cNvPr>
            <p:cNvSpPr/>
            <p:nvPr/>
          </p:nvSpPr>
          <p:spPr bwMode="gray">
            <a:xfrm>
              <a:off x="10774928" y="-1247713"/>
              <a:ext cx="1256734" cy="356304"/>
            </a:xfrm>
            <a:custGeom>
              <a:avLst/>
              <a:gdLst>
                <a:gd name="connsiteX0" fmla="*/ 1226823 w 1256734"/>
                <a:gd name="connsiteY0" fmla="*/ 269166 h 356304"/>
                <a:gd name="connsiteX1" fmla="*/ 1133491 w 1256734"/>
                <a:gd name="connsiteY1" fmla="*/ 316610 h 356304"/>
                <a:gd name="connsiteX2" fmla="*/ 1010248 w 1256734"/>
                <a:gd name="connsiteY2" fmla="*/ 178448 h 356304"/>
                <a:gd name="connsiteX3" fmla="*/ 1131426 w 1256734"/>
                <a:gd name="connsiteY3" fmla="*/ 39696 h 356304"/>
                <a:gd name="connsiteX4" fmla="*/ 1226823 w 1256734"/>
                <a:gd name="connsiteY4" fmla="*/ 86659 h 356304"/>
                <a:gd name="connsiteX5" fmla="*/ 1256735 w 1256734"/>
                <a:gd name="connsiteY5" fmla="*/ 58823 h 356304"/>
                <a:gd name="connsiteX6" fmla="*/ 1216553 w 1256734"/>
                <a:gd name="connsiteY6" fmla="*/ 23241 h 356304"/>
                <a:gd name="connsiteX7" fmla="*/ 1130420 w 1256734"/>
                <a:gd name="connsiteY7" fmla="*/ 0 h 356304"/>
                <a:gd name="connsiteX8" fmla="*/ 965885 w 1256734"/>
                <a:gd name="connsiteY8" fmla="*/ 178448 h 356304"/>
                <a:gd name="connsiteX9" fmla="*/ 1011783 w 1256734"/>
                <a:gd name="connsiteY9" fmla="*/ 305763 h 356304"/>
                <a:gd name="connsiteX10" fmla="*/ 1129892 w 1256734"/>
                <a:gd name="connsiteY10" fmla="*/ 356305 h 356304"/>
                <a:gd name="connsiteX11" fmla="*/ 1255676 w 1256734"/>
                <a:gd name="connsiteY11" fmla="*/ 298071 h 356304"/>
                <a:gd name="connsiteX12" fmla="*/ 1226823 w 1256734"/>
                <a:gd name="connsiteY12" fmla="*/ 269166 h 356304"/>
                <a:gd name="connsiteX13" fmla="*/ 679216 w 1256734"/>
                <a:gd name="connsiteY13" fmla="*/ 197999 h 356304"/>
                <a:gd name="connsiteX14" fmla="*/ 846824 w 1256734"/>
                <a:gd name="connsiteY14" fmla="*/ 197999 h 356304"/>
                <a:gd name="connsiteX15" fmla="*/ 846824 w 1256734"/>
                <a:gd name="connsiteY15" fmla="*/ 350105 h 356304"/>
                <a:gd name="connsiteX16" fmla="*/ 890075 w 1256734"/>
                <a:gd name="connsiteY16" fmla="*/ 350105 h 356304"/>
                <a:gd name="connsiteX17" fmla="*/ 890075 w 1256734"/>
                <a:gd name="connsiteY17" fmla="*/ 6198 h 356304"/>
                <a:gd name="connsiteX18" fmla="*/ 846824 w 1256734"/>
                <a:gd name="connsiteY18" fmla="*/ 6198 h 356304"/>
                <a:gd name="connsiteX19" fmla="*/ 846824 w 1256734"/>
                <a:gd name="connsiteY19" fmla="*/ 160920 h 356304"/>
                <a:gd name="connsiteX20" fmla="*/ 679216 w 1256734"/>
                <a:gd name="connsiteY20" fmla="*/ 160920 h 356304"/>
                <a:gd name="connsiteX21" fmla="*/ 679216 w 1256734"/>
                <a:gd name="connsiteY21" fmla="*/ 6198 h 356304"/>
                <a:gd name="connsiteX22" fmla="*/ 635912 w 1256734"/>
                <a:gd name="connsiteY22" fmla="*/ 6198 h 356304"/>
                <a:gd name="connsiteX23" fmla="*/ 635912 w 1256734"/>
                <a:gd name="connsiteY23" fmla="*/ 350105 h 356304"/>
                <a:gd name="connsiteX24" fmla="*/ 679216 w 1256734"/>
                <a:gd name="connsiteY24" fmla="*/ 350105 h 356304"/>
                <a:gd name="connsiteX25" fmla="*/ 679216 w 1256734"/>
                <a:gd name="connsiteY25" fmla="*/ 197999 h 356304"/>
                <a:gd name="connsiteX26" fmla="*/ 392018 w 1256734"/>
                <a:gd name="connsiteY26" fmla="*/ 40230 h 356304"/>
                <a:gd name="connsiteX27" fmla="*/ 476563 w 1256734"/>
                <a:gd name="connsiteY27" fmla="*/ 75813 h 356304"/>
                <a:gd name="connsiteX28" fmla="*/ 515792 w 1256734"/>
                <a:gd name="connsiteY28" fmla="*/ 181011 h 356304"/>
                <a:gd name="connsiteX29" fmla="*/ 482758 w 1256734"/>
                <a:gd name="connsiteY29" fmla="*/ 275365 h 356304"/>
                <a:gd name="connsiteX30" fmla="*/ 390960 w 1256734"/>
                <a:gd name="connsiteY30" fmla="*/ 316610 h 356304"/>
                <a:gd name="connsiteX31" fmla="*/ 267239 w 1256734"/>
                <a:gd name="connsiteY31" fmla="*/ 178448 h 356304"/>
                <a:gd name="connsiteX32" fmla="*/ 392018 w 1256734"/>
                <a:gd name="connsiteY32" fmla="*/ 40230 h 356304"/>
                <a:gd name="connsiteX33" fmla="*/ 393077 w 1256734"/>
                <a:gd name="connsiteY33" fmla="*/ 0 h 356304"/>
                <a:gd name="connsiteX34" fmla="*/ 222876 w 1256734"/>
                <a:gd name="connsiteY34" fmla="*/ 179994 h 356304"/>
                <a:gd name="connsiteX35" fmla="*/ 258982 w 1256734"/>
                <a:gd name="connsiteY35" fmla="*/ 291872 h 356304"/>
                <a:gd name="connsiteX36" fmla="*/ 392018 w 1256734"/>
                <a:gd name="connsiteY36" fmla="*/ 356305 h 356304"/>
                <a:gd name="connsiteX37" fmla="*/ 501868 w 1256734"/>
                <a:gd name="connsiteY37" fmla="*/ 315059 h 356304"/>
                <a:gd name="connsiteX38" fmla="*/ 560155 w 1256734"/>
                <a:gd name="connsiteY38" fmla="*/ 181545 h 356304"/>
                <a:gd name="connsiteX39" fmla="*/ 519921 w 1256734"/>
                <a:gd name="connsiteY39" fmla="*/ 59304 h 356304"/>
                <a:gd name="connsiteX40" fmla="*/ 393077 w 1256734"/>
                <a:gd name="connsiteY40" fmla="*/ 0 h 356304"/>
                <a:gd name="connsiteX41" fmla="*/ 43306 w 1256734"/>
                <a:gd name="connsiteY41" fmla="*/ 310946 h 356304"/>
                <a:gd name="connsiteX42" fmla="*/ 43306 w 1256734"/>
                <a:gd name="connsiteY42" fmla="*/ 6198 h 356304"/>
                <a:gd name="connsiteX43" fmla="*/ 0 w 1256734"/>
                <a:gd name="connsiteY43" fmla="*/ 6198 h 356304"/>
                <a:gd name="connsiteX44" fmla="*/ 0 w 1256734"/>
                <a:gd name="connsiteY44" fmla="*/ 350105 h 356304"/>
                <a:gd name="connsiteX45" fmla="*/ 194237 w 1256734"/>
                <a:gd name="connsiteY45" fmla="*/ 350105 h 356304"/>
                <a:gd name="connsiteX46" fmla="*/ 194237 w 1256734"/>
                <a:gd name="connsiteY46" fmla="*/ 310946 h 356304"/>
                <a:gd name="connsiteX47" fmla="*/ 43306 w 1256734"/>
                <a:gd name="connsiteY47" fmla="*/ 310946 h 35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256734" h="356304">
                  <a:moveTo>
                    <a:pt x="1226823" y="269166"/>
                  </a:moveTo>
                  <a:cubicBezTo>
                    <a:pt x="1200037" y="301650"/>
                    <a:pt x="1171131" y="316610"/>
                    <a:pt x="1133491" y="316610"/>
                  </a:cubicBezTo>
                  <a:cubicBezTo>
                    <a:pt x="1062341" y="316610"/>
                    <a:pt x="1010248" y="258371"/>
                    <a:pt x="1010248" y="178448"/>
                  </a:cubicBezTo>
                  <a:cubicBezTo>
                    <a:pt x="1010248" y="97985"/>
                    <a:pt x="1061334" y="39696"/>
                    <a:pt x="1131426" y="39696"/>
                  </a:cubicBezTo>
                  <a:cubicBezTo>
                    <a:pt x="1168008" y="39696"/>
                    <a:pt x="1193313" y="52092"/>
                    <a:pt x="1226823" y="86659"/>
                  </a:cubicBezTo>
                  <a:lnTo>
                    <a:pt x="1256735" y="58823"/>
                  </a:lnTo>
                  <a:cubicBezTo>
                    <a:pt x="1239742" y="40230"/>
                    <a:pt x="1230424" y="32003"/>
                    <a:pt x="1216553" y="23241"/>
                  </a:cubicBezTo>
                  <a:cubicBezTo>
                    <a:pt x="1191725" y="8281"/>
                    <a:pt x="1161338" y="0"/>
                    <a:pt x="1130420" y="0"/>
                  </a:cubicBezTo>
                  <a:cubicBezTo>
                    <a:pt x="1035500" y="0"/>
                    <a:pt x="965885" y="75279"/>
                    <a:pt x="965885" y="178448"/>
                  </a:cubicBezTo>
                  <a:cubicBezTo>
                    <a:pt x="965885" y="226369"/>
                    <a:pt x="982931" y="273279"/>
                    <a:pt x="1011783" y="305763"/>
                  </a:cubicBezTo>
                  <a:cubicBezTo>
                    <a:pt x="1041165" y="338782"/>
                    <a:pt x="1081928" y="356305"/>
                    <a:pt x="1129892" y="356305"/>
                  </a:cubicBezTo>
                  <a:cubicBezTo>
                    <a:pt x="1182990" y="356305"/>
                    <a:pt x="1221107" y="338782"/>
                    <a:pt x="1255676" y="298071"/>
                  </a:cubicBezTo>
                  <a:lnTo>
                    <a:pt x="1226823" y="269166"/>
                  </a:lnTo>
                  <a:close/>
                  <a:moveTo>
                    <a:pt x="679216" y="197999"/>
                  </a:moveTo>
                  <a:lnTo>
                    <a:pt x="846824" y="197999"/>
                  </a:lnTo>
                  <a:lnTo>
                    <a:pt x="846824" y="350105"/>
                  </a:lnTo>
                  <a:lnTo>
                    <a:pt x="890075" y="350105"/>
                  </a:lnTo>
                  <a:lnTo>
                    <a:pt x="890075" y="6198"/>
                  </a:lnTo>
                  <a:lnTo>
                    <a:pt x="846824" y="6198"/>
                  </a:lnTo>
                  <a:lnTo>
                    <a:pt x="846824" y="160920"/>
                  </a:lnTo>
                  <a:lnTo>
                    <a:pt x="679216" y="160920"/>
                  </a:lnTo>
                  <a:lnTo>
                    <a:pt x="679216" y="6198"/>
                  </a:lnTo>
                  <a:lnTo>
                    <a:pt x="635912" y="6198"/>
                  </a:lnTo>
                  <a:lnTo>
                    <a:pt x="635912" y="350105"/>
                  </a:lnTo>
                  <a:lnTo>
                    <a:pt x="679216" y="350105"/>
                  </a:lnTo>
                  <a:lnTo>
                    <a:pt x="679216" y="197999"/>
                  </a:lnTo>
                  <a:close/>
                  <a:moveTo>
                    <a:pt x="392018" y="40230"/>
                  </a:moveTo>
                  <a:cubicBezTo>
                    <a:pt x="422459" y="40230"/>
                    <a:pt x="453904" y="53641"/>
                    <a:pt x="476563" y="75813"/>
                  </a:cubicBezTo>
                  <a:cubicBezTo>
                    <a:pt x="503404" y="101618"/>
                    <a:pt x="515792" y="135117"/>
                    <a:pt x="515792" y="181011"/>
                  </a:cubicBezTo>
                  <a:cubicBezTo>
                    <a:pt x="515792" y="216057"/>
                    <a:pt x="502874" y="253189"/>
                    <a:pt x="482758" y="275365"/>
                  </a:cubicBezTo>
                  <a:cubicBezTo>
                    <a:pt x="459569" y="301650"/>
                    <a:pt x="425530" y="316610"/>
                    <a:pt x="390960" y="316610"/>
                  </a:cubicBezTo>
                  <a:cubicBezTo>
                    <a:pt x="319809" y="316610"/>
                    <a:pt x="267239" y="258371"/>
                    <a:pt x="267239" y="178448"/>
                  </a:cubicBezTo>
                  <a:cubicBezTo>
                    <a:pt x="267239" y="99000"/>
                    <a:pt x="320338" y="40230"/>
                    <a:pt x="392018" y="40230"/>
                  </a:cubicBezTo>
                  <a:moveTo>
                    <a:pt x="393077" y="0"/>
                  </a:moveTo>
                  <a:cubicBezTo>
                    <a:pt x="295615" y="0"/>
                    <a:pt x="222876" y="77362"/>
                    <a:pt x="222876" y="179994"/>
                  </a:cubicBezTo>
                  <a:cubicBezTo>
                    <a:pt x="222876" y="223273"/>
                    <a:pt x="235318" y="261956"/>
                    <a:pt x="258982" y="291872"/>
                  </a:cubicBezTo>
                  <a:cubicBezTo>
                    <a:pt x="290957" y="332101"/>
                    <a:pt x="340985" y="356305"/>
                    <a:pt x="392018" y="356305"/>
                  </a:cubicBezTo>
                  <a:cubicBezTo>
                    <a:pt x="431723" y="356305"/>
                    <a:pt x="470899" y="341879"/>
                    <a:pt x="501868" y="315059"/>
                  </a:cubicBezTo>
                  <a:cubicBezTo>
                    <a:pt x="539509" y="283110"/>
                    <a:pt x="560155" y="235131"/>
                    <a:pt x="560155" y="181545"/>
                  </a:cubicBezTo>
                  <a:cubicBezTo>
                    <a:pt x="560155" y="129935"/>
                    <a:pt x="547715" y="91788"/>
                    <a:pt x="519921" y="59304"/>
                  </a:cubicBezTo>
                  <a:cubicBezTo>
                    <a:pt x="486886" y="21691"/>
                    <a:pt x="440988" y="0"/>
                    <a:pt x="393077" y="0"/>
                  </a:cubicBezTo>
                  <a:moveTo>
                    <a:pt x="43306" y="310946"/>
                  </a:moveTo>
                  <a:lnTo>
                    <a:pt x="43306" y="6198"/>
                  </a:lnTo>
                  <a:lnTo>
                    <a:pt x="0" y="6198"/>
                  </a:lnTo>
                  <a:lnTo>
                    <a:pt x="0" y="350105"/>
                  </a:lnTo>
                  <a:lnTo>
                    <a:pt x="194237" y="350105"/>
                  </a:lnTo>
                  <a:lnTo>
                    <a:pt x="194237" y="310946"/>
                  </a:lnTo>
                  <a:lnTo>
                    <a:pt x="43306" y="310946"/>
                  </a:lnTo>
                  <a:close/>
                </a:path>
              </a:pathLst>
            </a:custGeom>
            <a:solidFill>
              <a:schemeClr val="accent2"/>
            </a:solidFill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AF1DE142-0841-7DF0-C9DB-CA5D14FA66F5}"/>
                </a:ext>
              </a:extLst>
            </p:cNvPr>
            <p:cNvSpPr/>
            <p:nvPr/>
          </p:nvSpPr>
          <p:spPr bwMode="gray">
            <a:xfrm>
              <a:off x="-161925" y="-1630732"/>
              <a:ext cx="10575647" cy="1701544"/>
            </a:xfrm>
            <a:custGeom>
              <a:avLst/>
              <a:gdLst>
                <a:gd name="connsiteX0" fmla="*/ 7802033 w 10575647"/>
                <a:gd name="connsiteY0" fmla="*/ 380187 h 1701544"/>
                <a:gd name="connsiteX1" fmla="*/ 7621138 w 10575647"/>
                <a:gd name="connsiteY1" fmla="*/ 380187 h 1701544"/>
                <a:gd name="connsiteX2" fmla="*/ 7621138 w 10575647"/>
                <a:gd name="connsiteY2" fmla="*/ 1271563 h 1701544"/>
                <a:gd name="connsiteX3" fmla="*/ 7802033 w 10575647"/>
                <a:gd name="connsiteY3" fmla="*/ 1271563 h 1701544"/>
                <a:gd name="connsiteX4" fmla="*/ 7802033 w 10575647"/>
                <a:gd name="connsiteY4" fmla="*/ 380187 h 1701544"/>
                <a:gd name="connsiteX5" fmla="*/ 706522 w 10575647"/>
                <a:gd name="connsiteY5" fmla="*/ 1271563 h 1701544"/>
                <a:gd name="connsiteX6" fmla="*/ 902065 w 10575647"/>
                <a:gd name="connsiteY6" fmla="*/ 1271563 h 1701544"/>
                <a:gd name="connsiteX7" fmla="*/ 902065 w 10575647"/>
                <a:gd name="connsiteY7" fmla="*/ 0 h 1701544"/>
                <a:gd name="connsiteX8" fmla="*/ 706522 w 10575647"/>
                <a:gd name="connsiteY8" fmla="*/ 0 h 1701544"/>
                <a:gd name="connsiteX9" fmla="*/ 706522 w 10575647"/>
                <a:gd name="connsiteY9" fmla="*/ 553717 h 1701544"/>
                <a:gd name="connsiteX10" fmla="*/ 195543 w 10575647"/>
                <a:gd name="connsiteY10" fmla="*/ 553717 h 1701544"/>
                <a:gd name="connsiteX11" fmla="*/ 195543 w 10575647"/>
                <a:gd name="connsiteY11" fmla="*/ 0 h 1701544"/>
                <a:gd name="connsiteX12" fmla="*/ 0 w 10575647"/>
                <a:gd name="connsiteY12" fmla="*/ 0 h 1701544"/>
                <a:gd name="connsiteX13" fmla="*/ 0 w 10575647"/>
                <a:gd name="connsiteY13" fmla="*/ 1271563 h 1701544"/>
                <a:gd name="connsiteX14" fmla="*/ 195543 w 10575647"/>
                <a:gd name="connsiteY14" fmla="*/ 1271563 h 1701544"/>
                <a:gd name="connsiteX15" fmla="*/ 195543 w 10575647"/>
                <a:gd name="connsiteY15" fmla="*/ 727142 h 1701544"/>
                <a:gd name="connsiteX16" fmla="*/ 706522 w 10575647"/>
                <a:gd name="connsiteY16" fmla="*/ 727142 h 1701544"/>
                <a:gd name="connsiteX17" fmla="*/ 706522 w 10575647"/>
                <a:gd name="connsiteY17" fmla="*/ 1271563 h 1701544"/>
                <a:gd name="connsiteX18" fmla="*/ 1306185 w 10575647"/>
                <a:gd name="connsiteY18" fmla="*/ 1690649 h 1701544"/>
                <a:gd name="connsiteX19" fmla="*/ 1654904 w 10575647"/>
                <a:gd name="connsiteY19" fmla="*/ 1036061 h 1701544"/>
                <a:gd name="connsiteX20" fmla="*/ 1306185 w 10575647"/>
                <a:gd name="connsiteY20" fmla="*/ 381469 h 1701544"/>
                <a:gd name="connsiteX21" fmla="*/ 1090234 w 10575647"/>
                <a:gd name="connsiteY21" fmla="*/ 381469 h 1701544"/>
                <a:gd name="connsiteX22" fmla="*/ 1438900 w 10575647"/>
                <a:gd name="connsiteY22" fmla="*/ 1036061 h 1701544"/>
                <a:gd name="connsiteX23" fmla="*/ 1090234 w 10575647"/>
                <a:gd name="connsiteY23" fmla="*/ 1690649 h 1701544"/>
                <a:gd name="connsiteX24" fmla="*/ 1306185 w 10575647"/>
                <a:gd name="connsiteY24" fmla="*/ 1690649 h 1701544"/>
                <a:gd name="connsiteX25" fmla="*/ 2581808 w 10575647"/>
                <a:gd name="connsiteY25" fmla="*/ 828654 h 1701544"/>
                <a:gd name="connsiteX26" fmla="*/ 2317883 w 10575647"/>
                <a:gd name="connsiteY26" fmla="*/ 1129505 h 1701544"/>
                <a:gd name="connsiteX27" fmla="*/ 2065011 w 10575647"/>
                <a:gd name="connsiteY27" fmla="*/ 832338 h 1701544"/>
                <a:gd name="connsiteX28" fmla="*/ 2327068 w 10575647"/>
                <a:gd name="connsiteY28" fmla="*/ 525990 h 1701544"/>
                <a:gd name="connsiteX29" fmla="*/ 2581808 w 10575647"/>
                <a:gd name="connsiteY29" fmla="*/ 828654 h 1701544"/>
                <a:gd name="connsiteX30" fmla="*/ 2581808 w 10575647"/>
                <a:gd name="connsiteY30" fmla="*/ 1271563 h 1701544"/>
                <a:gd name="connsiteX31" fmla="*/ 2762608 w 10575647"/>
                <a:gd name="connsiteY31" fmla="*/ 1271563 h 1701544"/>
                <a:gd name="connsiteX32" fmla="*/ 2762608 w 10575647"/>
                <a:gd name="connsiteY32" fmla="*/ 0 h 1701544"/>
                <a:gd name="connsiteX33" fmla="*/ 2581808 w 10575647"/>
                <a:gd name="connsiteY33" fmla="*/ 0 h 1701544"/>
                <a:gd name="connsiteX34" fmla="*/ 2581808 w 10575647"/>
                <a:gd name="connsiteY34" fmla="*/ 476356 h 1701544"/>
                <a:gd name="connsiteX35" fmla="*/ 2297581 w 10575647"/>
                <a:gd name="connsiteY35" fmla="*/ 359885 h 1701544"/>
                <a:gd name="connsiteX36" fmla="*/ 1876785 w 10575647"/>
                <a:gd name="connsiteY36" fmla="*/ 830470 h 1701544"/>
                <a:gd name="connsiteX37" fmla="*/ 2297581 w 10575647"/>
                <a:gd name="connsiteY37" fmla="*/ 1291865 h 1701544"/>
                <a:gd name="connsiteX38" fmla="*/ 2581808 w 10575647"/>
                <a:gd name="connsiteY38" fmla="*/ 1163217 h 1701544"/>
                <a:gd name="connsiteX39" fmla="*/ 2581808 w 10575647"/>
                <a:gd name="connsiteY39" fmla="*/ 1271563 h 1701544"/>
                <a:gd name="connsiteX40" fmla="*/ 3437445 w 10575647"/>
                <a:gd name="connsiteY40" fmla="*/ 542393 h 1701544"/>
                <a:gd name="connsiteX41" fmla="*/ 3460310 w 10575647"/>
                <a:gd name="connsiteY41" fmla="*/ 545331 h 1701544"/>
                <a:gd name="connsiteX42" fmla="*/ 3460310 w 10575647"/>
                <a:gd name="connsiteY42" fmla="*/ 359885 h 1701544"/>
                <a:gd name="connsiteX43" fmla="*/ 3406830 w 10575647"/>
                <a:gd name="connsiteY43" fmla="*/ 359885 h 1701544"/>
                <a:gd name="connsiteX44" fmla="*/ 3231965 w 10575647"/>
                <a:gd name="connsiteY44" fmla="*/ 415877 h 1701544"/>
                <a:gd name="connsiteX45" fmla="*/ 3187194 w 10575647"/>
                <a:gd name="connsiteY45" fmla="*/ 462091 h 1701544"/>
                <a:gd name="connsiteX46" fmla="*/ 3187194 w 10575647"/>
                <a:gd name="connsiteY46" fmla="*/ 380187 h 1701544"/>
                <a:gd name="connsiteX47" fmla="*/ 3006395 w 10575647"/>
                <a:gd name="connsiteY47" fmla="*/ 380187 h 1701544"/>
                <a:gd name="connsiteX48" fmla="*/ 3006395 w 10575647"/>
                <a:gd name="connsiteY48" fmla="*/ 1271563 h 1701544"/>
                <a:gd name="connsiteX49" fmla="*/ 3187194 w 10575647"/>
                <a:gd name="connsiteY49" fmla="*/ 1271563 h 1701544"/>
                <a:gd name="connsiteX50" fmla="*/ 3187194 w 10575647"/>
                <a:gd name="connsiteY50" fmla="*/ 819411 h 1701544"/>
                <a:gd name="connsiteX51" fmla="*/ 3233517 w 10575647"/>
                <a:gd name="connsiteY51" fmla="*/ 629638 h 1701544"/>
                <a:gd name="connsiteX52" fmla="*/ 3401277 w 10575647"/>
                <a:gd name="connsiteY52" fmla="*/ 540683 h 1701544"/>
                <a:gd name="connsiteX53" fmla="*/ 3437445 w 10575647"/>
                <a:gd name="connsiteY53" fmla="*/ 542393 h 1701544"/>
                <a:gd name="connsiteX54" fmla="*/ 4250980 w 10575647"/>
                <a:gd name="connsiteY54" fmla="*/ 826838 h 1701544"/>
                <a:gd name="connsiteX55" fmla="*/ 3983364 w 10575647"/>
                <a:gd name="connsiteY55" fmla="*/ 1122077 h 1701544"/>
                <a:gd name="connsiteX56" fmla="*/ 3713875 w 10575647"/>
                <a:gd name="connsiteY56" fmla="*/ 826838 h 1701544"/>
                <a:gd name="connsiteX57" fmla="*/ 3985180 w 10575647"/>
                <a:gd name="connsiteY57" fmla="*/ 529677 h 1701544"/>
                <a:gd name="connsiteX58" fmla="*/ 4250980 w 10575647"/>
                <a:gd name="connsiteY58" fmla="*/ 826838 h 1701544"/>
                <a:gd name="connsiteX59" fmla="*/ 4435464 w 10575647"/>
                <a:gd name="connsiteY59" fmla="*/ 828654 h 1701544"/>
                <a:gd name="connsiteX60" fmla="*/ 3985180 w 10575647"/>
                <a:gd name="connsiteY60" fmla="*/ 359885 h 1701544"/>
                <a:gd name="connsiteX61" fmla="*/ 3529338 w 10575647"/>
                <a:gd name="connsiteY61" fmla="*/ 824916 h 1701544"/>
                <a:gd name="connsiteX62" fmla="*/ 3979622 w 10575647"/>
                <a:gd name="connsiteY62" fmla="*/ 1291865 h 1701544"/>
                <a:gd name="connsiteX63" fmla="*/ 4435464 w 10575647"/>
                <a:gd name="connsiteY63" fmla="*/ 828654 h 1701544"/>
                <a:gd name="connsiteX64" fmla="*/ 5261608 w 10575647"/>
                <a:gd name="connsiteY64" fmla="*/ 828654 h 1701544"/>
                <a:gd name="connsiteX65" fmla="*/ 5205508 w 10575647"/>
                <a:gd name="connsiteY65" fmla="*/ 1025854 h 1701544"/>
                <a:gd name="connsiteX66" fmla="*/ 5005052 w 10575647"/>
                <a:gd name="connsiteY66" fmla="*/ 1122077 h 1701544"/>
                <a:gd name="connsiteX67" fmla="*/ 4746675 w 10575647"/>
                <a:gd name="connsiteY67" fmla="*/ 823153 h 1701544"/>
                <a:gd name="connsiteX68" fmla="*/ 5008683 w 10575647"/>
                <a:gd name="connsiteY68" fmla="*/ 529677 h 1701544"/>
                <a:gd name="connsiteX69" fmla="*/ 5200378 w 10575647"/>
                <a:gd name="connsiteY69" fmla="*/ 617081 h 1701544"/>
                <a:gd name="connsiteX70" fmla="*/ 5261608 w 10575647"/>
                <a:gd name="connsiteY70" fmla="*/ 828654 h 1701544"/>
                <a:gd name="connsiteX71" fmla="*/ 5327264 w 10575647"/>
                <a:gd name="connsiteY71" fmla="*/ 1583314 h 1701544"/>
                <a:gd name="connsiteX72" fmla="*/ 5446113 w 10575647"/>
                <a:gd name="connsiteY72" fmla="*/ 1256819 h 1701544"/>
                <a:gd name="connsiteX73" fmla="*/ 5446113 w 10575647"/>
                <a:gd name="connsiteY73" fmla="*/ 380187 h 1701544"/>
                <a:gd name="connsiteX74" fmla="*/ 5265239 w 10575647"/>
                <a:gd name="connsiteY74" fmla="*/ 380187 h 1701544"/>
                <a:gd name="connsiteX75" fmla="*/ 5265239 w 10575647"/>
                <a:gd name="connsiteY75" fmla="*/ 488537 h 1701544"/>
                <a:gd name="connsiteX76" fmla="*/ 4982875 w 10575647"/>
                <a:gd name="connsiteY76" fmla="*/ 359885 h 1701544"/>
                <a:gd name="connsiteX77" fmla="*/ 4699394 w 10575647"/>
                <a:gd name="connsiteY77" fmla="*/ 465190 h 1701544"/>
                <a:gd name="connsiteX78" fmla="*/ 4558400 w 10575647"/>
                <a:gd name="connsiteY78" fmla="*/ 828654 h 1701544"/>
                <a:gd name="connsiteX79" fmla="*/ 4971816 w 10575647"/>
                <a:gd name="connsiteY79" fmla="*/ 1291865 h 1701544"/>
                <a:gd name="connsiteX80" fmla="*/ 5265239 w 10575647"/>
                <a:gd name="connsiteY80" fmla="*/ 1150553 h 1701544"/>
                <a:gd name="connsiteX81" fmla="*/ 5265239 w 10575647"/>
                <a:gd name="connsiteY81" fmla="*/ 1267931 h 1701544"/>
                <a:gd name="connsiteX82" fmla="*/ 5206095 w 10575647"/>
                <a:gd name="connsiteY82" fmla="*/ 1457116 h 1701544"/>
                <a:gd name="connsiteX83" fmla="*/ 4999546 w 10575647"/>
                <a:gd name="connsiteY83" fmla="*/ 1533625 h 1701544"/>
                <a:gd name="connsiteX84" fmla="*/ 4811695 w 10575647"/>
                <a:gd name="connsiteY84" fmla="*/ 1487409 h 1701544"/>
                <a:gd name="connsiteX85" fmla="*/ 4733588 w 10575647"/>
                <a:gd name="connsiteY85" fmla="*/ 1416300 h 1701544"/>
                <a:gd name="connsiteX86" fmla="*/ 4719215 w 10575647"/>
                <a:gd name="connsiteY86" fmla="*/ 1401339 h 1701544"/>
                <a:gd name="connsiteX87" fmla="*/ 4595103 w 10575647"/>
                <a:gd name="connsiteY87" fmla="*/ 1525451 h 1701544"/>
                <a:gd name="connsiteX88" fmla="*/ 4607819 w 10575647"/>
                <a:gd name="connsiteY88" fmla="*/ 1539824 h 1701544"/>
                <a:gd name="connsiteX89" fmla="*/ 4999546 w 10575647"/>
                <a:gd name="connsiteY89" fmla="*/ 1701544 h 1701544"/>
                <a:gd name="connsiteX90" fmla="*/ 5327264 w 10575647"/>
                <a:gd name="connsiteY90" fmla="*/ 1583314 h 1701544"/>
                <a:gd name="connsiteX91" fmla="*/ 6317923 w 10575647"/>
                <a:gd name="connsiteY91" fmla="*/ 747497 h 1701544"/>
                <a:gd name="connsiteX92" fmla="*/ 5805203 w 10575647"/>
                <a:gd name="connsiteY92" fmla="*/ 747497 h 1701544"/>
                <a:gd name="connsiteX93" fmla="*/ 5845913 w 10575647"/>
                <a:gd name="connsiteY93" fmla="*/ 635144 h 1701544"/>
                <a:gd name="connsiteX94" fmla="*/ 6057989 w 10575647"/>
                <a:gd name="connsiteY94" fmla="*/ 525990 h 1701544"/>
                <a:gd name="connsiteX95" fmla="*/ 6275730 w 10575647"/>
                <a:gd name="connsiteY95" fmla="*/ 633487 h 1701544"/>
                <a:gd name="connsiteX96" fmla="*/ 6317923 w 10575647"/>
                <a:gd name="connsiteY96" fmla="*/ 747497 h 1701544"/>
                <a:gd name="connsiteX97" fmla="*/ 6508188 w 10575647"/>
                <a:gd name="connsiteY97" fmla="*/ 872890 h 1701544"/>
                <a:gd name="connsiteX98" fmla="*/ 6510094 w 10575647"/>
                <a:gd name="connsiteY98" fmla="*/ 815779 h 1701544"/>
                <a:gd name="connsiteX99" fmla="*/ 6057989 w 10575647"/>
                <a:gd name="connsiteY99" fmla="*/ 359885 h 1701544"/>
                <a:gd name="connsiteX100" fmla="*/ 5609538 w 10575647"/>
                <a:gd name="connsiteY100" fmla="*/ 828654 h 1701544"/>
                <a:gd name="connsiteX101" fmla="*/ 6063495 w 10575647"/>
                <a:gd name="connsiteY101" fmla="*/ 1291865 h 1701544"/>
                <a:gd name="connsiteX102" fmla="*/ 6460066 w 10575647"/>
                <a:gd name="connsiteY102" fmla="*/ 1051710 h 1701544"/>
                <a:gd name="connsiteX103" fmla="*/ 6469966 w 10575647"/>
                <a:gd name="connsiteY103" fmla="*/ 1031572 h 1701544"/>
                <a:gd name="connsiteX104" fmla="*/ 6308923 w 10575647"/>
                <a:gd name="connsiteY104" fmla="*/ 971517 h 1701544"/>
                <a:gd name="connsiteX105" fmla="*/ 6300559 w 10575647"/>
                <a:gd name="connsiteY105" fmla="*/ 986689 h 1701544"/>
                <a:gd name="connsiteX106" fmla="*/ 6063495 w 10575647"/>
                <a:gd name="connsiteY106" fmla="*/ 1122077 h 1701544"/>
                <a:gd name="connsiteX107" fmla="*/ 5850784 w 10575647"/>
                <a:gd name="connsiteY107" fmla="*/ 1013832 h 1701544"/>
                <a:gd name="connsiteX108" fmla="*/ 5802132 w 10575647"/>
                <a:gd name="connsiteY108" fmla="*/ 891377 h 1701544"/>
                <a:gd name="connsiteX109" fmla="*/ 6506547 w 10575647"/>
                <a:gd name="connsiteY109" fmla="*/ 891377 h 1701544"/>
                <a:gd name="connsiteX110" fmla="*/ 6508188 w 10575647"/>
                <a:gd name="connsiteY110" fmla="*/ 872890 h 1701544"/>
                <a:gd name="connsiteX111" fmla="*/ 7205139 w 10575647"/>
                <a:gd name="connsiteY111" fmla="*/ 1271563 h 1701544"/>
                <a:gd name="connsiteX112" fmla="*/ 7385928 w 10575647"/>
                <a:gd name="connsiteY112" fmla="*/ 1271563 h 1701544"/>
                <a:gd name="connsiteX113" fmla="*/ 7385928 w 10575647"/>
                <a:gd name="connsiteY113" fmla="*/ 677294 h 1701544"/>
                <a:gd name="connsiteX114" fmla="*/ 7307154 w 10575647"/>
                <a:gd name="connsiteY114" fmla="*/ 435163 h 1701544"/>
                <a:gd name="connsiteX115" fmla="*/ 7096189 w 10575647"/>
                <a:gd name="connsiteY115" fmla="*/ 359885 h 1701544"/>
                <a:gd name="connsiteX116" fmla="*/ 6863625 w 10575647"/>
                <a:gd name="connsiteY116" fmla="*/ 463694 h 1701544"/>
                <a:gd name="connsiteX117" fmla="*/ 6863625 w 10575647"/>
                <a:gd name="connsiteY117" fmla="*/ 380187 h 1701544"/>
                <a:gd name="connsiteX118" fmla="*/ 6682836 w 10575647"/>
                <a:gd name="connsiteY118" fmla="*/ 380187 h 1701544"/>
                <a:gd name="connsiteX119" fmla="*/ 6682836 w 10575647"/>
                <a:gd name="connsiteY119" fmla="*/ 1271563 h 1701544"/>
                <a:gd name="connsiteX120" fmla="*/ 6863625 w 10575647"/>
                <a:gd name="connsiteY120" fmla="*/ 1271563 h 1701544"/>
                <a:gd name="connsiteX121" fmla="*/ 6863625 w 10575647"/>
                <a:gd name="connsiteY121" fmla="*/ 732701 h 1701544"/>
                <a:gd name="connsiteX122" fmla="*/ 6913971 w 10575647"/>
                <a:gd name="connsiteY122" fmla="*/ 591066 h 1701544"/>
                <a:gd name="connsiteX123" fmla="*/ 7061143 w 10575647"/>
                <a:gd name="connsiteY123" fmla="*/ 525990 h 1701544"/>
                <a:gd name="connsiteX124" fmla="*/ 7177769 w 10575647"/>
                <a:gd name="connsiteY124" fmla="*/ 575089 h 1701544"/>
                <a:gd name="connsiteX125" fmla="*/ 7205139 w 10575647"/>
                <a:gd name="connsiteY125" fmla="*/ 708709 h 1701544"/>
                <a:gd name="connsiteX126" fmla="*/ 7205139 w 10575647"/>
                <a:gd name="connsiteY126" fmla="*/ 1271563 h 1701544"/>
                <a:gd name="connsiteX127" fmla="*/ 7822309 w 10575647"/>
                <a:gd name="connsiteY127" fmla="*/ 162418 h 1701544"/>
                <a:gd name="connsiteX128" fmla="*/ 7713412 w 10575647"/>
                <a:gd name="connsiteY128" fmla="*/ 49847 h 1701544"/>
                <a:gd name="connsiteX129" fmla="*/ 7602662 w 10575647"/>
                <a:gd name="connsiteY129" fmla="*/ 160549 h 1701544"/>
                <a:gd name="connsiteX130" fmla="*/ 7711560 w 10575647"/>
                <a:gd name="connsiteY130" fmla="*/ 271303 h 1701544"/>
                <a:gd name="connsiteX131" fmla="*/ 7822309 w 10575647"/>
                <a:gd name="connsiteY131" fmla="*/ 162418 h 1701544"/>
                <a:gd name="connsiteX132" fmla="*/ 8704760 w 10575647"/>
                <a:gd name="connsiteY132" fmla="*/ 826838 h 1701544"/>
                <a:gd name="connsiteX133" fmla="*/ 8437150 w 10575647"/>
                <a:gd name="connsiteY133" fmla="*/ 1122077 h 1701544"/>
                <a:gd name="connsiteX134" fmla="*/ 8167740 w 10575647"/>
                <a:gd name="connsiteY134" fmla="*/ 826838 h 1701544"/>
                <a:gd name="connsiteX135" fmla="*/ 8439003 w 10575647"/>
                <a:gd name="connsiteY135" fmla="*/ 529677 h 1701544"/>
                <a:gd name="connsiteX136" fmla="*/ 8704760 w 10575647"/>
                <a:gd name="connsiteY136" fmla="*/ 826838 h 1701544"/>
                <a:gd name="connsiteX137" fmla="*/ 8889307 w 10575647"/>
                <a:gd name="connsiteY137" fmla="*/ 828654 h 1701544"/>
                <a:gd name="connsiteX138" fmla="*/ 8439003 w 10575647"/>
                <a:gd name="connsiteY138" fmla="*/ 359885 h 1701544"/>
                <a:gd name="connsiteX139" fmla="*/ 7983193 w 10575647"/>
                <a:gd name="connsiteY139" fmla="*/ 824916 h 1701544"/>
                <a:gd name="connsiteX140" fmla="*/ 8433444 w 10575647"/>
                <a:gd name="connsiteY140" fmla="*/ 1291865 h 1701544"/>
                <a:gd name="connsiteX141" fmla="*/ 8889307 w 10575647"/>
                <a:gd name="connsiteY141" fmla="*/ 828654 h 1701544"/>
                <a:gd name="connsiteX142" fmla="*/ 9658150 w 10575647"/>
                <a:gd name="connsiteY142" fmla="*/ 1197940 h 1701544"/>
                <a:gd name="connsiteX143" fmla="*/ 9749630 w 10575647"/>
                <a:gd name="connsiteY143" fmla="*/ 944968 h 1701544"/>
                <a:gd name="connsiteX144" fmla="*/ 9749630 w 10575647"/>
                <a:gd name="connsiteY144" fmla="*/ 380187 h 1701544"/>
                <a:gd name="connsiteX145" fmla="*/ 9566988 w 10575647"/>
                <a:gd name="connsiteY145" fmla="*/ 380187 h 1701544"/>
                <a:gd name="connsiteX146" fmla="*/ 9566988 w 10575647"/>
                <a:gd name="connsiteY146" fmla="*/ 944968 h 1701544"/>
                <a:gd name="connsiteX147" fmla="*/ 9535012 w 10575647"/>
                <a:gd name="connsiteY147" fmla="*/ 1068222 h 1701544"/>
                <a:gd name="connsiteX148" fmla="*/ 9399010 w 10575647"/>
                <a:gd name="connsiteY148" fmla="*/ 1125815 h 1701544"/>
                <a:gd name="connsiteX149" fmla="*/ 9229233 w 10575647"/>
                <a:gd name="connsiteY149" fmla="*/ 941225 h 1701544"/>
                <a:gd name="connsiteX150" fmla="*/ 9229233 w 10575647"/>
                <a:gd name="connsiteY150" fmla="*/ 380187 h 1701544"/>
                <a:gd name="connsiteX151" fmla="*/ 9048391 w 10575647"/>
                <a:gd name="connsiteY151" fmla="*/ 380187 h 1701544"/>
                <a:gd name="connsiteX152" fmla="*/ 9048391 w 10575647"/>
                <a:gd name="connsiteY152" fmla="*/ 944968 h 1701544"/>
                <a:gd name="connsiteX153" fmla="*/ 9139659 w 10575647"/>
                <a:gd name="connsiteY153" fmla="*/ 1195965 h 1701544"/>
                <a:gd name="connsiteX154" fmla="*/ 9399010 w 10575647"/>
                <a:gd name="connsiteY154" fmla="*/ 1291865 h 1701544"/>
                <a:gd name="connsiteX155" fmla="*/ 9658150 w 10575647"/>
                <a:gd name="connsiteY155" fmla="*/ 1197945 h 1701544"/>
                <a:gd name="connsiteX156" fmla="*/ 10385594 w 10575647"/>
                <a:gd name="connsiteY156" fmla="*/ 653307 h 1701544"/>
                <a:gd name="connsiteX157" fmla="*/ 10567335 w 10575647"/>
                <a:gd name="connsiteY157" fmla="*/ 653307 h 1701544"/>
                <a:gd name="connsiteX158" fmla="*/ 10566383 w 10575647"/>
                <a:gd name="connsiteY158" fmla="*/ 632041 h 1701544"/>
                <a:gd name="connsiteX159" fmla="*/ 10249009 w 10575647"/>
                <a:gd name="connsiteY159" fmla="*/ 359885 h 1701544"/>
                <a:gd name="connsiteX160" fmla="*/ 9929730 w 10575647"/>
                <a:gd name="connsiteY160" fmla="*/ 627446 h 1701544"/>
                <a:gd name="connsiteX161" fmla="*/ 10212587 w 10575647"/>
                <a:gd name="connsiteY161" fmla="*/ 903611 h 1701544"/>
                <a:gd name="connsiteX162" fmla="*/ 10391099 w 10575647"/>
                <a:gd name="connsiteY162" fmla="*/ 1031625 h 1701544"/>
                <a:gd name="connsiteX163" fmla="*/ 10252715 w 10575647"/>
                <a:gd name="connsiteY163" fmla="*/ 1136874 h 1701544"/>
                <a:gd name="connsiteX164" fmla="*/ 10093843 w 10575647"/>
                <a:gd name="connsiteY164" fmla="*/ 1007579 h 1701544"/>
                <a:gd name="connsiteX165" fmla="*/ 10092096 w 10575647"/>
                <a:gd name="connsiteY165" fmla="*/ 989257 h 1701544"/>
                <a:gd name="connsiteX166" fmla="*/ 9913054 w 10575647"/>
                <a:gd name="connsiteY166" fmla="*/ 989257 h 1701544"/>
                <a:gd name="connsiteX167" fmla="*/ 9915066 w 10575647"/>
                <a:gd name="connsiteY167" fmla="*/ 1011216 h 1701544"/>
                <a:gd name="connsiteX168" fmla="*/ 10252715 w 10575647"/>
                <a:gd name="connsiteY168" fmla="*/ 1291865 h 1701544"/>
                <a:gd name="connsiteX169" fmla="*/ 10575647 w 10575647"/>
                <a:gd name="connsiteY169" fmla="*/ 1024303 h 1701544"/>
                <a:gd name="connsiteX170" fmla="*/ 10501426 w 10575647"/>
                <a:gd name="connsiteY170" fmla="*/ 843879 h 1701544"/>
                <a:gd name="connsiteX171" fmla="*/ 10285750 w 10575647"/>
                <a:gd name="connsiteY171" fmla="*/ 740769 h 1701544"/>
                <a:gd name="connsiteX172" fmla="*/ 10110519 w 10575647"/>
                <a:gd name="connsiteY172" fmla="*/ 616440 h 1701544"/>
                <a:gd name="connsiteX173" fmla="*/ 10243398 w 10575647"/>
                <a:gd name="connsiteY173" fmla="*/ 514877 h 1701544"/>
                <a:gd name="connsiteX174" fmla="*/ 10385594 w 10575647"/>
                <a:gd name="connsiteY174" fmla="*/ 623762 h 1701544"/>
                <a:gd name="connsiteX175" fmla="*/ 10385594 w 10575647"/>
                <a:gd name="connsiteY175" fmla="*/ 653307 h 170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10575647" h="1701544">
                  <a:moveTo>
                    <a:pt x="7802033" y="380187"/>
                  </a:moveTo>
                  <a:lnTo>
                    <a:pt x="7621138" y="380187"/>
                  </a:lnTo>
                  <a:lnTo>
                    <a:pt x="7621138" y="1271563"/>
                  </a:lnTo>
                  <a:lnTo>
                    <a:pt x="7802033" y="1271563"/>
                  </a:lnTo>
                  <a:lnTo>
                    <a:pt x="7802033" y="380187"/>
                  </a:lnTo>
                  <a:close/>
                  <a:moveTo>
                    <a:pt x="706522" y="1271563"/>
                  </a:moveTo>
                  <a:lnTo>
                    <a:pt x="902065" y="1271563"/>
                  </a:lnTo>
                  <a:lnTo>
                    <a:pt x="902065" y="0"/>
                  </a:lnTo>
                  <a:lnTo>
                    <a:pt x="706522" y="0"/>
                  </a:lnTo>
                  <a:lnTo>
                    <a:pt x="706522" y="553717"/>
                  </a:lnTo>
                  <a:lnTo>
                    <a:pt x="195543" y="553717"/>
                  </a:lnTo>
                  <a:lnTo>
                    <a:pt x="195543" y="0"/>
                  </a:lnTo>
                  <a:lnTo>
                    <a:pt x="0" y="0"/>
                  </a:lnTo>
                  <a:lnTo>
                    <a:pt x="0" y="1271563"/>
                  </a:lnTo>
                  <a:lnTo>
                    <a:pt x="195543" y="1271563"/>
                  </a:lnTo>
                  <a:lnTo>
                    <a:pt x="195543" y="727142"/>
                  </a:lnTo>
                  <a:lnTo>
                    <a:pt x="706522" y="727142"/>
                  </a:lnTo>
                  <a:lnTo>
                    <a:pt x="706522" y="1271563"/>
                  </a:lnTo>
                  <a:close/>
                  <a:moveTo>
                    <a:pt x="1306185" y="1690649"/>
                  </a:moveTo>
                  <a:lnTo>
                    <a:pt x="1654904" y="1036061"/>
                  </a:lnTo>
                  <a:lnTo>
                    <a:pt x="1306185" y="381469"/>
                  </a:lnTo>
                  <a:lnTo>
                    <a:pt x="1090234" y="381469"/>
                  </a:lnTo>
                  <a:lnTo>
                    <a:pt x="1438900" y="1036061"/>
                  </a:lnTo>
                  <a:lnTo>
                    <a:pt x="1090234" y="1690649"/>
                  </a:lnTo>
                  <a:lnTo>
                    <a:pt x="1306185" y="1690649"/>
                  </a:lnTo>
                  <a:close/>
                  <a:moveTo>
                    <a:pt x="2581808" y="828654"/>
                  </a:moveTo>
                  <a:cubicBezTo>
                    <a:pt x="2581808" y="1002989"/>
                    <a:pt x="2470789" y="1129505"/>
                    <a:pt x="2317883" y="1129505"/>
                  </a:cubicBezTo>
                  <a:cubicBezTo>
                    <a:pt x="2168980" y="1129505"/>
                    <a:pt x="2065011" y="1007262"/>
                    <a:pt x="2065011" y="832338"/>
                  </a:cubicBezTo>
                  <a:cubicBezTo>
                    <a:pt x="2065011" y="649088"/>
                    <a:pt x="2170314" y="525990"/>
                    <a:pt x="2327068" y="525990"/>
                  </a:cubicBezTo>
                  <a:cubicBezTo>
                    <a:pt x="2479444" y="525990"/>
                    <a:pt x="2581808" y="647590"/>
                    <a:pt x="2581808" y="828654"/>
                  </a:cubicBezTo>
                  <a:moveTo>
                    <a:pt x="2581808" y="1271563"/>
                  </a:moveTo>
                  <a:lnTo>
                    <a:pt x="2762608" y="1271563"/>
                  </a:lnTo>
                  <a:lnTo>
                    <a:pt x="2762608" y="0"/>
                  </a:lnTo>
                  <a:lnTo>
                    <a:pt x="2581808" y="0"/>
                  </a:lnTo>
                  <a:lnTo>
                    <a:pt x="2581808" y="476356"/>
                  </a:lnTo>
                  <a:cubicBezTo>
                    <a:pt x="2503431" y="397017"/>
                    <a:pt x="2412449" y="359885"/>
                    <a:pt x="2297581" y="359885"/>
                  </a:cubicBezTo>
                  <a:cubicBezTo>
                    <a:pt x="2057690" y="359885"/>
                    <a:pt x="1876785" y="562214"/>
                    <a:pt x="1876785" y="830470"/>
                  </a:cubicBezTo>
                  <a:cubicBezTo>
                    <a:pt x="1876785" y="1102145"/>
                    <a:pt x="2049839" y="1291865"/>
                    <a:pt x="2297581" y="1291865"/>
                  </a:cubicBezTo>
                  <a:cubicBezTo>
                    <a:pt x="2414371" y="1291865"/>
                    <a:pt x="2503061" y="1251959"/>
                    <a:pt x="2581808" y="1163217"/>
                  </a:cubicBezTo>
                  <a:lnTo>
                    <a:pt x="2581808" y="1271563"/>
                  </a:lnTo>
                  <a:close/>
                  <a:moveTo>
                    <a:pt x="3437445" y="542393"/>
                  </a:moveTo>
                  <a:lnTo>
                    <a:pt x="3460310" y="545331"/>
                  </a:lnTo>
                  <a:lnTo>
                    <a:pt x="3460310" y="359885"/>
                  </a:lnTo>
                  <a:lnTo>
                    <a:pt x="3406830" y="359885"/>
                  </a:lnTo>
                  <a:cubicBezTo>
                    <a:pt x="3341169" y="359885"/>
                    <a:pt x="3277430" y="380294"/>
                    <a:pt x="3231965" y="415877"/>
                  </a:cubicBezTo>
                  <a:cubicBezTo>
                    <a:pt x="3213690" y="430035"/>
                    <a:pt x="3199693" y="444353"/>
                    <a:pt x="3187194" y="462091"/>
                  </a:cubicBezTo>
                  <a:lnTo>
                    <a:pt x="3187194" y="380187"/>
                  </a:lnTo>
                  <a:lnTo>
                    <a:pt x="3006395" y="380187"/>
                  </a:lnTo>
                  <a:lnTo>
                    <a:pt x="3006395" y="1271563"/>
                  </a:lnTo>
                  <a:lnTo>
                    <a:pt x="3187194" y="1271563"/>
                  </a:lnTo>
                  <a:lnTo>
                    <a:pt x="3187194" y="819411"/>
                  </a:lnTo>
                  <a:cubicBezTo>
                    <a:pt x="3187194" y="727783"/>
                    <a:pt x="3198894" y="679915"/>
                    <a:pt x="3233517" y="629638"/>
                  </a:cubicBezTo>
                  <a:cubicBezTo>
                    <a:pt x="3272300" y="572310"/>
                    <a:pt x="3331926" y="540683"/>
                    <a:pt x="3401277" y="540683"/>
                  </a:cubicBezTo>
                  <a:cubicBezTo>
                    <a:pt x="3410356" y="540683"/>
                    <a:pt x="3423983" y="540683"/>
                    <a:pt x="3437445" y="542393"/>
                  </a:cubicBezTo>
                  <a:moveTo>
                    <a:pt x="4250980" y="826838"/>
                  </a:moveTo>
                  <a:cubicBezTo>
                    <a:pt x="4250980" y="1000692"/>
                    <a:pt x="4140918" y="1122077"/>
                    <a:pt x="3983364" y="1122077"/>
                  </a:cubicBezTo>
                  <a:cubicBezTo>
                    <a:pt x="3822174" y="1122077"/>
                    <a:pt x="3713875" y="1003466"/>
                    <a:pt x="3713875" y="826838"/>
                  </a:cubicBezTo>
                  <a:cubicBezTo>
                    <a:pt x="3713875" y="649088"/>
                    <a:pt x="3822920" y="529677"/>
                    <a:pt x="3985180" y="529677"/>
                  </a:cubicBezTo>
                  <a:cubicBezTo>
                    <a:pt x="4144179" y="529677"/>
                    <a:pt x="4250980" y="649088"/>
                    <a:pt x="4250980" y="826838"/>
                  </a:cubicBezTo>
                  <a:moveTo>
                    <a:pt x="4435464" y="828654"/>
                  </a:moveTo>
                  <a:cubicBezTo>
                    <a:pt x="4435464" y="557084"/>
                    <a:pt x="4246120" y="359885"/>
                    <a:pt x="3985180" y="359885"/>
                  </a:cubicBezTo>
                  <a:cubicBezTo>
                    <a:pt x="3716818" y="359885"/>
                    <a:pt x="3529338" y="551155"/>
                    <a:pt x="3529338" y="824916"/>
                  </a:cubicBezTo>
                  <a:cubicBezTo>
                    <a:pt x="3529338" y="1099848"/>
                    <a:pt x="3714521" y="1291865"/>
                    <a:pt x="3979622" y="1291865"/>
                  </a:cubicBezTo>
                  <a:cubicBezTo>
                    <a:pt x="4235272" y="1291865"/>
                    <a:pt x="4435464" y="1088418"/>
                    <a:pt x="4435464" y="828654"/>
                  </a:cubicBezTo>
                  <a:moveTo>
                    <a:pt x="5261608" y="828654"/>
                  </a:moveTo>
                  <a:cubicBezTo>
                    <a:pt x="5261608" y="909382"/>
                    <a:pt x="5239596" y="986748"/>
                    <a:pt x="5205508" y="1025854"/>
                  </a:cubicBezTo>
                  <a:cubicBezTo>
                    <a:pt x="5153150" y="1087026"/>
                    <a:pt x="5080062" y="1122077"/>
                    <a:pt x="5005052" y="1122077"/>
                  </a:cubicBezTo>
                  <a:cubicBezTo>
                    <a:pt x="4855296" y="1122077"/>
                    <a:pt x="4746675" y="996361"/>
                    <a:pt x="4746675" y="823153"/>
                  </a:cubicBezTo>
                  <a:cubicBezTo>
                    <a:pt x="4746675" y="650316"/>
                    <a:pt x="4854386" y="529677"/>
                    <a:pt x="5008683" y="529677"/>
                  </a:cubicBezTo>
                  <a:cubicBezTo>
                    <a:pt x="5078193" y="529677"/>
                    <a:pt x="5151652" y="563177"/>
                    <a:pt x="5200378" y="617081"/>
                  </a:cubicBezTo>
                  <a:cubicBezTo>
                    <a:pt x="5246112" y="667892"/>
                    <a:pt x="5261608" y="721266"/>
                    <a:pt x="5261608" y="828654"/>
                  </a:cubicBezTo>
                  <a:moveTo>
                    <a:pt x="5327264" y="1583314"/>
                  </a:moveTo>
                  <a:cubicBezTo>
                    <a:pt x="5409426" y="1504990"/>
                    <a:pt x="5446113" y="1404277"/>
                    <a:pt x="5446113" y="1256819"/>
                  </a:cubicBezTo>
                  <a:lnTo>
                    <a:pt x="5446113" y="380187"/>
                  </a:lnTo>
                  <a:lnTo>
                    <a:pt x="5265239" y="380187"/>
                  </a:lnTo>
                  <a:lnTo>
                    <a:pt x="5265239" y="488537"/>
                  </a:lnTo>
                  <a:cubicBezTo>
                    <a:pt x="5186005" y="398673"/>
                    <a:pt x="5100153" y="359885"/>
                    <a:pt x="4982875" y="359885"/>
                  </a:cubicBezTo>
                  <a:cubicBezTo>
                    <a:pt x="4866567" y="359885"/>
                    <a:pt x="4771201" y="395361"/>
                    <a:pt x="4699394" y="465190"/>
                  </a:cubicBezTo>
                  <a:cubicBezTo>
                    <a:pt x="4611080" y="549710"/>
                    <a:pt x="4558400" y="685574"/>
                    <a:pt x="4558400" y="828654"/>
                  </a:cubicBezTo>
                  <a:cubicBezTo>
                    <a:pt x="4558400" y="1092743"/>
                    <a:pt x="4736097" y="1291865"/>
                    <a:pt x="4971816" y="1291865"/>
                  </a:cubicBezTo>
                  <a:cubicBezTo>
                    <a:pt x="5092032" y="1291865"/>
                    <a:pt x="5185952" y="1246830"/>
                    <a:pt x="5265239" y="1150553"/>
                  </a:cubicBezTo>
                  <a:lnTo>
                    <a:pt x="5265239" y="1267931"/>
                  </a:lnTo>
                  <a:cubicBezTo>
                    <a:pt x="5265239" y="1350745"/>
                    <a:pt x="5245313" y="1414431"/>
                    <a:pt x="5206095" y="1457116"/>
                  </a:cubicBezTo>
                  <a:cubicBezTo>
                    <a:pt x="5162288" y="1504291"/>
                    <a:pt x="5083159" y="1533625"/>
                    <a:pt x="4999546" y="1533625"/>
                  </a:cubicBezTo>
                  <a:cubicBezTo>
                    <a:pt x="4932122" y="1533625"/>
                    <a:pt x="4856471" y="1514979"/>
                    <a:pt x="4811695" y="1487409"/>
                  </a:cubicBezTo>
                  <a:cubicBezTo>
                    <a:pt x="4788777" y="1471596"/>
                    <a:pt x="4771254" y="1455624"/>
                    <a:pt x="4733588" y="1416300"/>
                  </a:cubicBezTo>
                  <a:lnTo>
                    <a:pt x="4719215" y="1401339"/>
                  </a:lnTo>
                  <a:lnTo>
                    <a:pt x="4595103" y="1525451"/>
                  </a:lnTo>
                  <a:lnTo>
                    <a:pt x="4607819" y="1539824"/>
                  </a:lnTo>
                  <a:cubicBezTo>
                    <a:pt x="4703719" y="1647106"/>
                    <a:pt x="4835528" y="1701544"/>
                    <a:pt x="4999546" y="1701544"/>
                  </a:cubicBezTo>
                  <a:cubicBezTo>
                    <a:pt x="5134664" y="1701544"/>
                    <a:pt x="5247981" y="1660675"/>
                    <a:pt x="5327264" y="1583314"/>
                  </a:cubicBezTo>
                  <a:moveTo>
                    <a:pt x="6317923" y="747497"/>
                  </a:moveTo>
                  <a:lnTo>
                    <a:pt x="5805203" y="747497"/>
                  </a:lnTo>
                  <a:cubicBezTo>
                    <a:pt x="5814785" y="696051"/>
                    <a:pt x="5825267" y="667627"/>
                    <a:pt x="5845913" y="635144"/>
                  </a:cubicBezTo>
                  <a:cubicBezTo>
                    <a:pt x="5892024" y="566756"/>
                    <a:pt x="5971327" y="525990"/>
                    <a:pt x="6057989" y="525990"/>
                  </a:cubicBezTo>
                  <a:cubicBezTo>
                    <a:pt x="6144228" y="525990"/>
                    <a:pt x="6225702" y="566274"/>
                    <a:pt x="6275730" y="633487"/>
                  </a:cubicBezTo>
                  <a:cubicBezTo>
                    <a:pt x="6300453" y="669067"/>
                    <a:pt x="6312047" y="699841"/>
                    <a:pt x="6317923" y="747497"/>
                  </a:cubicBezTo>
                  <a:moveTo>
                    <a:pt x="6508188" y="872890"/>
                  </a:moveTo>
                  <a:cubicBezTo>
                    <a:pt x="6510094" y="851683"/>
                    <a:pt x="6510094" y="827426"/>
                    <a:pt x="6510094" y="815779"/>
                  </a:cubicBezTo>
                  <a:cubicBezTo>
                    <a:pt x="6510094" y="555909"/>
                    <a:pt x="6315700" y="359885"/>
                    <a:pt x="6057989" y="359885"/>
                  </a:cubicBezTo>
                  <a:cubicBezTo>
                    <a:pt x="5798109" y="359885"/>
                    <a:pt x="5609538" y="557084"/>
                    <a:pt x="5609538" y="828654"/>
                  </a:cubicBezTo>
                  <a:cubicBezTo>
                    <a:pt x="5609538" y="1097074"/>
                    <a:pt x="5800491" y="1291865"/>
                    <a:pt x="6063495" y="1291865"/>
                  </a:cubicBezTo>
                  <a:cubicBezTo>
                    <a:pt x="6235020" y="1291865"/>
                    <a:pt x="6386956" y="1199867"/>
                    <a:pt x="6460066" y="1051710"/>
                  </a:cubicBezTo>
                  <a:lnTo>
                    <a:pt x="6469966" y="1031572"/>
                  </a:lnTo>
                  <a:lnTo>
                    <a:pt x="6308923" y="971517"/>
                  </a:lnTo>
                  <a:lnTo>
                    <a:pt x="6300559" y="986689"/>
                  </a:lnTo>
                  <a:cubicBezTo>
                    <a:pt x="6254237" y="1068968"/>
                    <a:pt x="6161169" y="1122077"/>
                    <a:pt x="6063495" y="1122077"/>
                  </a:cubicBezTo>
                  <a:cubicBezTo>
                    <a:pt x="5977415" y="1122077"/>
                    <a:pt x="5901923" y="1083664"/>
                    <a:pt x="5850784" y="1013832"/>
                  </a:cubicBezTo>
                  <a:cubicBezTo>
                    <a:pt x="5821932" y="975900"/>
                    <a:pt x="5809438" y="945021"/>
                    <a:pt x="5802132" y="891377"/>
                  </a:cubicBezTo>
                  <a:lnTo>
                    <a:pt x="6506547" y="891377"/>
                  </a:lnTo>
                  <a:lnTo>
                    <a:pt x="6508188" y="872890"/>
                  </a:lnTo>
                  <a:close/>
                  <a:moveTo>
                    <a:pt x="7205139" y="1271563"/>
                  </a:moveTo>
                  <a:lnTo>
                    <a:pt x="7385928" y="1271563"/>
                  </a:lnTo>
                  <a:lnTo>
                    <a:pt x="7385928" y="677294"/>
                  </a:lnTo>
                  <a:cubicBezTo>
                    <a:pt x="7385928" y="554734"/>
                    <a:pt x="7365387" y="491422"/>
                    <a:pt x="7307154" y="435163"/>
                  </a:cubicBezTo>
                  <a:cubicBezTo>
                    <a:pt x="7252520" y="386599"/>
                    <a:pt x="7177557" y="359885"/>
                    <a:pt x="7096189" y="359885"/>
                  </a:cubicBezTo>
                  <a:cubicBezTo>
                    <a:pt x="7000739" y="359885"/>
                    <a:pt x="6929853" y="391193"/>
                    <a:pt x="6863625" y="463694"/>
                  </a:cubicBezTo>
                  <a:lnTo>
                    <a:pt x="6863625" y="380187"/>
                  </a:lnTo>
                  <a:lnTo>
                    <a:pt x="6682836" y="380187"/>
                  </a:lnTo>
                  <a:lnTo>
                    <a:pt x="6682836" y="1271563"/>
                  </a:lnTo>
                  <a:lnTo>
                    <a:pt x="6863625" y="1271563"/>
                  </a:lnTo>
                  <a:lnTo>
                    <a:pt x="6863625" y="732701"/>
                  </a:lnTo>
                  <a:cubicBezTo>
                    <a:pt x="6863625" y="667839"/>
                    <a:pt x="6876278" y="632147"/>
                    <a:pt x="6913971" y="591066"/>
                  </a:cubicBezTo>
                  <a:cubicBezTo>
                    <a:pt x="6951505" y="548481"/>
                    <a:pt x="7002433" y="525990"/>
                    <a:pt x="7061143" y="525990"/>
                  </a:cubicBezTo>
                  <a:cubicBezTo>
                    <a:pt x="7110748" y="525990"/>
                    <a:pt x="7155428" y="544744"/>
                    <a:pt x="7177769" y="575089"/>
                  </a:cubicBezTo>
                  <a:cubicBezTo>
                    <a:pt x="7197410" y="601215"/>
                    <a:pt x="7205139" y="638722"/>
                    <a:pt x="7205139" y="708709"/>
                  </a:cubicBezTo>
                  <a:lnTo>
                    <a:pt x="7205139" y="1271563"/>
                  </a:lnTo>
                  <a:close/>
                  <a:moveTo>
                    <a:pt x="7822309" y="162418"/>
                  </a:moveTo>
                  <a:cubicBezTo>
                    <a:pt x="7822309" y="99268"/>
                    <a:pt x="7774452" y="49847"/>
                    <a:pt x="7713412" y="49847"/>
                  </a:cubicBezTo>
                  <a:cubicBezTo>
                    <a:pt x="7650255" y="49847"/>
                    <a:pt x="7602662" y="97451"/>
                    <a:pt x="7602662" y="160549"/>
                  </a:cubicBezTo>
                  <a:cubicBezTo>
                    <a:pt x="7602662" y="223699"/>
                    <a:pt x="7649514" y="271303"/>
                    <a:pt x="7711560" y="271303"/>
                  </a:cubicBezTo>
                  <a:cubicBezTo>
                    <a:pt x="7773711" y="271303"/>
                    <a:pt x="7822309" y="223432"/>
                    <a:pt x="7822309" y="162418"/>
                  </a:cubicBezTo>
                  <a:moveTo>
                    <a:pt x="8704760" y="826838"/>
                  </a:moveTo>
                  <a:cubicBezTo>
                    <a:pt x="8704760" y="1000692"/>
                    <a:pt x="8594751" y="1122077"/>
                    <a:pt x="8437150" y="1122077"/>
                  </a:cubicBezTo>
                  <a:cubicBezTo>
                    <a:pt x="8276002" y="1122077"/>
                    <a:pt x="8167740" y="1003466"/>
                    <a:pt x="8167740" y="826838"/>
                  </a:cubicBezTo>
                  <a:cubicBezTo>
                    <a:pt x="8167740" y="649088"/>
                    <a:pt x="8276743" y="529677"/>
                    <a:pt x="8439003" y="529677"/>
                  </a:cubicBezTo>
                  <a:cubicBezTo>
                    <a:pt x="8597980" y="529677"/>
                    <a:pt x="8704760" y="649088"/>
                    <a:pt x="8704760" y="826838"/>
                  </a:cubicBezTo>
                  <a:moveTo>
                    <a:pt x="8889307" y="828654"/>
                  </a:moveTo>
                  <a:cubicBezTo>
                    <a:pt x="8889307" y="557084"/>
                    <a:pt x="8699942" y="359885"/>
                    <a:pt x="8439003" y="359885"/>
                  </a:cubicBezTo>
                  <a:cubicBezTo>
                    <a:pt x="8170652" y="359885"/>
                    <a:pt x="7983193" y="551155"/>
                    <a:pt x="7983193" y="824916"/>
                  </a:cubicBezTo>
                  <a:cubicBezTo>
                    <a:pt x="7983193" y="1099848"/>
                    <a:pt x="8168375" y="1291865"/>
                    <a:pt x="8433444" y="1291865"/>
                  </a:cubicBezTo>
                  <a:cubicBezTo>
                    <a:pt x="8689089" y="1291865"/>
                    <a:pt x="8889307" y="1088418"/>
                    <a:pt x="8889307" y="828654"/>
                  </a:cubicBezTo>
                  <a:moveTo>
                    <a:pt x="9658150" y="1197940"/>
                  </a:moveTo>
                  <a:cubicBezTo>
                    <a:pt x="9724854" y="1137144"/>
                    <a:pt x="9749630" y="1068539"/>
                    <a:pt x="9749630" y="944968"/>
                  </a:cubicBezTo>
                  <a:lnTo>
                    <a:pt x="9749630" y="380187"/>
                  </a:lnTo>
                  <a:lnTo>
                    <a:pt x="9566988" y="380187"/>
                  </a:lnTo>
                  <a:lnTo>
                    <a:pt x="9566988" y="944968"/>
                  </a:lnTo>
                  <a:cubicBezTo>
                    <a:pt x="9566988" y="1008437"/>
                    <a:pt x="9558835" y="1039587"/>
                    <a:pt x="9535012" y="1068222"/>
                  </a:cubicBezTo>
                  <a:cubicBezTo>
                    <a:pt x="9503831" y="1104284"/>
                    <a:pt x="9453009" y="1125815"/>
                    <a:pt x="9399010" y="1125815"/>
                  </a:cubicBezTo>
                  <a:cubicBezTo>
                    <a:pt x="9299060" y="1125815"/>
                    <a:pt x="9229233" y="1049947"/>
                    <a:pt x="9229233" y="941225"/>
                  </a:cubicBezTo>
                  <a:lnTo>
                    <a:pt x="9229233" y="380187"/>
                  </a:lnTo>
                  <a:lnTo>
                    <a:pt x="9048391" y="380187"/>
                  </a:lnTo>
                  <a:lnTo>
                    <a:pt x="9048391" y="944968"/>
                  </a:lnTo>
                  <a:cubicBezTo>
                    <a:pt x="9048391" y="1054330"/>
                    <a:pt x="9078249" y="1136392"/>
                    <a:pt x="9139659" y="1195965"/>
                  </a:cubicBezTo>
                  <a:cubicBezTo>
                    <a:pt x="9204563" y="1256925"/>
                    <a:pt x="9299113" y="1291865"/>
                    <a:pt x="9399010" y="1291865"/>
                  </a:cubicBezTo>
                  <a:cubicBezTo>
                    <a:pt x="9499701" y="1291865"/>
                    <a:pt x="9591763" y="1258529"/>
                    <a:pt x="9658150" y="1197945"/>
                  </a:cubicBezTo>
                  <a:moveTo>
                    <a:pt x="10385594" y="653307"/>
                  </a:moveTo>
                  <a:lnTo>
                    <a:pt x="10567335" y="653307"/>
                  </a:lnTo>
                  <a:lnTo>
                    <a:pt x="10566383" y="632041"/>
                  </a:lnTo>
                  <a:cubicBezTo>
                    <a:pt x="10558442" y="459099"/>
                    <a:pt x="10442768" y="359885"/>
                    <a:pt x="10249009" y="359885"/>
                  </a:cubicBezTo>
                  <a:cubicBezTo>
                    <a:pt x="10058003" y="359885"/>
                    <a:pt x="9929730" y="467434"/>
                    <a:pt x="9929730" y="627446"/>
                  </a:cubicBezTo>
                  <a:cubicBezTo>
                    <a:pt x="9929730" y="765666"/>
                    <a:pt x="10016922" y="850825"/>
                    <a:pt x="10212587" y="903611"/>
                  </a:cubicBezTo>
                  <a:cubicBezTo>
                    <a:pt x="10347689" y="937858"/>
                    <a:pt x="10391099" y="968955"/>
                    <a:pt x="10391099" y="1031625"/>
                  </a:cubicBezTo>
                  <a:cubicBezTo>
                    <a:pt x="10391099" y="1095576"/>
                    <a:pt x="10336730" y="1136874"/>
                    <a:pt x="10252715" y="1136874"/>
                  </a:cubicBezTo>
                  <a:cubicBezTo>
                    <a:pt x="10155517" y="1136874"/>
                    <a:pt x="10102102" y="1093384"/>
                    <a:pt x="10093843" y="1007579"/>
                  </a:cubicBezTo>
                  <a:lnTo>
                    <a:pt x="10092096" y="989257"/>
                  </a:lnTo>
                  <a:lnTo>
                    <a:pt x="9913054" y="989257"/>
                  </a:lnTo>
                  <a:lnTo>
                    <a:pt x="9915066" y="1011216"/>
                  </a:lnTo>
                  <a:cubicBezTo>
                    <a:pt x="9930789" y="1194843"/>
                    <a:pt x="10047626" y="1291865"/>
                    <a:pt x="10252715" y="1291865"/>
                  </a:cubicBezTo>
                  <a:cubicBezTo>
                    <a:pt x="10445839" y="1291865"/>
                    <a:pt x="10575647" y="1184371"/>
                    <a:pt x="10575647" y="1024303"/>
                  </a:cubicBezTo>
                  <a:cubicBezTo>
                    <a:pt x="10575647" y="956667"/>
                    <a:pt x="10548542" y="890948"/>
                    <a:pt x="10501426" y="843879"/>
                  </a:cubicBezTo>
                  <a:cubicBezTo>
                    <a:pt x="10457485" y="799913"/>
                    <a:pt x="10397028" y="770955"/>
                    <a:pt x="10285750" y="740769"/>
                  </a:cubicBezTo>
                  <a:cubicBezTo>
                    <a:pt x="10125660" y="696474"/>
                    <a:pt x="10110519" y="671471"/>
                    <a:pt x="10110519" y="616440"/>
                  </a:cubicBezTo>
                  <a:cubicBezTo>
                    <a:pt x="10110519" y="553823"/>
                    <a:pt x="10161447" y="514877"/>
                    <a:pt x="10243398" y="514877"/>
                  </a:cubicBezTo>
                  <a:cubicBezTo>
                    <a:pt x="10329795" y="514877"/>
                    <a:pt x="10385594" y="557672"/>
                    <a:pt x="10385594" y="623762"/>
                  </a:cubicBezTo>
                  <a:lnTo>
                    <a:pt x="10385594" y="653307"/>
                  </a:ln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19AE938E-A64A-2258-EED4-EF09D18B7E3D}"/>
              </a:ext>
            </a:extLst>
          </p:cNvPr>
          <p:cNvGrpSpPr/>
          <p:nvPr userDrawn="1"/>
        </p:nvGrpSpPr>
        <p:grpSpPr>
          <a:xfrm rot="5400000">
            <a:off x="-3617983" y="3323777"/>
            <a:ext cx="6854690" cy="213756"/>
            <a:chOff x="-1" y="-286346"/>
            <a:chExt cx="5820565" cy="181508"/>
          </a:xfrm>
        </p:grpSpPr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7A6D0F74-DE4B-BE83-73B6-394BA08627C7}"/>
                </a:ext>
              </a:extLst>
            </p:cNvPr>
            <p:cNvGrpSpPr/>
            <p:nvPr userDrawn="1"/>
          </p:nvGrpSpPr>
          <p:grpSpPr>
            <a:xfrm rot="16200000">
              <a:off x="363007" y="-649354"/>
              <a:ext cx="181503" cy="907520"/>
              <a:chOff x="1319213" y="-1663170"/>
              <a:chExt cx="181503" cy="907520"/>
            </a:xfrm>
          </p:grpSpPr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7C19ABE4-E404-28D1-8958-4D71D1DDD732}"/>
                  </a:ext>
                </a:extLst>
              </p:cNvPr>
              <p:cNvSpPr/>
              <p:nvPr/>
            </p:nvSpPr>
            <p:spPr>
              <a:xfrm>
                <a:off x="1319213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44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1AC65DBA-38CC-8E7C-6E72-C04DA570EB6D}"/>
                  </a:ext>
                </a:extLst>
              </p:cNvPr>
              <p:cNvSpPr/>
              <p:nvPr/>
            </p:nvSpPr>
            <p:spPr>
              <a:xfrm>
                <a:off x="1319213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69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1928A562-8D5F-A3AE-3134-898F7AD78802}"/>
                  </a:ext>
                </a:extLst>
              </p:cNvPr>
              <p:cNvSpPr/>
              <p:nvPr/>
            </p:nvSpPr>
            <p:spPr>
              <a:xfrm>
                <a:off x="1319213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FE8F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2B48F08D-8A90-95A8-9C21-E27D9FB8215C}"/>
                  </a:ext>
                </a:extLst>
              </p:cNvPr>
              <p:cNvSpPr/>
              <p:nvPr/>
            </p:nvSpPr>
            <p:spPr>
              <a:xfrm>
                <a:off x="1319213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B4B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B16DA31F-BC35-06BD-E3CD-06710F14E3B0}"/>
                  </a:ext>
                </a:extLst>
              </p:cNvPr>
              <p:cNvSpPr/>
              <p:nvPr/>
            </p:nvSpPr>
            <p:spPr>
              <a:xfrm>
                <a:off x="1319213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D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4377033E-494E-142E-8A39-A68C0E1DF939}"/>
                </a:ext>
              </a:extLst>
            </p:cNvPr>
            <p:cNvGrpSpPr/>
            <p:nvPr userDrawn="1"/>
          </p:nvGrpSpPr>
          <p:grpSpPr>
            <a:xfrm rot="16200000">
              <a:off x="1345616" y="-649354"/>
              <a:ext cx="181503" cy="907520"/>
              <a:chOff x="1319213" y="-664912"/>
              <a:chExt cx="181503" cy="907520"/>
            </a:xfrm>
          </p:grpSpPr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80FD328F-7DCD-4E2F-4BF4-2F9FE165B223}"/>
                  </a:ext>
                </a:extLst>
              </p:cNvPr>
              <p:cNvSpPr/>
              <p:nvPr/>
            </p:nvSpPr>
            <p:spPr>
              <a:xfrm>
                <a:off x="1319213" y="-66491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6400A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B354E4BC-626D-5227-E38E-2AECB2B08575}"/>
                  </a:ext>
                </a:extLst>
              </p:cNvPr>
              <p:cNvSpPr/>
              <p:nvPr/>
            </p:nvSpPr>
            <p:spPr>
              <a:xfrm>
                <a:off x="1319213" y="-483404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33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A2FF334F-CC4F-ADF4-E16B-F56E961FBAB4}"/>
                  </a:ext>
                </a:extLst>
              </p:cNvPr>
              <p:cNvSpPr/>
              <p:nvPr/>
            </p:nvSpPr>
            <p:spPr>
              <a:xfrm>
                <a:off x="1319213" y="-30189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266C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838B3097-60C4-4882-F806-AB7B93AEF5FB}"/>
                  </a:ext>
                </a:extLst>
              </p:cNvPr>
              <p:cNvSpPr/>
              <p:nvPr/>
            </p:nvSpPr>
            <p:spPr>
              <a:xfrm>
                <a:off x="1319213" y="-120387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199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05399603-DA9D-0E5D-7742-971C9AC198C4}"/>
                  </a:ext>
                </a:extLst>
              </p:cNvPr>
              <p:cNvSpPr/>
              <p:nvPr/>
            </p:nvSpPr>
            <p:spPr>
              <a:xfrm>
                <a:off x="1319213" y="6110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0CC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AF62655A-6C89-8AD8-1BB7-B9A1DD8D4224}"/>
                </a:ext>
              </a:extLst>
            </p:cNvPr>
            <p:cNvGrpSpPr/>
            <p:nvPr userDrawn="1"/>
          </p:nvGrpSpPr>
          <p:grpSpPr>
            <a:xfrm rot="16200000">
              <a:off x="2328223" y="-649352"/>
              <a:ext cx="181508" cy="907520"/>
              <a:chOff x="1682219" y="-1663170"/>
              <a:chExt cx="181508" cy="907520"/>
            </a:xfrm>
          </p:grpSpPr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58C7DB84-05CF-68BD-9488-550521D6842D}"/>
                  </a:ext>
                </a:extLst>
              </p:cNvPr>
              <p:cNvSpPr/>
              <p:nvPr/>
            </p:nvSpPr>
            <p:spPr>
              <a:xfrm>
                <a:off x="1682219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CC8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07E84EA6-2CF5-8057-F792-0037AC0DC416}"/>
                  </a:ext>
                </a:extLst>
              </p:cNvPr>
              <p:cNvSpPr/>
              <p:nvPr/>
            </p:nvSpPr>
            <p:spPr>
              <a:xfrm>
                <a:off x="1682224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3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A2EF1C46-4155-8BCD-A0AC-D33A5177B395}"/>
                  </a:ext>
                </a:extLst>
              </p:cNvPr>
              <p:cNvSpPr/>
              <p:nvPr/>
            </p:nvSpPr>
            <p:spPr>
              <a:xfrm>
                <a:off x="1682224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ADE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5EBF37FA-7958-36FE-8F5A-5E1BB9DC5529}"/>
                  </a:ext>
                </a:extLst>
              </p:cNvPr>
              <p:cNvSpPr/>
              <p:nvPr/>
            </p:nvSpPr>
            <p:spPr>
              <a:xfrm>
                <a:off x="1682224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E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87F64E7C-F2FE-15CF-8D25-27DB938C86B3}"/>
                  </a:ext>
                </a:extLst>
              </p:cNvPr>
              <p:cNvSpPr/>
              <p:nvPr/>
            </p:nvSpPr>
            <p:spPr>
              <a:xfrm>
                <a:off x="1682219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8F4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84CD224A-DA0B-2851-669E-375C938D66AB}"/>
                </a:ext>
              </a:extLst>
            </p:cNvPr>
            <p:cNvGrpSpPr/>
            <p:nvPr userDrawn="1"/>
          </p:nvGrpSpPr>
          <p:grpSpPr>
            <a:xfrm rot="16200000">
              <a:off x="5276052" y="-649354"/>
              <a:ext cx="181503" cy="907520"/>
              <a:chOff x="2226738" y="-1663170"/>
              <a:chExt cx="181503" cy="907520"/>
            </a:xfrm>
          </p:grpSpPr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7C775F36-1DBA-106B-59AD-ECBB212F16DB}"/>
                  </a:ext>
                </a:extLst>
              </p:cNvPr>
              <p:cNvSpPr/>
              <p:nvPr/>
            </p:nvSpPr>
            <p:spPr>
              <a:xfrm>
                <a:off x="2226738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CF154506-C60E-2901-4438-B0D045FA60C9}"/>
                  </a:ext>
                </a:extLst>
              </p:cNvPr>
              <p:cNvSpPr/>
              <p:nvPr/>
            </p:nvSpPr>
            <p:spPr>
              <a:xfrm>
                <a:off x="2226738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5757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A00CD614-E647-F6CD-E5AA-E6EB41CFE5AC}"/>
                  </a:ext>
                </a:extLst>
              </p:cNvPr>
              <p:cNvSpPr/>
              <p:nvPr/>
            </p:nvSpPr>
            <p:spPr>
              <a:xfrm>
                <a:off x="2226738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8787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0EBF2548-4D2A-970E-2545-FCB0A3D9A1C6}"/>
                  </a:ext>
                </a:extLst>
              </p:cNvPr>
              <p:cNvSpPr/>
              <p:nvPr/>
            </p:nvSpPr>
            <p:spPr>
              <a:xfrm>
                <a:off x="2226738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2B2B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CDC97C77-00AB-221B-E947-5E6625C8A30B}"/>
                  </a:ext>
                </a:extLst>
              </p:cNvPr>
              <p:cNvSpPr/>
              <p:nvPr/>
            </p:nvSpPr>
            <p:spPr>
              <a:xfrm>
                <a:off x="2226738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DA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54954480-507F-46F3-E404-6D143E0DF1A9}"/>
                </a:ext>
              </a:extLst>
            </p:cNvPr>
            <p:cNvGrpSpPr/>
            <p:nvPr userDrawn="1"/>
          </p:nvGrpSpPr>
          <p:grpSpPr>
            <a:xfrm rot="16200000">
              <a:off x="3310834" y="-649354"/>
              <a:ext cx="181503" cy="907520"/>
              <a:chOff x="1863727" y="-1663170"/>
              <a:chExt cx="181503" cy="907520"/>
            </a:xfrm>
          </p:grpSpPr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89D55C32-31DA-08A0-4DE8-4D18C8F514C3}"/>
                  </a:ext>
                </a:extLst>
              </p:cNvPr>
              <p:cNvSpPr/>
              <p:nvPr/>
            </p:nvSpPr>
            <p:spPr>
              <a:xfrm>
                <a:off x="1863727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2A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D76518B0-9D86-8ED3-3E2B-455FBDB3868E}"/>
                  </a:ext>
                </a:extLst>
              </p:cNvPr>
              <p:cNvSpPr/>
              <p:nvPr/>
            </p:nvSpPr>
            <p:spPr>
              <a:xfrm>
                <a:off x="1863727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5DB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6E330A4F-4F6F-EBD0-D32D-AA2224EFF0A1}"/>
                  </a:ext>
                </a:extLst>
              </p:cNvPr>
              <p:cNvSpPr/>
              <p:nvPr/>
            </p:nvSpPr>
            <p:spPr>
              <a:xfrm>
                <a:off x="1863727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8E4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1F780D9C-A955-7ECA-D0D8-D9E41DED5414}"/>
                  </a:ext>
                </a:extLst>
              </p:cNvPr>
              <p:cNvSpPr/>
              <p:nvPr/>
            </p:nvSpPr>
            <p:spPr>
              <a:xfrm>
                <a:off x="1863727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ED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D744C87B-4C8C-9678-DC05-521281D6E5E1}"/>
                  </a:ext>
                </a:extLst>
              </p:cNvPr>
              <p:cNvSpPr/>
              <p:nvPr/>
            </p:nvSpPr>
            <p:spPr>
              <a:xfrm>
                <a:off x="1863727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DF6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CD9D1DBE-F826-04F7-FC7E-A881A2C77703}"/>
                </a:ext>
              </a:extLst>
            </p:cNvPr>
            <p:cNvGrpSpPr/>
            <p:nvPr userDrawn="1"/>
          </p:nvGrpSpPr>
          <p:grpSpPr>
            <a:xfrm rot="16200000">
              <a:off x="4293441" y="-649352"/>
              <a:ext cx="181508" cy="907520"/>
              <a:chOff x="2045230" y="-1663170"/>
              <a:chExt cx="181508" cy="907520"/>
            </a:xfrm>
          </p:grpSpPr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9E3C3745-C797-6DB7-A982-24670F60A8BD}"/>
                  </a:ext>
                </a:extLst>
              </p:cNvPr>
              <p:cNvSpPr/>
              <p:nvPr/>
            </p:nvSpPr>
            <p:spPr>
              <a:xfrm>
                <a:off x="2045230" y="-937158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9F7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A1530F93-A1F2-A5ED-B886-6C085914215E}"/>
                  </a:ext>
                </a:extLst>
              </p:cNvPr>
              <p:cNvSpPr/>
              <p:nvPr/>
            </p:nvSpPr>
            <p:spPr>
              <a:xfrm>
                <a:off x="2045230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FED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65D1DBD9-2764-605C-35F1-EAEF44CC1C39}"/>
                  </a:ext>
                </a:extLst>
              </p:cNvPr>
              <p:cNvSpPr/>
              <p:nvPr/>
            </p:nvSpPr>
            <p:spPr>
              <a:xfrm>
                <a:off x="2045230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5E3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12D048AD-3DA2-206A-C13C-A3C6795B2E93}"/>
                  </a:ext>
                </a:extLst>
              </p:cNvPr>
              <p:cNvSpPr/>
              <p:nvPr/>
            </p:nvSpPr>
            <p:spPr>
              <a:xfrm>
                <a:off x="2045230" y="-1663170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CFC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18927462-E4DA-C726-0578-674A4A9C1625}"/>
                  </a:ext>
                </a:extLst>
              </p:cNvPr>
              <p:cNvSpPr/>
              <p:nvPr/>
            </p:nvSpPr>
            <p:spPr>
              <a:xfrm>
                <a:off x="2045230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BD9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8887978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(red) and Content 1/2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73236799-8186-158A-F3A4-9E2D432B77EB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54812" y="1304925"/>
            <a:ext cx="4778374" cy="50514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FDC01C9A-5B99-87F0-F647-71E0D7C324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54812" y="397755"/>
            <a:ext cx="3174440" cy="753386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00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964FA6FD-B18C-64CF-40CD-9C782D91C43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415668" y="503483"/>
            <a:ext cx="1289916" cy="180000"/>
            <a:chOff x="-161925" y="-1630732"/>
            <a:chExt cx="12193587" cy="1701544"/>
          </a:xfrm>
          <a:solidFill>
            <a:schemeClr val="bg1"/>
          </a:solidFill>
        </p:grpSpPr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0BAA8276-ECA1-E336-BCFB-04B3EC51B77A}"/>
                </a:ext>
              </a:extLst>
            </p:cNvPr>
            <p:cNvSpPr/>
            <p:nvPr/>
          </p:nvSpPr>
          <p:spPr>
            <a:xfrm>
              <a:off x="10774928" y="-1247713"/>
              <a:ext cx="1256734" cy="356304"/>
            </a:xfrm>
            <a:custGeom>
              <a:avLst/>
              <a:gdLst>
                <a:gd name="connsiteX0" fmla="*/ 1226823 w 1256734"/>
                <a:gd name="connsiteY0" fmla="*/ 269166 h 356304"/>
                <a:gd name="connsiteX1" fmla="*/ 1133491 w 1256734"/>
                <a:gd name="connsiteY1" fmla="*/ 316610 h 356304"/>
                <a:gd name="connsiteX2" fmla="*/ 1010248 w 1256734"/>
                <a:gd name="connsiteY2" fmla="*/ 178448 h 356304"/>
                <a:gd name="connsiteX3" fmla="*/ 1131426 w 1256734"/>
                <a:gd name="connsiteY3" fmla="*/ 39696 h 356304"/>
                <a:gd name="connsiteX4" fmla="*/ 1226823 w 1256734"/>
                <a:gd name="connsiteY4" fmla="*/ 86659 h 356304"/>
                <a:gd name="connsiteX5" fmla="*/ 1256735 w 1256734"/>
                <a:gd name="connsiteY5" fmla="*/ 58823 h 356304"/>
                <a:gd name="connsiteX6" fmla="*/ 1216553 w 1256734"/>
                <a:gd name="connsiteY6" fmla="*/ 23241 h 356304"/>
                <a:gd name="connsiteX7" fmla="*/ 1130420 w 1256734"/>
                <a:gd name="connsiteY7" fmla="*/ 0 h 356304"/>
                <a:gd name="connsiteX8" fmla="*/ 965885 w 1256734"/>
                <a:gd name="connsiteY8" fmla="*/ 178448 h 356304"/>
                <a:gd name="connsiteX9" fmla="*/ 1011783 w 1256734"/>
                <a:gd name="connsiteY9" fmla="*/ 305763 h 356304"/>
                <a:gd name="connsiteX10" fmla="*/ 1129892 w 1256734"/>
                <a:gd name="connsiteY10" fmla="*/ 356305 h 356304"/>
                <a:gd name="connsiteX11" fmla="*/ 1255676 w 1256734"/>
                <a:gd name="connsiteY11" fmla="*/ 298071 h 356304"/>
                <a:gd name="connsiteX12" fmla="*/ 1226823 w 1256734"/>
                <a:gd name="connsiteY12" fmla="*/ 269166 h 356304"/>
                <a:gd name="connsiteX13" fmla="*/ 679216 w 1256734"/>
                <a:gd name="connsiteY13" fmla="*/ 197999 h 356304"/>
                <a:gd name="connsiteX14" fmla="*/ 846824 w 1256734"/>
                <a:gd name="connsiteY14" fmla="*/ 197999 h 356304"/>
                <a:gd name="connsiteX15" fmla="*/ 846824 w 1256734"/>
                <a:gd name="connsiteY15" fmla="*/ 350105 h 356304"/>
                <a:gd name="connsiteX16" fmla="*/ 890075 w 1256734"/>
                <a:gd name="connsiteY16" fmla="*/ 350105 h 356304"/>
                <a:gd name="connsiteX17" fmla="*/ 890075 w 1256734"/>
                <a:gd name="connsiteY17" fmla="*/ 6198 h 356304"/>
                <a:gd name="connsiteX18" fmla="*/ 846824 w 1256734"/>
                <a:gd name="connsiteY18" fmla="*/ 6198 h 356304"/>
                <a:gd name="connsiteX19" fmla="*/ 846824 w 1256734"/>
                <a:gd name="connsiteY19" fmla="*/ 160920 h 356304"/>
                <a:gd name="connsiteX20" fmla="*/ 679216 w 1256734"/>
                <a:gd name="connsiteY20" fmla="*/ 160920 h 356304"/>
                <a:gd name="connsiteX21" fmla="*/ 679216 w 1256734"/>
                <a:gd name="connsiteY21" fmla="*/ 6198 h 356304"/>
                <a:gd name="connsiteX22" fmla="*/ 635912 w 1256734"/>
                <a:gd name="connsiteY22" fmla="*/ 6198 h 356304"/>
                <a:gd name="connsiteX23" fmla="*/ 635912 w 1256734"/>
                <a:gd name="connsiteY23" fmla="*/ 350105 h 356304"/>
                <a:gd name="connsiteX24" fmla="*/ 679216 w 1256734"/>
                <a:gd name="connsiteY24" fmla="*/ 350105 h 356304"/>
                <a:gd name="connsiteX25" fmla="*/ 679216 w 1256734"/>
                <a:gd name="connsiteY25" fmla="*/ 197999 h 356304"/>
                <a:gd name="connsiteX26" fmla="*/ 392018 w 1256734"/>
                <a:gd name="connsiteY26" fmla="*/ 40230 h 356304"/>
                <a:gd name="connsiteX27" fmla="*/ 476563 w 1256734"/>
                <a:gd name="connsiteY27" fmla="*/ 75813 h 356304"/>
                <a:gd name="connsiteX28" fmla="*/ 515792 w 1256734"/>
                <a:gd name="connsiteY28" fmla="*/ 181011 h 356304"/>
                <a:gd name="connsiteX29" fmla="*/ 482758 w 1256734"/>
                <a:gd name="connsiteY29" fmla="*/ 275365 h 356304"/>
                <a:gd name="connsiteX30" fmla="*/ 390960 w 1256734"/>
                <a:gd name="connsiteY30" fmla="*/ 316610 h 356304"/>
                <a:gd name="connsiteX31" fmla="*/ 267239 w 1256734"/>
                <a:gd name="connsiteY31" fmla="*/ 178448 h 356304"/>
                <a:gd name="connsiteX32" fmla="*/ 392018 w 1256734"/>
                <a:gd name="connsiteY32" fmla="*/ 40230 h 356304"/>
                <a:gd name="connsiteX33" fmla="*/ 393077 w 1256734"/>
                <a:gd name="connsiteY33" fmla="*/ 0 h 356304"/>
                <a:gd name="connsiteX34" fmla="*/ 222876 w 1256734"/>
                <a:gd name="connsiteY34" fmla="*/ 179994 h 356304"/>
                <a:gd name="connsiteX35" fmla="*/ 258982 w 1256734"/>
                <a:gd name="connsiteY35" fmla="*/ 291872 h 356304"/>
                <a:gd name="connsiteX36" fmla="*/ 392018 w 1256734"/>
                <a:gd name="connsiteY36" fmla="*/ 356305 h 356304"/>
                <a:gd name="connsiteX37" fmla="*/ 501868 w 1256734"/>
                <a:gd name="connsiteY37" fmla="*/ 315059 h 356304"/>
                <a:gd name="connsiteX38" fmla="*/ 560155 w 1256734"/>
                <a:gd name="connsiteY38" fmla="*/ 181545 h 356304"/>
                <a:gd name="connsiteX39" fmla="*/ 519921 w 1256734"/>
                <a:gd name="connsiteY39" fmla="*/ 59304 h 356304"/>
                <a:gd name="connsiteX40" fmla="*/ 393077 w 1256734"/>
                <a:gd name="connsiteY40" fmla="*/ 0 h 356304"/>
                <a:gd name="connsiteX41" fmla="*/ 43306 w 1256734"/>
                <a:gd name="connsiteY41" fmla="*/ 310946 h 356304"/>
                <a:gd name="connsiteX42" fmla="*/ 43306 w 1256734"/>
                <a:gd name="connsiteY42" fmla="*/ 6198 h 356304"/>
                <a:gd name="connsiteX43" fmla="*/ 0 w 1256734"/>
                <a:gd name="connsiteY43" fmla="*/ 6198 h 356304"/>
                <a:gd name="connsiteX44" fmla="*/ 0 w 1256734"/>
                <a:gd name="connsiteY44" fmla="*/ 350105 h 356304"/>
                <a:gd name="connsiteX45" fmla="*/ 194237 w 1256734"/>
                <a:gd name="connsiteY45" fmla="*/ 350105 h 356304"/>
                <a:gd name="connsiteX46" fmla="*/ 194237 w 1256734"/>
                <a:gd name="connsiteY46" fmla="*/ 310946 h 356304"/>
                <a:gd name="connsiteX47" fmla="*/ 43306 w 1256734"/>
                <a:gd name="connsiteY47" fmla="*/ 310946 h 35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256734" h="356304">
                  <a:moveTo>
                    <a:pt x="1226823" y="269166"/>
                  </a:moveTo>
                  <a:cubicBezTo>
                    <a:pt x="1200037" y="301650"/>
                    <a:pt x="1171131" y="316610"/>
                    <a:pt x="1133491" y="316610"/>
                  </a:cubicBezTo>
                  <a:cubicBezTo>
                    <a:pt x="1062341" y="316610"/>
                    <a:pt x="1010248" y="258371"/>
                    <a:pt x="1010248" y="178448"/>
                  </a:cubicBezTo>
                  <a:cubicBezTo>
                    <a:pt x="1010248" y="97985"/>
                    <a:pt x="1061334" y="39696"/>
                    <a:pt x="1131426" y="39696"/>
                  </a:cubicBezTo>
                  <a:cubicBezTo>
                    <a:pt x="1168008" y="39696"/>
                    <a:pt x="1193313" y="52092"/>
                    <a:pt x="1226823" y="86659"/>
                  </a:cubicBezTo>
                  <a:lnTo>
                    <a:pt x="1256735" y="58823"/>
                  </a:lnTo>
                  <a:cubicBezTo>
                    <a:pt x="1239742" y="40230"/>
                    <a:pt x="1230424" y="32003"/>
                    <a:pt x="1216553" y="23241"/>
                  </a:cubicBezTo>
                  <a:cubicBezTo>
                    <a:pt x="1191725" y="8281"/>
                    <a:pt x="1161338" y="0"/>
                    <a:pt x="1130420" y="0"/>
                  </a:cubicBezTo>
                  <a:cubicBezTo>
                    <a:pt x="1035500" y="0"/>
                    <a:pt x="965885" y="75279"/>
                    <a:pt x="965885" y="178448"/>
                  </a:cubicBezTo>
                  <a:cubicBezTo>
                    <a:pt x="965885" y="226369"/>
                    <a:pt x="982931" y="273279"/>
                    <a:pt x="1011783" y="305763"/>
                  </a:cubicBezTo>
                  <a:cubicBezTo>
                    <a:pt x="1041165" y="338782"/>
                    <a:pt x="1081928" y="356305"/>
                    <a:pt x="1129892" y="356305"/>
                  </a:cubicBezTo>
                  <a:cubicBezTo>
                    <a:pt x="1182990" y="356305"/>
                    <a:pt x="1221107" y="338782"/>
                    <a:pt x="1255676" y="298071"/>
                  </a:cubicBezTo>
                  <a:lnTo>
                    <a:pt x="1226823" y="269166"/>
                  </a:lnTo>
                  <a:close/>
                  <a:moveTo>
                    <a:pt x="679216" y="197999"/>
                  </a:moveTo>
                  <a:lnTo>
                    <a:pt x="846824" y="197999"/>
                  </a:lnTo>
                  <a:lnTo>
                    <a:pt x="846824" y="350105"/>
                  </a:lnTo>
                  <a:lnTo>
                    <a:pt x="890075" y="350105"/>
                  </a:lnTo>
                  <a:lnTo>
                    <a:pt x="890075" y="6198"/>
                  </a:lnTo>
                  <a:lnTo>
                    <a:pt x="846824" y="6198"/>
                  </a:lnTo>
                  <a:lnTo>
                    <a:pt x="846824" y="160920"/>
                  </a:lnTo>
                  <a:lnTo>
                    <a:pt x="679216" y="160920"/>
                  </a:lnTo>
                  <a:lnTo>
                    <a:pt x="679216" y="6198"/>
                  </a:lnTo>
                  <a:lnTo>
                    <a:pt x="635912" y="6198"/>
                  </a:lnTo>
                  <a:lnTo>
                    <a:pt x="635912" y="350105"/>
                  </a:lnTo>
                  <a:lnTo>
                    <a:pt x="679216" y="350105"/>
                  </a:lnTo>
                  <a:lnTo>
                    <a:pt x="679216" y="197999"/>
                  </a:lnTo>
                  <a:close/>
                  <a:moveTo>
                    <a:pt x="392018" y="40230"/>
                  </a:moveTo>
                  <a:cubicBezTo>
                    <a:pt x="422459" y="40230"/>
                    <a:pt x="453904" y="53641"/>
                    <a:pt x="476563" y="75813"/>
                  </a:cubicBezTo>
                  <a:cubicBezTo>
                    <a:pt x="503404" y="101618"/>
                    <a:pt x="515792" y="135117"/>
                    <a:pt x="515792" y="181011"/>
                  </a:cubicBezTo>
                  <a:cubicBezTo>
                    <a:pt x="515792" y="216057"/>
                    <a:pt x="502874" y="253189"/>
                    <a:pt x="482758" y="275365"/>
                  </a:cubicBezTo>
                  <a:cubicBezTo>
                    <a:pt x="459569" y="301650"/>
                    <a:pt x="425530" y="316610"/>
                    <a:pt x="390960" y="316610"/>
                  </a:cubicBezTo>
                  <a:cubicBezTo>
                    <a:pt x="319809" y="316610"/>
                    <a:pt x="267239" y="258371"/>
                    <a:pt x="267239" y="178448"/>
                  </a:cubicBezTo>
                  <a:cubicBezTo>
                    <a:pt x="267239" y="99000"/>
                    <a:pt x="320338" y="40230"/>
                    <a:pt x="392018" y="40230"/>
                  </a:cubicBezTo>
                  <a:moveTo>
                    <a:pt x="393077" y="0"/>
                  </a:moveTo>
                  <a:cubicBezTo>
                    <a:pt x="295615" y="0"/>
                    <a:pt x="222876" y="77362"/>
                    <a:pt x="222876" y="179994"/>
                  </a:cubicBezTo>
                  <a:cubicBezTo>
                    <a:pt x="222876" y="223273"/>
                    <a:pt x="235318" y="261956"/>
                    <a:pt x="258982" y="291872"/>
                  </a:cubicBezTo>
                  <a:cubicBezTo>
                    <a:pt x="290957" y="332101"/>
                    <a:pt x="340985" y="356305"/>
                    <a:pt x="392018" y="356305"/>
                  </a:cubicBezTo>
                  <a:cubicBezTo>
                    <a:pt x="431723" y="356305"/>
                    <a:pt x="470899" y="341879"/>
                    <a:pt x="501868" y="315059"/>
                  </a:cubicBezTo>
                  <a:cubicBezTo>
                    <a:pt x="539509" y="283110"/>
                    <a:pt x="560155" y="235131"/>
                    <a:pt x="560155" y="181545"/>
                  </a:cubicBezTo>
                  <a:cubicBezTo>
                    <a:pt x="560155" y="129935"/>
                    <a:pt x="547715" y="91788"/>
                    <a:pt x="519921" y="59304"/>
                  </a:cubicBezTo>
                  <a:cubicBezTo>
                    <a:pt x="486886" y="21691"/>
                    <a:pt x="440988" y="0"/>
                    <a:pt x="393077" y="0"/>
                  </a:cubicBezTo>
                  <a:moveTo>
                    <a:pt x="43306" y="310946"/>
                  </a:moveTo>
                  <a:lnTo>
                    <a:pt x="43306" y="6198"/>
                  </a:lnTo>
                  <a:lnTo>
                    <a:pt x="0" y="6198"/>
                  </a:lnTo>
                  <a:lnTo>
                    <a:pt x="0" y="350105"/>
                  </a:lnTo>
                  <a:lnTo>
                    <a:pt x="194237" y="350105"/>
                  </a:lnTo>
                  <a:lnTo>
                    <a:pt x="194237" y="310946"/>
                  </a:lnTo>
                  <a:lnTo>
                    <a:pt x="43306" y="310946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B77DA9CA-81E3-9C95-68A3-BFADB2CD7E3C}"/>
                </a:ext>
              </a:extLst>
            </p:cNvPr>
            <p:cNvSpPr/>
            <p:nvPr/>
          </p:nvSpPr>
          <p:spPr>
            <a:xfrm>
              <a:off x="-161925" y="-1630732"/>
              <a:ext cx="10575647" cy="1701544"/>
            </a:xfrm>
            <a:custGeom>
              <a:avLst/>
              <a:gdLst>
                <a:gd name="connsiteX0" fmla="*/ 7802033 w 10575647"/>
                <a:gd name="connsiteY0" fmla="*/ 380187 h 1701544"/>
                <a:gd name="connsiteX1" fmla="*/ 7621138 w 10575647"/>
                <a:gd name="connsiteY1" fmla="*/ 380187 h 1701544"/>
                <a:gd name="connsiteX2" fmla="*/ 7621138 w 10575647"/>
                <a:gd name="connsiteY2" fmla="*/ 1271563 h 1701544"/>
                <a:gd name="connsiteX3" fmla="*/ 7802033 w 10575647"/>
                <a:gd name="connsiteY3" fmla="*/ 1271563 h 1701544"/>
                <a:gd name="connsiteX4" fmla="*/ 7802033 w 10575647"/>
                <a:gd name="connsiteY4" fmla="*/ 380187 h 1701544"/>
                <a:gd name="connsiteX5" fmla="*/ 706522 w 10575647"/>
                <a:gd name="connsiteY5" fmla="*/ 1271563 h 1701544"/>
                <a:gd name="connsiteX6" fmla="*/ 902065 w 10575647"/>
                <a:gd name="connsiteY6" fmla="*/ 1271563 h 1701544"/>
                <a:gd name="connsiteX7" fmla="*/ 902065 w 10575647"/>
                <a:gd name="connsiteY7" fmla="*/ 0 h 1701544"/>
                <a:gd name="connsiteX8" fmla="*/ 706522 w 10575647"/>
                <a:gd name="connsiteY8" fmla="*/ 0 h 1701544"/>
                <a:gd name="connsiteX9" fmla="*/ 706522 w 10575647"/>
                <a:gd name="connsiteY9" fmla="*/ 553717 h 1701544"/>
                <a:gd name="connsiteX10" fmla="*/ 195543 w 10575647"/>
                <a:gd name="connsiteY10" fmla="*/ 553717 h 1701544"/>
                <a:gd name="connsiteX11" fmla="*/ 195543 w 10575647"/>
                <a:gd name="connsiteY11" fmla="*/ 0 h 1701544"/>
                <a:gd name="connsiteX12" fmla="*/ 0 w 10575647"/>
                <a:gd name="connsiteY12" fmla="*/ 0 h 1701544"/>
                <a:gd name="connsiteX13" fmla="*/ 0 w 10575647"/>
                <a:gd name="connsiteY13" fmla="*/ 1271563 h 1701544"/>
                <a:gd name="connsiteX14" fmla="*/ 195543 w 10575647"/>
                <a:gd name="connsiteY14" fmla="*/ 1271563 h 1701544"/>
                <a:gd name="connsiteX15" fmla="*/ 195543 w 10575647"/>
                <a:gd name="connsiteY15" fmla="*/ 727142 h 1701544"/>
                <a:gd name="connsiteX16" fmla="*/ 706522 w 10575647"/>
                <a:gd name="connsiteY16" fmla="*/ 727142 h 1701544"/>
                <a:gd name="connsiteX17" fmla="*/ 706522 w 10575647"/>
                <a:gd name="connsiteY17" fmla="*/ 1271563 h 1701544"/>
                <a:gd name="connsiteX18" fmla="*/ 1306185 w 10575647"/>
                <a:gd name="connsiteY18" fmla="*/ 1690649 h 1701544"/>
                <a:gd name="connsiteX19" fmla="*/ 1654904 w 10575647"/>
                <a:gd name="connsiteY19" fmla="*/ 1036061 h 1701544"/>
                <a:gd name="connsiteX20" fmla="*/ 1306185 w 10575647"/>
                <a:gd name="connsiteY20" fmla="*/ 381469 h 1701544"/>
                <a:gd name="connsiteX21" fmla="*/ 1090234 w 10575647"/>
                <a:gd name="connsiteY21" fmla="*/ 381469 h 1701544"/>
                <a:gd name="connsiteX22" fmla="*/ 1438900 w 10575647"/>
                <a:gd name="connsiteY22" fmla="*/ 1036061 h 1701544"/>
                <a:gd name="connsiteX23" fmla="*/ 1090234 w 10575647"/>
                <a:gd name="connsiteY23" fmla="*/ 1690649 h 1701544"/>
                <a:gd name="connsiteX24" fmla="*/ 1306185 w 10575647"/>
                <a:gd name="connsiteY24" fmla="*/ 1690649 h 1701544"/>
                <a:gd name="connsiteX25" fmla="*/ 2581808 w 10575647"/>
                <a:gd name="connsiteY25" fmla="*/ 828654 h 1701544"/>
                <a:gd name="connsiteX26" fmla="*/ 2317883 w 10575647"/>
                <a:gd name="connsiteY26" fmla="*/ 1129505 h 1701544"/>
                <a:gd name="connsiteX27" fmla="*/ 2065011 w 10575647"/>
                <a:gd name="connsiteY27" fmla="*/ 832338 h 1701544"/>
                <a:gd name="connsiteX28" fmla="*/ 2327068 w 10575647"/>
                <a:gd name="connsiteY28" fmla="*/ 525990 h 1701544"/>
                <a:gd name="connsiteX29" fmla="*/ 2581808 w 10575647"/>
                <a:gd name="connsiteY29" fmla="*/ 828654 h 1701544"/>
                <a:gd name="connsiteX30" fmla="*/ 2581808 w 10575647"/>
                <a:gd name="connsiteY30" fmla="*/ 1271563 h 1701544"/>
                <a:gd name="connsiteX31" fmla="*/ 2762608 w 10575647"/>
                <a:gd name="connsiteY31" fmla="*/ 1271563 h 1701544"/>
                <a:gd name="connsiteX32" fmla="*/ 2762608 w 10575647"/>
                <a:gd name="connsiteY32" fmla="*/ 0 h 1701544"/>
                <a:gd name="connsiteX33" fmla="*/ 2581808 w 10575647"/>
                <a:gd name="connsiteY33" fmla="*/ 0 h 1701544"/>
                <a:gd name="connsiteX34" fmla="*/ 2581808 w 10575647"/>
                <a:gd name="connsiteY34" fmla="*/ 476356 h 1701544"/>
                <a:gd name="connsiteX35" fmla="*/ 2297581 w 10575647"/>
                <a:gd name="connsiteY35" fmla="*/ 359885 h 1701544"/>
                <a:gd name="connsiteX36" fmla="*/ 1876785 w 10575647"/>
                <a:gd name="connsiteY36" fmla="*/ 830470 h 1701544"/>
                <a:gd name="connsiteX37" fmla="*/ 2297581 w 10575647"/>
                <a:gd name="connsiteY37" fmla="*/ 1291865 h 1701544"/>
                <a:gd name="connsiteX38" fmla="*/ 2581808 w 10575647"/>
                <a:gd name="connsiteY38" fmla="*/ 1163217 h 1701544"/>
                <a:gd name="connsiteX39" fmla="*/ 2581808 w 10575647"/>
                <a:gd name="connsiteY39" fmla="*/ 1271563 h 1701544"/>
                <a:gd name="connsiteX40" fmla="*/ 3437445 w 10575647"/>
                <a:gd name="connsiteY40" fmla="*/ 542393 h 1701544"/>
                <a:gd name="connsiteX41" fmla="*/ 3460310 w 10575647"/>
                <a:gd name="connsiteY41" fmla="*/ 545331 h 1701544"/>
                <a:gd name="connsiteX42" fmla="*/ 3460310 w 10575647"/>
                <a:gd name="connsiteY42" fmla="*/ 359885 h 1701544"/>
                <a:gd name="connsiteX43" fmla="*/ 3406830 w 10575647"/>
                <a:gd name="connsiteY43" fmla="*/ 359885 h 1701544"/>
                <a:gd name="connsiteX44" fmla="*/ 3231965 w 10575647"/>
                <a:gd name="connsiteY44" fmla="*/ 415877 h 1701544"/>
                <a:gd name="connsiteX45" fmla="*/ 3187194 w 10575647"/>
                <a:gd name="connsiteY45" fmla="*/ 462091 h 1701544"/>
                <a:gd name="connsiteX46" fmla="*/ 3187194 w 10575647"/>
                <a:gd name="connsiteY46" fmla="*/ 380187 h 1701544"/>
                <a:gd name="connsiteX47" fmla="*/ 3006395 w 10575647"/>
                <a:gd name="connsiteY47" fmla="*/ 380187 h 1701544"/>
                <a:gd name="connsiteX48" fmla="*/ 3006395 w 10575647"/>
                <a:gd name="connsiteY48" fmla="*/ 1271563 h 1701544"/>
                <a:gd name="connsiteX49" fmla="*/ 3187194 w 10575647"/>
                <a:gd name="connsiteY49" fmla="*/ 1271563 h 1701544"/>
                <a:gd name="connsiteX50" fmla="*/ 3187194 w 10575647"/>
                <a:gd name="connsiteY50" fmla="*/ 819411 h 1701544"/>
                <a:gd name="connsiteX51" fmla="*/ 3233517 w 10575647"/>
                <a:gd name="connsiteY51" fmla="*/ 629638 h 1701544"/>
                <a:gd name="connsiteX52" fmla="*/ 3401277 w 10575647"/>
                <a:gd name="connsiteY52" fmla="*/ 540683 h 1701544"/>
                <a:gd name="connsiteX53" fmla="*/ 3437445 w 10575647"/>
                <a:gd name="connsiteY53" fmla="*/ 542393 h 1701544"/>
                <a:gd name="connsiteX54" fmla="*/ 4250980 w 10575647"/>
                <a:gd name="connsiteY54" fmla="*/ 826838 h 1701544"/>
                <a:gd name="connsiteX55" fmla="*/ 3983364 w 10575647"/>
                <a:gd name="connsiteY55" fmla="*/ 1122077 h 1701544"/>
                <a:gd name="connsiteX56" fmla="*/ 3713875 w 10575647"/>
                <a:gd name="connsiteY56" fmla="*/ 826838 h 1701544"/>
                <a:gd name="connsiteX57" fmla="*/ 3985180 w 10575647"/>
                <a:gd name="connsiteY57" fmla="*/ 529677 h 1701544"/>
                <a:gd name="connsiteX58" fmla="*/ 4250980 w 10575647"/>
                <a:gd name="connsiteY58" fmla="*/ 826838 h 1701544"/>
                <a:gd name="connsiteX59" fmla="*/ 4435464 w 10575647"/>
                <a:gd name="connsiteY59" fmla="*/ 828654 h 1701544"/>
                <a:gd name="connsiteX60" fmla="*/ 3985180 w 10575647"/>
                <a:gd name="connsiteY60" fmla="*/ 359885 h 1701544"/>
                <a:gd name="connsiteX61" fmla="*/ 3529338 w 10575647"/>
                <a:gd name="connsiteY61" fmla="*/ 824916 h 1701544"/>
                <a:gd name="connsiteX62" fmla="*/ 3979622 w 10575647"/>
                <a:gd name="connsiteY62" fmla="*/ 1291865 h 1701544"/>
                <a:gd name="connsiteX63" fmla="*/ 4435464 w 10575647"/>
                <a:gd name="connsiteY63" fmla="*/ 828654 h 1701544"/>
                <a:gd name="connsiteX64" fmla="*/ 5261608 w 10575647"/>
                <a:gd name="connsiteY64" fmla="*/ 828654 h 1701544"/>
                <a:gd name="connsiteX65" fmla="*/ 5205508 w 10575647"/>
                <a:gd name="connsiteY65" fmla="*/ 1025854 h 1701544"/>
                <a:gd name="connsiteX66" fmla="*/ 5005052 w 10575647"/>
                <a:gd name="connsiteY66" fmla="*/ 1122077 h 1701544"/>
                <a:gd name="connsiteX67" fmla="*/ 4746675 w 10575647"/>
                <a:gd name="connsiteY67" fmla="*/ 823153 h 1701544"/>
                <a:gd name="connsiteX68" fmla="*/ 5008683 w 10575647"/>
                <a:gd name="connsiteY68" fmla="*/ 529677 h 1701544"/>
                <a:gd name="connsiteX69" fmla="*/ 5200378 w 10575647"/>
                <a:gd name="connsiteY69" fmla="*/ 617081 h 1701544"/>
                <a:gd name="connsiteX70" fmla="*/ 5261608 w 10575647"/>
                <a:gd name="connsiteY70" fmla="*/ 828654 h 1701544"/>
                <a:gd name="connsiteX71" fmla="*/ 5327264 w 10575647"/>
                <a:gd name="connsiteY71" fmla="*/ 1583314 h 1701544"/>
                <a:gd name="connsiteX72" fmla="*/ 5446113 w 10575647"/>
                <a:gd name="connsiteY72" fmla="*/ 1256819 h 1701544"/>
                <a:gd name="connsiteX73" fmla="*/ 5446113 w 10575647"/>
                <a:gd name="connsiteY73" fmla="*/ 380187 h 1701544"/>
                <a:gd name="connsiteX74" fmla="*/ 5265239 w 10575647"/>
                <a:gd name="connsiteY74" fmla="*/ 380187 h 1701544"/>
                <a:gd name="connsiteX75" fmla="*/ 5265239 w 10575647"/>
                <a:gd name="connsiteY75" fmla="*/ 488537 h 1701544"/>
                <a:gd name="connsiteX76" fmla="*/ 4982875 w 10575647"/>
                <a:gd name="connsiteY76" fmla="*/ 359885 h 1701544"/>
                <a:gd name="connsiteX77" fmla="*/ 4699394 w 10575647"/>
                <a:gd name="connsiteY77" fmla="*/ 465190 h 1701544"/>
                <a:gd name="connsiteX78" fmla="*/ 4558400 w 10575647"/>
                <a:gd name="connsiteY78" fmla="*/ 828654 h 1701544"/>
                <a:gd name="connsiteX79" fmla="*/ 4971816 w 10575647"/>
                <a:gd name="connsiteY79" fmla="*/ 1291865 h 1701544"/>
                <a:gd name="connsiteX80" fmla="*/ 5265239 w 10575647"/>
                <a:gd name="connsiteY80" fmla="*/ 1150553 h 1701544"/>
                <a:gd name="connsiteX81" fmla="*/ 5265239 w 10575647"/>
                <a:gd name="connsiteY81" fmla="*/ 1267931 h 1701544"/>
                <a:gd name="connsiteX82" fmla="*/ 5206095 w 10575647"/>
                <a:gd name="connsiteY82" fmla="*/ 1457116 h 1701544"/>
                <a:gd name="connsiteX83" fmla="*/ 4999546 w 10575647"/>
                <a:gd name="connsiteY83" fmla="*/ 1533625 h 1701544"/>
                <a:gd name="connsiteX84" fmla="*/ 4811695 w 10575647"/>
                <a:gd name="connsiteY84" fmla="*/ 1487409 h 1701544"/>
                <a:gd name="connsiteX85" fmla="*/ 4733588 w 10575647"/>
                <a:gd name="connsiteY85" fmla="*/ 1416300 h 1701544"/>
                <a:gd name="connsiteX86" fmla="*/ 4719215 w 10575647"/>
                <a:gd name="connsiteY86" fmla="*/ 1401339 h 1701544"/>
                <a:gd name="connsiteX87" fmla="*/ 4595103 w 10575647"/>
                <a:gd name="connsiteY87" fmla="*/ 1525451 h 1701544"/>
                <a:gd name="connsiteX88" fmla="*/ 4607819 w 10575647"/>
                <a:gd name="connsiteY88" fmla="*/ 1539824 h 1701544"/>
                <a:gd name="connsiteX89" fmla="*/ 4999546 w 10575647"/>
                <a:gd name="connsiteY89" fmla="*/ 1701544 h 1701544"/>
                <a:gd name="connsiteX90" fmla="*/ 5327264 w 10575647"/>
                <a:gd name="connsiteY90" fmla="*/ 1583314 h 1701544"/>
                <a:gd name="connsiteX91" fmla="*/ 6317923 w 10575647"/>
                <a:gd name="connsiteY91" fmla="*/ 747497 h 1701544"/>
                <a:gd name="connsiteX92" fmla="*/ 5805203 w 10575647"/>
                <a:gd name="connsiteY92" fmla="*/ 747497 h 1701544"/>
                <a:gd name="connsiteX93" fmla="*/ 5845913 w 10575647"/>
                <a:gd name="connsiteY93" fmla="*/ 635144 h 1701544"/>
                <a:gd name="connsiteX94" fmla="*/ 6057989 w 10575647"/>
                <a:gd name="connsiteY94" fmla="*/ 525990 h 1701544"/>
                <a:gd name="connsiteX95" fmla="*/ 6275730 w 10575647"/>
                <a:gd name="connsiteY95" fmla="*/ 633487 h 1701544"/>
                <a:gd name="connsiteX96" fmla="*/ 6317923 w 10575647"/>
                <a:gd name="connsiteY96" fmla="*/ 747497 h 1701544"/>
                <a:gd name="connsiteX97" fmla="*/ 6508188 w 10575647"/>
                <a:gd name="connsiteY97" fmla="*/ 872890 h 1701544"/>
                <a:gd name="connsiteX98" fmla="*/ 6510094 w 10575647"/>
                <a:gd name="connsiteY98" fmla="*/ 815779 h 1701544"/>
                <a:gd name="connsiteX99" fmla="*/ 6057989 w 10575647"/>
                <a:gd name="connsiteY99" fmla="*/ 359885 h 1701544"/>
                <a:gd name="connsiteX100" fmla="*/ 5609538 w 10575647"/>
                <a:gd name="connsiteY100" fmla="*/ 828654 h 1701544"/>
                <a:gd name="connsiteX101" fmla="*/ 6063495 w 10575647"/>
                <a:gd name="connsiteY101" fmla="*/ 1291865 h 1701544"/>
                <a:gd name="connsiteX102" fmla="*/ 6460066 w 10575647"/>
                <a:gd name="connsiteY102" fmla="*/ 1051710 h 1701544"/>
                <a:gd name="connsiteX103" fmla="*/ 6469966 w 10575647"/>
                <a:gd name="connsiteY103" fmla="*/ 1031572 h 1701544"/>
                <a:gd name="connsiteX104" fmla="*/ 6308923 w 10575647"/>
                <a:gd name="connsiteY104" fmla="*/ 971517 h 1701544"/>
                <a:gd name="connsiteX105" fmla="*/ 6300559 w 10575647"/>
                <a:gd name="connsiteY105" fmla="*/ 986689 h 1701544"/>
                <a:gd name="connsiteX106" fmla="*/ 6063495 w 10575647"/>
                <a:gd name="connsiteY106" fmla="*/ 1122077 h 1701544"/>
                <a:gd name="connsiteX107" fmla="*/ 5850784 w 10575647"/>
                <a:gd name="connsiteY107" fmla="*/ 1013832 h 1701544"/>
                <a:gd name="connsiteX108" fmla="*/ 5802132 w 10575647"/>
                <a:gd name="connsiteY108" fmla="*/ 891377 h 1701544"/>
                <a:gd name="connsiteX109" fmla="*/ 6506547 w 10575647"/>
                <a:gd name="connsiteY109" fmla="*/ 891377 h 1701544"/>
                <a:gd name="connsiteX110" fmla="*/ 6508188 w 10575647"/>
                <a:gd name="connsiteY110" fmla="*/ 872890 h 1701544"/>
                <a:gd name="connsiteX111" fmla="*/ 7205139 w 10575647"/>
                <a:gd name="connsiteY111" fmla="*/ 1271563 h 1701544"/>
                <a:gd name="connsiteX112" fmla="*/ 7385928 w 10575647"/>
                <a:gd name="connsiteY112" fmla="*/ 1271563 h 1701544"/>
                <a:gd name="connsiteX113" fmla="*/ 7385928 w 10575647"/>
                <a:gd name="connsiteY113" fmla="*/ 677294 h 1701544"/>
                <a:gd name="connsiteX114" fmla="*/ 7307154 w 10575647"/>
                <a:gd name="connsiteY114" fmla="*/ 435163 h 1701544"/>
                <a:gd name="connsiteX115" fmla="*/ 7096189 w 10575647"/>
                <a:gd name="connsiteY115" fmla="*/ 359885 h 1701544"/>
                <a:gd name="connsiteX116" fmla="*/ 6863625 w 10575647"/>
                <a:gd name="connsiteY116" fmla="*/ 463694 h 1701544"/>
                <a:gd name="connsiteX117" fmla="*/ 6863625 w 10575647"/>
                <a:gd name="connsiteY117" fmla="*/ 380187 h 1701544"/>
                <a:gd name="connsiteX118" fmla="*/ 6682836 w 10575647"/>
                <a:gd name="connsiteY118" fmla="*/ 380187 h 1701544"/>
                <a:gd name="connsiteX119" fmla="*/ 6682836 w 10575647"/>
                <a:gd name="connsiteY119" fmla="*/ 1271563 h 1701544"/>
                <a:gd name="connsiteX120" fmla="*/ 6863625 w 10575647"/>
                <a:gd name="connsiteY120" fmla="*/ 1271563 h 1701544"/>
                <a:gd name="connsiteX121" fmla="*/ 6863625 w 10575647"/>
                <a:gd name="connsiteY121" fmla="*/ 732701 h 1701544"/>
                <a:gd name="connsiteX122" fmla="*/ 6913971 w 10575647"/>
                <a:gd name="connsiteY122" fmla="*/ 591066 h 1701544"/>
                <a:gd name="connsiteX123" fmla="*/ 7061143 w 10575647"/>
                <a:gd name="connsiteY123" fmla="*/ 525990 h 1701544"/>
                <a:gd name="connsiteX124" fmla="*/ 7177769 w 10575647"/>
                <a:gd name="connsiteY124" fmla="*/ 575089 h 1701544"/>
                <a:gd name="connsiteX125" fmla="*/ 7205139 w 10575647"/>
                <a:gd name="connsiteY125" fmla="*/ 708709 h 1701544"/>
                <a:gd name="connsiteX126" fmla="*/ 7205139 w 10575647"/>
                <a:gd name="connsiteY126" fmla="*/ 1271563 h 1701544"/>
                <a:gd name="connsiteX127" fmla="*/ 7822309 w 10575647"/>
                <a:gd name="connsiteY127" fmla="*/ 162418 h 1701544"/>
                <a:gd name="connsiteX128" fmla="*/ 7713412 w 10575647"/>
                <a:gd name="connsiteY128" fmla="*/ 49847 h 1701544"/>
                <a:gd name="connsiteX129" fmla="*/ 7602662 w 10575647"/>
                <a:gd name="connsiteY129" fmla="*/ 160549 h 1701544"/>
                <a:gd name="connsiteX130" fmla="*/ 7711560 w 10575647"/>
                <a:gd name="connsiteY130" fmla="*/ 271303 h 1701544"/>
                <a:gd name="connsiteX131" fmla="*/ 7822309 w 10575647"/>
                <a:gd name="connsiteY131" fmla="*/ 162418 h 1701544"/>
                <a:gd name="connsiteX132" fmla="*/ 8704760 w 10575647"/>
                <a:gd name="connsiteY132" fmla="*/ 826838 h 1701544"/>
                <a:gd name="connsiteX133" fmla="*/ 8437150 w 10575647"/>
                <a:gd name="connsiteY133" fmla="*/ 1122077 h 1701544"/>
                <a:gd name="connsiteX134" fmla="*/ 8167740 w 10575647"/>
                <a:gd name="connsiteY134" fmla="*/ 826838 h 1701544"/>
                <a:gd name="connsiteX135" fmla="*/ 8439003 w 10575647"/>
                <a:gd name="connsiteY135" fmla="*/ 529677 h 1701544"/>
                <a:gd name="connsiteX136" fmla="*/ 8704760 w 10575647"/>
                <a:gd name="connsiteY136" fmla="*/ 826838 h 1701544"/>
                <a:gd name="connsiteX137" fmla="*/ 8889307 w 10575647"/>
                <a:gd name="connsiteY137" fmla="*/ 828654 h 1701544"/>
                <a:gd name="connsiteX138" fmla="*/ 8439003 w 10575647"/>
                <a:gd name="connsiteY138" fmla="*/ 359885 h 1701544"/>
                <a:gd name="connsiteX139" fmla="*/ 7983193 w 10575647"/>
                <a:gd name="connsiteY139" fmla="*/ 824916 h 1701544"/>
                <a:gd name="connsiteX140" fmla="*/ 8433444 w 10575647"/>
                <a:gd name="connsiteY140" fmla="*/ 1291865 h 1701544"/>
                <a:gd name="connsiteX141" fmla="*/ 8889307 w 10575647"/>
                <a:gd name="connsiteY141" fmla="*/ 828654 h 1701544"/>
                <a:gd name="connsiteX142" fmla="*/ 9658150 w 10575647"/>
                <a:gd name="connsiteY142" fmla="*/ 1197940 h 1701544"/>
                <a:gd name="connsiteX143" fmla="*/ 9749630 w 10575647"/>
                <a:gd name="connsiteY143" fmla="*/ 944968 h 1701544"/>
                <a:gd name="connsiteX144" fmla="*/ 9749630 w 10575647"/>
                <a:gd name="connsiteY144" fmla="*/ 380187 h 1701544"/>
                <a:gd name="connsiteX145" fmla="*/ 9566988 w 10575647"/>
                <a:gd name="connsiteY145" fmla="*/ 380187 h 1701544"/>
                <a:gd name="connsiteX146" fmla="*/ 9566988 w 10575647"/>
                <a:gd name="connsiteY146" fmla="*/ 944968 h 1701544"/>
                <a:gd name="connsiteX147" fmla="*/ 9535012 w 10575647"/>
                <a:gd name="connsiteY147" fmla="*/ 1068222 h 1701544"/>
                <a:gd name="connsiteX148" fmla="*/ 9399010 w 10575647"/>
                <a:gd name="connsiteY148" fmla="*/ 1125815 h 1701544"/>
                <a:gd name="connsiteX149" fmla="*/ 9229233 w 10575647"/>
                <a:gd name="connsiteY149" fmla="*/ 941225 h 1701544"/>
                <a:gd name="connsiteX150" fmla="*/ 9229233 w 10575647"/>
                <a:gd name="connsiteY150" fmla="*/ 380187 h 1701544"/>
                <a:gd name="connsiteX151" fmla="*/ 9048391 w 10575647"/>
                <a:gd name="connsiteY151" fmla="*/ 380187 h 1701544"/>
                <a:gd name="connsiteX152" fmla="*/ 9048391 w 10575647"/>
                <a:gd name="connsiteY152" fmla="*/ 944968 h 1701544"/>
                <a:gd name="connsiteX153" fmla="*/ 9139659 w 10575647"/>
                <a:gd name="connsiteY153" fmla="*/ 1195965 h 1701544"/>
                <a:gd name="connsiteX154" fmla="*/ 9399010 w 10575647"/>
                <a:gd name="connsiteY154" fmla="*/ 1291865 h 1701544"/>
                <a:gd name="connsiteX155" fmla="*/ 9658150 w 10575647"/>
                <a:gd name="connsiteY155" fmla="*/ 1197945 h 1701544"/>
                <a:gd name="connsiteX156" fmla="*/ 10385594 w 10575647"/>
                <a:gd name="connsiteY156" fmla="*/ 653307 h 1701544"/>
                <a:gd name="connsiteX157" fmla="*/ 10567335 w 10575647"/>
                <a:gd name="connsiteY157" fmla="*/ 653307 h 1701544"/>
                <a:gd name="connsiteX158" fmla="*/ 10566383 w 10575647"/>
                <a:gd name="connsiteY158" fmla="*/ 632041 h 1701544"/>
                <a:gd name="connsiteX159" fmla="*/ 10249009 w 10575647"/>
                <a:gd name="connsiteY159" fmla="*/ 359885 h 1701544"/>
                <a:gd name="connsiteX160" fmla="*/ 9929730 w 10575647"/>
                <a:gd name="connsiteY160" fmla="*/ 627446 h 1701544"/>
                <a:gd name="connsiteX161" fmla="*/ 10212587 w 10575647"/>
                <a:gd name="connsiteY161" fmla="*/ 903611 h 1701544"/>
                <a:gd name="connsiteX162" fmla="*/ 10391099 w 10575647"/>
                <a:gd name="connsiteY162" fmla="*/ 1031625 h 1701544"/>
                <a:gd name="connsiteX163" fmla="*/ 10252715 w 10575647"/>
                <a:gd name="connsiteY163" fmla="*/ 1136874 h 1701544"/>
                <a:gd name="connsiteX164" fmla="*/ 10093843 w 10575647"/>
                <a:gd name="connsiteY164" fmla="*/ 1007579 h 1701544"/>
                <a:gd name="connsiteX165" fmla="*/ 10092096 w 10575647"/>
                <a:gd name="connsiteY165" fmla="*/ 989257 h 1701544"/>
                <a:gd name="connsiteX166" fmla="*/ 9913054 w 10575647"/>
                <a:gd name="connsiteY166" fmla="*/ 989257 h 1701544"/>
                <a:gd name="connsiteX167" fmla="*/ 9915066 w 10575647"/>
                <a:gd name="connsiteY167" fmla="*/ 1011216 h 1701544"/>
                <a:gd name="connsiteX168" fmla="*/ 10252715 w 10575647"/>
                <a:gd name="connsiteY168" fmla="*/ 1291865 h 1701544"/>
                <a:gd name="connsiteX169" fmla="*/ 10575647 w 10575647"/>
                <a:gd name="connsiteY169" fmla="*/ 1024303 h 1701544"/>
                <a:gd name="connsiteX170" fmla="*/ 10501426 w 10575647"/>
                <a:gd name="connsiteY170" fmla="*/ 843879 h 1701544"/>
                <a:gd name="connsiteX171" fmla="*/ 10285750 w 10575647"/>
                <a:gd name="connsiteY171" fmla="*/ 740769 h 1701544"/>
                <a:gd name="connsiteX172" fmla="*/ 10110519 w 10575647"/>
                <a:gd name="connsiteY172" fmla="*/ 616440 h 1701544"/>
                <a:gd name="connsiteX173" fmla="*/ 10243398 w 10575647"/>
                <a:gd name="connsiteY173" fmla="*/ 514877 h 1701544"/>
                <a:gd name="connsiteX174" fmla="*/ 10385594 w 10575647"/>
                <a:gd name="connsiteY174" fmla="*/ 623762 h 1701544"/>
                <a:gd name="connsiteX175" fmla="*/ 10385594 w 10575647"/>
                <a:gd name="connsiteY175" fmla="*/ 653307 h 170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10575647" h="1701544">
                  <a:moveTo>
                    <a:pt x="7802033" y="380187"/>
                  </a:moveTo>
                  <a:lnTo>
                    <a:pt x="7621138" y="380187"/>
                  </a:lnTo>
                  <a:lnTo>
                    <a:pt x="7621138" y="1271563"/>
                  </a:lnTo>
                  <a:lnTo>
                    <a:pt x="7802033" y="1271563"/>
                  </a:lnTo>
                  <a:lnTo>
                    <a:pt x="7802033" y="380187"/>
                  </a:lnTo>
                  <a:close/>
                  <a:moveTo>
                    <a:pt x="706522" y="1271563"/>
                  </a:moveTo>
                  <a:lnTo>
                    <a:pt x="902065" y="1271563"/>
                  </a:lnTo>
                  <a:lnTo>
                    <a:pt x="902065" y="0"/>
                  </a:lnTo>
                  <a:lnTo>
                    <a:pt x="706522" y="0"/>
                  </a:lnTo>
                  <a:lnTo>
                    <a:pt x="706522" y="553717"/>
                  </a:lnTo>
                  <a:lnTo>
                    <a:pt x="195543" y="553717"/>
                  </a:lnTo>
                  <a:lnTo>
                    <a:pt x="195543" y="0"/>
                  </a:lnTo>
                  <a:lnTo>
                    <a:pt x="0" y="0"/>
                  </a:lnTo>
                  <a:lnTo>
                    <a:pt x="0" y="1271563"/>
                  </a:lnTo>
                  <a:lnTo>
                    <a:pt x="195543" y="1271563"/>
                  </a:lnTo>
                  <a:lnTo>
                    <a:pt x="195543" y="727142"/>
                  </a:lnTo>
                  <a:lnTo>
                    <a:pt x="706522" y="727142"/>
                  </a:lnTo>
                  <a:lnTo>
                    <a:pt x="706522" y="1271563"/>
                  </a:lnTo>
                  <a:close/>
                  <a:moveTo>
                    <a:pt x="1306185" y="1690649"/>
                  </a:moveTo>
                  <a:lnTo>
                    <a:pt x="1654904" y="1036061"/>
                  </a:lnTo>
                  <a:lnTo>
                    <a:pt x="1306185" y="381469"/>
                  </a:lnTo>
                  <a:lnTo>
                    <a:pt x="1090234" y="381469"/>
                  </a:lnTo>
                  <a:lnTo>
                    <a:pt x="1438900" y="1036061"/>
                  </a:lnTo>
                  <a:lnTo>
                    <a:pt x="1090234" y="1690649"/>
                  </a:lnTo>
                  <a:lnTo>
                    <a:pt x="1306185" y="1690649"/>
                  </a:lnTo>
                  <a:close/>
                  <a:moveTo>
                    <a:pt x="2581808" y="828654"/>
                  </a:moveTo>
                  <a:cubicBezTo>
                    <a:pt x="2581808" y="1002989"/>
                    <a:pt x="2470789" y="1129505"/>
                    <a:pt x="2317883" y="1129505"/>
                  </a:cubicBezTo>
                  <a:cubicBezTo>
                    <a:pt x="2168980" y="1129505"/>
                    <a:pt x="2065011" y="1007262"/>
                    <a:pt x="2065011" y="832338"/>
                  </a:cubicBezTo>
                  <a:cubicBezTo>
                    <a:pt x="2065011" y="649088"/>
                    <a:pt x="2170314" y="525990"/>
                    <a:pt x="2327068" y="525990"/>
                  </a:cubicBezTo>
                  <a:cubicBezTo>
                    <a:pt x="2479444" y="525990"/>
                    <a:pt x="2581808" y="647590"/>
                    <a:pt x="2581808" y="828654"/>
                  </a:cubicBezTo>
                  <a:moveTo>
                    <a:pt x="2581808" y="1271563"/>
                  </a:moveTo>
                  <a:lnTo>
                    <a:pt x="2762608" y="1271563"/>
                  </a:lnTo>
                  <a:lnTo>
                    <a:pt x="2762608" y="0"/>
                  </a:lnTo>
                  <a:lnTo>
                    <a:pt x="2581808" y="0"/>
                  </a:lnTo>
                  <a:lnTo>
                    <a:pt x="2581808" y="476356"/>
                  </a:lnTo>
                  <a:cubicBezTo>
                    <a:pt x="2503431" y="397017"/>
                    <a:pt x="2412449" y="359885"/>
                    <a:pt x="2297581" y="359885"/>
                  </a:cubicBezTo>
                  <a:cubicBezTo>
                    <a:pt x="2057690" y="359885"/>
                    <a:pt x="1876785" y="562214"/>
                    <a:pt x="1876785" y="830470"/>
                  </a:cubicBezTo>
                  <a:cubicBezTo>
                    <a:pt x="1876785" y="1102145"/>
                    <a:pt x="2049839" y="1291865"/>
                    <a:pt x="2297581" y="1291865"/>
                  </a:cubicBezTo>
                  <a:cubicBezTo>
                    <a:pt x="2414371" y="1291865"/>
                    <a:pt x="2503061" y="1251959"/>
                    <a:pt x="2581808" y="1163217"/>
                  </a:cubicBezTo>
                  <a:lnTo>
                    <a:pt x="2581808" y="1271563"/>
                  </a:lnTo>
                  <a:close/>
                  <a:moveTo>
                    <a:pt x="3437445" y="542393"/>
                  </a:moveTo>
                  <a:lnTo>
                    <a:pt x="3460310" y="545331"/>
                  </a:lnTo>
                  <a:lnTo>
                    <a:pt x="3460310" y="359885"/>
                  </a:lnTo>
                  <a:lnTo>
                    <a:pt x="3406830" y="359885"/>
                  </a:lnTo>
                  <a:cubicBezTo>
                    <a:pt x="3341169" y="359885"/>
                    <a:pt x="3277430" y="380294"/>
                    <a:pt x="3231965" y="415877"/>
                  </a:cubicBezTo>
                  <a:cubicBezTo>
                    <a:pt x="3213690" y="430035"/>
                    <a:pt x="3199693" y="444353"/>
                    <a:pt x="3187194" y="462091"/>
                  </a:cubicBezTo>
                  <a:lnTo>
                    <a:pt x="3187194" y="380187"/>
                  </a:lnTo>
                  <a:lnTo>
                    <a:pt x="3006395" y="380187"/>
                  </a:lnTo>
                  <a:lnTo>
                    <a:pt x="3006395" y="1271563"/>
                  </a:lnTo>
                  <a:lnTo>
                    <a:pt x="3187194" y="1271563"/>
                  </a:lnTo>
                  <a:lnTo>
                    <a:pt x="3187194" y="819411"/>
                  </a:lnTo>
                  <a:cubicBezTo>
                    <a:pt x="3187194" y="727783"/>
                    <a:pt x="3198894" y="679915"/>
                    <a:pt x="3233517" y="629638"/>
                  </a:cubicBezTo>
                  <a:cubicBezTo>
                    <a:pt x="3272300" y="572310"/>
                    <a:pt x="3331926" y="540683"/>
                    <a:pt x="3401277" y="540683"/>
                  </a:cubicBezTo>
                  <a:cubicBezTo>
                    <a:pt x="3410356" y="540683"/>
                    <a:pt x="3423983" y="540683"/>
                    <a:pt x="3437445" y="542393"/>
                  </a:cubicBezTo>
                  <a:moveTo>
                    <a:pt x="4250980" y="826838"/>
                  </a:moveTo>
                  <a:cubicBezTo>
                    <a:pt x="4250980" y="1000692"/>
                    <a:pt x="4140918" y="1122077"/>
                    <a:pt x="3983364" y="1122077"/>
                  </a:cubicBezTo>
                  <a:cubicBezTo>
                    <a:pt x="3822174" y="1122077"/>
                    <a:pt x="3713875" y="1003466"/>
                    <a:pt x="3713875" y="826838"/>
                  </a:cubicBezTo>
                  <a:cubicBezTo>
                    <a:pt x="3713875" y="649088"/>
                    <a:pt x="3822920" y="529677"/>
                    <a:pt x="3985180" y="529677"/>
                  </a:cubicBezTo>
                  <a:cubicBezTo>
                    <a:pt x="4144179" y="529677"/>
                    <a:pt x="4250980" y="649088"/>
                    <a:pt x="4250980" y="826838"/>
                  </a:cubicBezTo>
                  <a:moveTo>
                    <a:pt x="4435464" y="828654"/>
                  </a:moveTo>
                  <a:cubicBezTo>
                    <a:pt x="4435464" y="557084"/>
                    <a:pt x="4246120" y="359885"/>
                    <a:pt x="3985180" y="359885"/>
                  </a:cubicBezTo>
                  <a:cubicBezTo>
                    <a:pt x="3716818" y="359885"/>
                    <a:pt x="3529338" y="551155"/>
                    <a:pt x="3529338" y="824916"/>
                  </a:cubicBezTo>
                  <a:cubicBezTo>
                    <a:pt x="3529338" y="1099848"/>
                    <a:pt x="3714521" y="1291865"/>
                    <a:pt x="3979622" y="1291865"/>
                  </a:cubicBezTo>
                  <a:cubicBezTo>
                    <a:pt x="4235272" y="1291865"/>
                    <a:pt x="4435464" y="1088418"/>
                    <a:pt x="4435464" y="828654"/>
                  </a:cubicBezTo>
                  <a:moveTo>
                    <a:pt x="5261608" y="828654"/>
                  </a:moveTo>
                  <a:cubicBezTo>
                    <a:pt x="5261608" y="909382"/>
                    <a:pt x="5239596" y="986748"/>
                    <a:pt x="5205508" y="1025854"/>
                  </a:cubicBezTo>
                  <a:cubicBezTo>
                    <a:pt x="5153150" y="1087026"/>
                    <a:pt x="5080062" y="1122077"/>
                    <a:pt x="5005052" y="1122077"/>
                  </a:cubicBezTo>
                  <a:cubicBezTo>
                    <a:pt x="4855296" y="1122077"/>
                    <a:pt x="4746675" y="996361"/>
                    <a:pt x="4746675" y="823153"/>
                  </a:cubicBezTo>
                  <a:cubicBezTo>
                    <a:pt x="4746675" y="650316"/>
                    <a:pt x="4854386" y="529677"/>
                    <a:pt x="5008683" y="529677"/>
                  </a:cubicBezTo>
                  <a:cubicBezTo>
                    <a:pt x="5078193" y="529677"/>
                    <a:pt x="5151652" y="563177"/>
                    <a:pt x="5200378" y="617081"/>
                  </a:cubicBezTo>
                  <a:cubicBezTo>
                    <a:pt x="5246112" y="667892"/>
                    <a:pt x="5261608" y="721266"/>
                    <a:pt x="5261608" y="828654"/>
                  </a:cubicBezTo>
                  <a:moveTo>
                    <a:pt x="5327264" y="1583314"/>
                  </a:moveTo>
                  <a:cubicBezTo>
                    <a:pt x="5409426" y="1504990"/>
                    <a:pt x="5446113" y="1404277"/>
                    <a:pt x="5446113" y="1256819"/>
                  </a:cubicBezTo>
                  <a:lnTo>
                    <a:pt x="5446113" y="380187"/>
                  </a:lnTo>
                  <a:lnTo>
                    <a:pt x="5265239" y="380187"/>
                  </a:lnTo>
                  <a:lnTo>
                    <a:pt x="5265239" y="488537"/>
                  </a:lnTo>
                  <a:cubicBezTo>
                    <a:pt x="5186005" y="398673"/>
                    <a:pt x="5100153" y="359885"/>
                    <a:pt x="4982875" y="359885"/>
                  </a:cubicBezTo>
                  <a:cubicBezTo>
                    <a:pt x="4866567" y="359885"/>
                    <a:pt x="4771201" y="395361"/>
                    <a:pt x="4699394" y="465190"/>
                  </a:cubicBezTo>
                  <a:cubicBezTo>
                    <a:pt x="4611080" y="549710"/>
                    <a:pt x="4558400" y="685574"/>
                    <a:pt x="4558400" y="828654"/>
                  </a:cubicBezTo>
                  <a:cubicBezTo>
                    <a:pt x="4558400" y="1092743"/>
                    <a:pt x="4736097" y="1291865"/>
                    <a:pt x="4971816" y="1291865"/>
                  </a:cubicBezTo>
                  <a:cubicBezTo>
                    <a:pt x="5092032" y="1291865"/>
                    <a:pt x="5185952" y="1246830"/>
                    <a:pt x="5265239" y="1150553"/>
                  </a:cubicBezTo>
                  <a:lnTo>
                    <a:pt x="5265239" y="1267931"/>
                  </a:lnTo>
                  <a:cubicBezTo>
                    <a:pt x="5265239" y="1350745"/>
                    <a:pt x="5245313" y="1414431"/>
                    <a:pt x="5206095" y="1457116"/>
                  </a:cubicBezTo>
                  <a:cubicBezTo>
                    <a:pt x="5162288" y="1504291"/>
                    <a:pt x="5083159" y="1533625"/>
                    <a:pt x="4999546" y="1533625"/>
                  </a:cubicBezTo>
                  <a:cubicBezTo>
                    <a:pt x="4932122" y="1533625"/>
                    <a:pt x="4856471" y="1514979"/>
                    <a:pt x="4811695" y="1487409"/>
                  </a:cubicBezTo>
                  <a:cubicBezTo>
                    <a:pt x="4788777" y="1471596"/>
                    <a:pt x="4771254" y="1455624"/>
                    <a:pt x="4733588" y="1416300"/>
                  </a:cubicBezTo>
                  <a:lnTo>
                    <a:pt x="4719215" y="1401339"/>
                  </a:lnTo>
                  <a:lnTo>
                    <a:pt x="4595103" y="1525451"/>
                  </a:lnTo>
                  <a:lnTo>
                    <a:pt x="4607819" y="1539824"/>
                  </a:lnTo>
                  <a:cubicBezTo>
                    <a:pt x="4703719" y="1647106"/>
                    <a:pt x="4835528" y="1701544"/>
                    <a:pt x="4999546" y="1701544"/>
                  </a:cubicBezTo>
                  <a:cubicBezTo>
                    <a:pt x="5134664" y="1701544"/>
                    <a:pt x="5247981" y="1660675"/>
                    <a:pt x="5327264" y="1583314"/>
                  </a:cubicBezTo>
                  <a:moveTo>
                    <a:pt x="6317923" y="747497"/>
                  </a:moveTo>
                  <a:lnTo>
                    <a:pt x="5805203" y="747497"/>
                  </a:lnTo>
                  <a:cubicBezTo>
                    <a:pt x="5814785" y="696051"/>
                    <a:pt x="5825267" y="667627"/>
                    <a:pt x="5845913" y="635144"/>
                  </a:cubicBezTo>
                  <a:cubicBezTo>
                    <a:pt x="5892024" y="566756"/>
                    <a:pt x="5971327" y="525990"/>
                    <a:pt x="6057989" y="525990"/>
                  </a:cubicBezTo>
                  <a:cubicBezTo>
                    <a:pt x="6144228" y="525990"/>
                    <a:pt x="6225702" y="566274"/>
                    <a:pt x="6275730" y="633487"/>
                  </a:cubicBezTo>
                  <a:cubicBezTo>
                    <a:pt x="6300453" y="669067"/>
                    <a:pt x="6312047" y="699841"/>
                    <a:pt x="6317923" y="747497"/>
                  </a:cubicBezTo>
                  <a:moveTo>
                    <a:pt x="6508188" y="872890"/>
                  </a:moveTo>
                  <a:cubicBezTo>
                    <a:pt x="6510094" y="851683"/>
                    <a:pt x="6510094" y="827426"/>
                    <a:pt x="6510094" y="815779"/>
                  </a:cubicBezTo>
                  <a:cubicBezTo>
                    <a:pt x="6510094" y="555909"/>
                    <a:pt x="6315700" y="359885"/>
                    <a:pt x="6057989" y="359885"/>
                  </a:cubicBezTo>
                  <a:cubicBezTo>
                    <a:pt x="5798109" y="359885"/>
                    <a:pt x="5609538" y="557084"/>
                    <a:pt x="5609538" y="828654"/>
                  </a:cubicBezTo>
                  <a:cubicBezTo>
                    <a:pt x="5609538" y="1097074"/>
                    <a:pt x="5800491" y="1291865"/>
                    <a:pt x="6063495" y="1291865"/>
                  </a:cubicBezTo>
                  <a:cubicBezTo>
                    <a:pt x="6235020" y="1291865"/>
                    <a:pt x="6386956" y="1199867"/>
                    <a:pt x="6460066" y="1051710"/>
                  </a:cubicBezTo>
                  <a:lnTo>
                    <a:pt x="6469966" y="1031572"/>
                  </a:lnTo>
                  <a:lnTo>
                    <a:pt x="6308923" y="971517"/>
                  </a:lnTo>
                  <a:lnTo>
                    <a:pt x="6300559" y="986689"/>
                  </a:lnTo>
                  <a:cubicBezTo>
                    <a:pt x="6254237" y="1068968"/>
                    <a:pt x="6161169" y="1122077"/>
                    <a:pt x="6063495" y="1122077"/>
                  </a:cubicBezTo>
                  <a:cubicBezTo>
                    <a:pt x="5977415" y="1122077"/>
                    <a:pt x="5901923" y="1083664"/>
                    <a:pt x="5850784" y="1013832"/>
                  </a:cubicBezTo>
                  <a:cubicBezTo>
                    <a:pt x="5821932" y="975900"/>
                    <a:pt x="5809438" y="945021"/>
                    <a:pt x="5802132" y="891377"/>
                  </a:cubicBezTo>
                  <a:lnTo>
                    <a:pt x="6506547" y="891377"/>
                  </a:lnTo>
                  <a:lnTo>
                    <a:pt x="6508188" y="872890"/>
                  </a:lnTo>
                  <a:close/>
                  <a:moveTo>
                    <a:pt x="7205139" y="1271563"/>
                  </a:moveTo>
                  <a:lnTo>
                    <a:pt x="7385928" y="1271563"/>
                  </a:lnTo>
                  <a:lnTo>
                    <a:pt x="7385928" y="677294"/>
                  </a:lnTo>
                  <a:cubicBezTo>
                    <a:pt x="7385928" y="554734"/>
                    <a:pt x="7365387" y="491422"/>
                    <a:pt x="7307154" y="435163"/>
                  </a:cubicBezTo>
                  <a:cubicBezTo>
                    <a:pt x="7252520" y="386599"/>
                    <a:pt x="7177557" y="359885"/>
                    <a:pt x="7096189" y="359885"/>
                  </a:cubicBezTo>
                  <a:cubicBezTo>
                    <a:pt x="7000739" y="359885"/>
                    <a:pt x="6929853" y="391193"/>
                    <a:pt x="6863625" y="463694"/>
                  </a:cubicBezTo>
                  <a:lnTo>
                    <a:pt x="6863625" y="380187"/>
                  </a:lnTo>
                  <a:lnTo>
                    <a:pt x="6682836" y="380187"/>
                  </a:lnTo>
                  <a:lnTo>
                    <a:pt x="6682836" y="1271563"/>
                  </a:lnTo>
                  <a:lnTo>
                    <a:pt x="6863625" y="1271563"/>
                  </a:lnTo>
                  <a:lnTo>
                    <a:pt x="6863625" y="732701"/>
                  </a:lnTo>
                  <a:cubicBezTo>
                    <a:pt x="6863625" y="667839"/>
                    <a:pt x="6876278" y="632147"/>
                    <a:pt x="6913971" y="591066"/>
                  </a:cubicBezTo>
                  <a:cubicBezTo>
                    <a:pt x="6951505" y="548481"/>
                    <a:pt x="7002433" y="525990"/>
                    <a:pt x="7061143" y="525990"/>
                  </a:cubicBezTo>
                  <a:cubicBezTo>
                    <a:pt x="7110748" y="525990"/>
                    <a:pt x="7155428" y="544744"/>
                    <a:pt x="7177769" y="575089"/>
                  </a:cubicBezTo>
                  <a:cubicBezTo>
                    <a:pt x="7197410" y="601215"/>
                    <a:pt x="7205139" y="638722"/>
                    <a:pt x="7205139" y="708709"/>
                  </a:cubicBezTo>
                  <a:lnTo>
                    <a:pt x="7205139" y="1271563"/>
                  </a:lnTo>
                  <a:close/>
                  <a:moveTo>
                    <a:pt x="7822309" y="162418"/>
                  </a:moveTo>
                  <a:cubicBezTo>
                    <a:pt x="7822309" y="99268"/>
                    <a:pt x="7774452" y="49847"/>
                    <a:pt x="7713412" y="49847"/>
                  </a:cubicBezTo>
                  <a:cubicBezTo>
                    <a:pt x="7650255" y="49847"/>
                    <a:pt x="7602662" y="97451"/>
                    <a:pt x="7602662" y="160549"/>
                  </a:cubicBezTo>
                  <a:cubicBezTo>
                    <a:pt x="7602662" y="223699"/>
                    <a:pt x="7649514" y="271303"/>
                    <a:pt x="7711560" y="271303"/>
                  </a:cubicBezTo>
                  <a:cubicBezTo>
                    <a:pt x="7773711" y="271303"/>
                    <a:pt x="7822309" y="223432"/>
                    <a:pt x="7822309" y="162418"/>
                  </a:cubicBezTo>
                  <a:moveTo>
                    <a:pt x="8704760" y="826838"/>
                  </a:moveTo>
                  <a:cubicBezTo>
                    <a:pt x="8704760" y="1000692"/>
                    <a:pt x="8594751" y="1122077"/>
                    <a:pt x="8437150" y="1122077"/>
                  </a:cubicBezTo>
                  <a:cubicBezTo>
                    <a:pt x="8276002" y="1122077"/>
                    <a:pt x="8167740" y="1003466"/>
                    <a:pt x="8167740" y="826838"/>
                  </a:cubicBezTo>
                  <a:cubicBezTo>
                    <a:pt x="8167740" y="649088"/>
                    <a:pt x="8276743" y="529677"/>
                    <a:pt x="8439003" y="529677"/>
                  </a:cubicBezTo>
                  <a:cubicBezTo>
                    <a:pt x="8597980" y="529677"/>
                    <a:pt x="8704760" y="649088"/>
                    <a:pt x="8704760" y="826838"/>
                  </a:cubicBezTo>
                  <a:moveTo>
                    <a:pt x="8889307" y="828654"/>
                  </a:moveTo>
                  <a:cubicBezTo>
                    <a:pt x="8889307" y="557084"/>
                    <a:pt x="8699942" y="359885"/>
                    <a:pt x="8439003" y="359885"/>
                  </a:cubicBezTo>
                  <a:cubicBezTo>
                    <a:pt x="8170652" y="359885"/>
                    <a:pt x="7983193" y="551155"/>
                    <a:pt x="7983193" y="824916"/>
                  </a:cubicBezTo>
                  <a:cubicBezTo>
                    <a:pt x="7983193" y="1099848"/>
                    <a:pt x="8168375" y="1291865"/>
                    <a:pt x="8433444" y="1291865"/>
                  </a:cubicBezTo>
                  <a:cubicBezTo>
                    <a:pt x="8689089" y="1291865"/>
                    <a:pt x="8889307" y="1088418"/>
                    <a:pt x="8889307" y="828654"/>
                  </a:cubicBezTo>
                  <a:moveTo>
                    <a:pt x="9658150" y="1197940"/>
                  </a:moveTo>
                  <a:cubicBezTo>
                    <a:pt x="9724854" y="1137144"/>
                    <a:pt x="9749630" y="1068539"/>
                    <a:pt x="9749630" y="944968"/>
                  </a:cubicBezTo>
                  <a:lnTo>
                    <a:pt x="9749630" y="380187"/>
                  </a:lnTo>
                  <a:lnTo>
                    <a:pt x="9566988" y="380187"/>
                  </a:lnTo>
                  <a:lnTo>
                    <a:pt x="9566988" y="944968"/>
                  </a:lnTo>
                  <a:cubicBezTo>
                    <a:pt x="9566988" y="1008437"/>
                    <a:pt x="9558835" y="1039587"/>
                    <a:pt x="9535012" y="1068222"/>
                  </a:cubicBezTo>
                  <a:cubicBezTo>
                    <a:pt x="9503831" y="1104284"/>
                    <a:pt x="9453009" y="1125815"/>
                    <a:pt x="9399010" y="1125815"/>
                  </a:cubicBezTo>
                  <a:cubicBezTo>
                    <a:pt x="9299060" y="1125815"/>
                    <a:pt x="9229233" y="1049947"/>
                    <a:pt x="9229233" y="941225"/>
                  </a:cubicBezTo>
                  <a:lnTo>
                    <a:pt x="9229233" y="380187"/>
                  </a:lnTo>
                  <a:lnTo>
                    <a:pt x="9048391" y="380187"/>
                  </a:lnTo>
                  <a:lnTo>
                    <a:pt x="9048391" y="944968"/>
                  </a:lnTo>
                  <a:cubicBezTo>
                    <a:pt x="9048391" y="1054330"/>
                    <a:pt x="9078249" y="1136392"/>
                    <a:pt x="9139659" y="1195965"/>
                  </a:cubicBezTo>
                  <a:cubicBezTo>
                    <a:pt x="9204563" y="1256925"/>
                    <a:pt x="9299113" y="1291865"/>
                    <a:pt x="9399010" y="1291865"/>
                  </a:cubicBezTo>
                  <a:cubicBezTo>
                    <a:pt x="9499701" y="1291865"/>
                    <a:pt x="9591763" y="1258529"/>
                    <a:pt x="9658150" y="1197945"/>
                  </a:cubicBezTo>
                  <a:moveTo>
                    <a:pt x="10385594" y="653307"/>
                  </a:moveTo>
                  <a:lnTo>
                    <a:pt x="10567335" y="653307"/>
                  </a:lnTo>
                  <a:lnTo>
                    <a:pt x="10566383" y="632041"/>
                  </a:lnTo>
                  <a:cubicBezTo>
                    <a:pt x="10558442" y="459099"/>
                    <a:pt x="10442768" y="359885"/>
                    <a:pt x="10249009" y="359885"/>
                  </a:cubicBezTo>
                  <a:cubicBezTo>
                    <a:pt x="10058003" y="359885"/>
                    <a:pt x="9929730" y="467434"/>
                    <a:pt x="9929730" y="627446"/>
                  </a:cubicBezTo>
                  <a:cubicBezTo>
                    <a:pt x="9929730" y="765666"/>
                    <a:pt x="10016922" y="850825"/>
                    <a:pt x="10212587" y="903611"/>
                  </a:cubicBezTo>
                  <a:cubicBezTo>
                    <a:pt x="10347689" y="937858"/>
                    <a:pt x="10391099" y="968955"/>
                    <a:pt x="10391099" y="1031625"/>
                  </a:cubicBezTo>
                  <a:cubicBezTo>
                    <a:pt x="10391099" y="1095576"/>
                    <a:pt x="10336730" y="1136874"/>
                    <a:pt x="10252715" y="1136874"/>
                  </a:cubicBezTo>
                  <a:cubicBezTo>
                    <a:pt x="10155517" y="1136874"/>
                    <a:pt x="10102102" y="1093384"/>
                    <a:pt x="10093843" y="1007579"/>
                  </a:cubicBezTo>
                  <a:lnTo>
                    <a:pt x="10092096" y="989257"/>
                  </a:lnTo>
                  <a:lnTo>
                    <a:pt x="9913054" y="989257"/>
                  </a:lnTo>
                  <a:lnTo>
                    <a:pt x="9915066" y="1011216"/>
                  </a:lnTo>
                  <a:cubicBezTo>
                    <a:pt x="9930789" y="1194843"/>
                    <a:pt x="10047626" y="1291865"/>
                    <a:pt x="10252715" y="1291865"/>
                  </a:cubicBezTo>
                  <a:cubicBezTo>
                    <a:pt x="10445839" y="1291865"/>
                    <a:pt x="10575647" y="1184371"/>
                    <a:pt x="10575647" y="1024303"/>
                  </a:cubicBezTo>
                  <a:cubicBezTo>
                    <a:pt x="10575647" y="956667"/>
                    <a:pt x="10548542" y="890948"/>
                    <a:pt x="10501426" y="843879"/>
                  </a:cubicBezTo>
                  <a:cubicBezTo>
                    <a:pt x="10457485" y="799913"/>
                    <a:pt x="10397028" y="770955"/>
                    <a:pt x="10285750" y="740769"/>
                  </a:cubicBezTo>
                  <a:cubicBezTo>
                    <a:pt x="10125660" y="696474"/>
                    <a:pt x="10110519" y="671471"/>
                    <a:pt x="10110519" y="616440"/>
                  </a:cubicBezTo>
                  <a:cubicBezTo>
                    <a:pt x="10110519" y="553823"/>
                    <a:pt x="10161447" y="514877"/>
                    <a:pt x="10243398" y="514877"/>
                  </a:cubicBezTo>
                  <a:cubicBezTo>
                    <a:pt x="10329795" y="514877"/>
                    <a:pt x="10385594" y="557672"/>
                    <a:pt x="10385594" y="623762"/>
                  </a:cubicBezTo>
                  <a:lnTo>
                    <a:pt x="10385594" y="653307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0C7A2B3-F3A4-BDC2-0193-F4EC19CAE431}"/>
              </a:ext>
            </a:extLst>
          </p:cNvPr>
          <p:cNvGrpSpPr/>
          <p:nvPr userDrawn="1"/>
        </p:nvGrpSpPr>
        <p:grpSpPr>
          <a:xfrm rot="5400000">
            <a:off x="-3617983" y="3323777"/>
            <a:ext cx="6854690" cy="213756"/>
            <a:chOff x="-1" y="-286346"/>
            <a:chExt cx="5820565" cy="181508"/>
          </a:xfrm>
        </p:grpSpPr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572BB21F-6C47-C574-8CA2-B355CC5F2493}"/>
                </a:ext>
              </a:extLst>
            </p:cNvPr>
            <p:cNvGrpSpPr/>
            <p:nvPr userDrawn="1"/>
          </p:nvGrpSpPr>
          <p:grpSpPr>
            <a:xfrm rot="16200000">
              <a:off x="363007" y="-649354"/>
              <a:ext cx="181503" cy="907520"/>
              <a:chOff x="1319213" y="-1663170"/>
              <a:chExt cx="181503" cy="907520"/>
            </a:xfrm>
          </p:grpSpPr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391C65FF-421A-6F5A-B0AC-4C43F7F06A9D}"/>
                  </a:ext>
                </a:extLst>
              </p:cNvPr>
              <p:cNvSpPr/>
              <p:nvPr/>
            </p:nvSpPr>
            <p:spPr>
              <a:xfrm>
                <a:off x="1319213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44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2E6C3D99-C133-1AE5-84DE-7B030B9A310F}"/>
                  </a:ext>
                </a:extLst>
              </p:cNvPr>
              <p:cNvSpPr/>
              <p:nvPr/>
            </p:nvSpPr>
            <p:spPr>
              <a:xfrm>
                <a:off x="1319213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69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512ACC74-0178-F8C3-1573-900614B51F33}"/>
                  </a:ext>
                </a:extLst>
              </p:cNvPr>
              <p:cNvSpPr/>
              <p:nvPr/>
            </p:nvSpPr>
            <p:spPr>
              <a:xfrm>
                <a:off x="1319213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FE8F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105D46CB-F622-2989-1A41-600362351B13}"/>
                  </a:ext>
                </a:extLst>
              </p:cNvPr>
              <p:cNvSpPr/>
              <p:nvPr/>
            </p:nvSpPr>
            <p:spPr>
              <a:xfrm>
                <a:off x="1319213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B4B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B4D2CFBE-4A89-F4E4-78BA-F56D2A650558}"/>
                  </a:ext>
                </a:extLst>
              </p:cNvPr>
              <p:cNvSpPr/>
              <p:nvPr/>
            </p:nvSpPr>
            <p:spPr>
              <a:xfrm>
                <a:off x="1319213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D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9436E735-7629-D444-CEB3-9D02D4E38A6D}"/>
                </a:ext>
              </a:extLst>
            </p:cNvPr>
            <p:cNvGrpSpPr/>
            <p:nvPr userDrawn="1"/>
          </p:nvGrpSpPr>
          <p:grpSpPr>
            <a:xfrm rot="16200000">
              <a:off x="1345616" y="-649354"/>
              <a:ext cx="181503" cy="907520"/>
              <a:chOff x="1319213" y="-664912"/>
              <a:chExt cx="181503" cy="907520"/>
            </a:xfrm>
          </p:grpSpPr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16B4429B-D8D5-9408-97EF-C54728D14323}"/>
                  </a:ext>
                </a:extLst>
              </p:cNvPr>
              <p:cNvSpPr/>
              <p:nvPr/>
            </p:nvSpPr>
            <p:spPr>
              <a:xfrm>
                <a:off x="1319213" y="-66491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6400A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869B352C-79B9-385E-2D76-F913B76681BE}"/>
                  </a:ext>
                </a:extLst>
              </p:cNvPr>
              <p:cNvSpPr/>
              <p:nvPr/>
            </p:nvSpPr>
            <p:spPr>
              <a:xfrm>
                <a:off x="1319213" y="-483404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33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2B27D0B2-2622-4D5B-B2B4-03A19C928ACC}"/>
                  </a:ext>
                </a:extLst>
              </p:cNvPr>
              <p:cNvSpPr/>
              <p:nvPr/>
            </p:nvSpPr>
            <p:spPr>
              <a:xfrm>
                <a:off x="1319213" y="-30189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266C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6F549DEA-1C09-4137-E4EA-7F13BF0F5E34}"/>
                  </a:ext>
                </a:extLst>
              </p:cNvPr>
              <p:cNvSpPr/>
              <p:nvPr/>
            </p:nvSpPr>
            <p:spPr>
              <a:xfrm>
                <a:off x="1319213" y="-120387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199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81907198-EF68-A3B4-6417-C5F1D11040ED}"/>
                  </a:ext>
                </a:extLst>
              </p:cNvPr>
              <p:cNvSpPr/>
              <p:nvPr/>
            </p:nvSpPr>
            <p:spPr>
              <a:xfrm>
                <a:off x="1319213" y="6110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0CC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53D3F8B6-75C1-56F2-D1D5-A2D10C198D1E}"/>
                </a:ext>
              </a:extLst>
            </p:cNvPr>
            <p:cNvGrpSpPr/>
            <p:nvPr userDrawn="1"/>
          </p:nvGrpSpPr>
          <p:grpSpPr>
            <a:xfrm rot="16200000">
              <a:off x="2328223" y="-649352"/>
              <a:ext cx="181508" cy="907520"/>
              <a:chOff x="1682219" y="-1663170"/>
              <a:chExt cx="181508" cy="907520"/>
            </a:xfrm>
          </p:grpSpPr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59951A1E-7DDA-91B8-559A-EB79FB27C860}"/>
                  </a:ext>
                </a:extLst>
              </p:cNvPr>
              <p:cNvSpPr/>
              <p:nvPr/>
            </p:nvSpPr>
            <p:spPr>
              <a:xfrm>
                <a:off x="1682219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CC8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B6B5C812-E453-576A-8F8B-663A9B070E75}"/>
                  </a:ext>
                </a:extLst>
              </p:cNvPr>
              <p:cNvSpPr/>
              <p:nvPr/>
            </p:nvSpPr>
            <p:spPr>
              <a:xfrm>
                <a:off x="1682224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3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650B6516-0E17-FC57-1A9C-C963F42F938A}"/>
                  </a:ext>
                </a:extLst>
              </p:cNvPr>
              <p:cNvSpPr/>
              <p:nvPr/>
            </p:nvSpPr>
            <p:spPr>
              <a:xfrm>
                <a:off x="1682224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ADE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B5C21886-EAF9-5D9F-F86A-4B2D2D1C57EF}"/>
                  </a:ext>
                </a:extLst>
              </p:cNvPr>
              <p:cNvSpPr/>
              <p:nvPr/>
            </p:nvSpPr>
            <p:spPr>
              <a:xfrm>
                <a:off x="1682224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E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6075624F-5481-A6D0-D018-B7E16CA464F5}"/>
                  </a:ext>
                </a:extLst>
              </p:cNvPr>
              <p:cNvSpPr/>
              <p:nvPr/>
            </p:nvSpPr>
            <p:spPr>
              <a:xfrm>
                <a:off x="1682219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8F4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C5ED28EE-D76E-F646-8AC1-49243921CC67}"/>
                </a:ext>
              </a:extLst>
            </p:cNvPr>
            <p:cNvGrpSpPr/>
            <p:nvPr userDrawn="1"/>
          </p:nvGrpSpPr>
          <p:grpSpPr>
            <a:xfrm rot="16200000">
              <a:off x="5276052" y="-649354"/>
              <a:ext cx="181503" cy="907520"/>
              <a:chOff x="2226738" y="-1663170"/>
              <a:chExt cx="181503" cy="907520"/>
            </a:xfrm>
          </p:grpSpPr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8ECF60F9-1CB9-CE5E-72E3-F41B1B0A532F}"/>
                  </a:ext>
                </a:extLst>
              </p:cNvPr>
              <p:cNvSpPr/>
              <p:nvPr/>
            </p:nvSpPr>
            <p:spPr>
              <a:xfrm>
                <a:off x="2226738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3F6550EC-43E1-9D43-0942-9055707730E1}"/>
                  </a:ext>
                </a:extLst>
              </p:cNvPr>
              <p:cNvSpPr/>
              <p:nvPr/>
            </p:nvSpPr>
            <p:spPr>
              <a:xfrm>
                <a:off x="2226738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5757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13D7B843-DBB0-A69A-8B01-324DF6913697}"/>
                  </a:ext>
                </a:extLst>
              </p:cNvPr>
              <p:cNvSpPr/>
              <p:nvPr/>
            </p:nvSpPr>
            <p:spPr>
              <a:xfrm>
                <a:off x="2226738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8787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6EC0FDB3-B960-0863-13F3-BE1A8BF9E40B}"/>
                  </a:ext>
                </a:extLst>
              </p:cNvPr>
              <p:cNvSpPr/>
              <p:nvPr/>
            </p:nvSpPr>
            <p:spPr>
              <a:xfrm>
                <a:off x="2226738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2B2B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BAEEB9AA-086E-1F19-2202-207CCBB865E6}"/>
                  </a:ext>
                </a:extLst>
              </p:cNvPr>
              <p:cNvSpPr/>
              <p:nvPr/>
            </p:nvSpPr>
            <p:spPr>
              <a:xfrm>
                <a:off x="2226738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DA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BF904403-7EA0-E154-3E1F-520030156125}"/>
                </a:ext>
              </a:extLst>
            </p:cNvPr>
            <p:cNvGrpSpPr/>
            <p:nvPr userDrawn="1"/>
          </p:nvGrpSpPr>
          <p:grpSpPr>
            <a:xfrm rot="16200000">
              <a:off x="3310834" y="-649354"/>
              <a:ext cx="181503" cy="907520"/>
              <a:chOff x="1863727" y="-1663170"/>
              <a:chExt cx="181503" cy="907520"/>
            </a:xfrm>
          </p:grpSpPr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6826FCB4-F85B-4D2B-8D72-457429235496}"/>
                  </a:ext>
                </a:extLst>
              </p:cNvPr>
              <p:cNvSpPr/>
              <p:nvPr/>
            </p:nvSpPr>
            <p:spPr>
              <a:xfrm>
                <a:off x="1863727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2A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0AAC2E25-3571-4DA3-0197-37D9046861CD}"/>
                  </a:ext>
                </a:extLst>
              </p:cNvPr>
              <p:cNvSpPr/>
              <p:nvPr/>
            </p:nvSpPr>
            <p:spPr>
              <a:xfrm>
                <a:off x="1863727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5DB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E8A0766D-2134-8494-505D-2CFA06F73FB2}"/>
                  </a:ext>
                </a:extLst>
              </p:cNvPr>
              <p:cNvSpPr/>
              <p:nvPr/>
            </p:nvSpPr>
            <p:spPr>
              <a:xfrm>
                <a:off x="1863727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8E4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022CBD87-355A-F5D8-5B18-4E07CBE6C8D3}"/>
                  </a:ext>
                </a:extLst>
              </p:cNvPr>
              <p:cNvSpPr/>
              <p:nvPr/>
            </p:nvSpPr>
            <p:spPr>
              <a:xfrm>
                <a:off x="1863727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ED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614934C0-A302-2995-FB2E-2D278E45B6DD}"/>
                  </a:ext>
                </a:extLst>
              </p:cNvPr>
              <p:cNvSpPr/>
              <p:nvPr/>
            </p:nvSpPr>
            <p:spPr>
              <a:xfrm>
                <a:off x="1863727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DF6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DCA72090-F55C-B036-7E93-637E626EFA16}"/>
                </a:ext>
              </a:extLst>
            </p:cNvPr>
            <p:cNvGrpSpPr/>
            <p:nvPr userDrawn="1"/>
          </p:nvGrpSpPr>
          <p:grpSpPr>
            <a:xfrm rot="16200000">
              <a:off x="4293441" y="-649352"/>
              <a:ext cx="181508" cy="907520"/>
              <a:chOff x="2045230" y="-1663170"/>
              <a:chExt cx="181508" cy="907520"/>
            </a:xfrm>
          </p:grpSpPr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BA6F0153-CD0D-ECB5-8BAA-2534D6E52011}"/>
                  </a:ext>
                </a:extLst>
              </p:cNvPr>
              <p:cNvSpPr/>
              <p:nvPr/>
            </p:nvSpPr>
            <p:spPr>
              <a:xfrm>
                <a:off x="2045230" y="-937158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9F7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5FF5A378-51AC-C9BA-54FD-D6745FF74E8E}"/>
                  </a:ext>
                </a:extLst>
              </p:cNvPr>
              <p:cNvSpPr/>
              <p:nvPr/>
            </p:nvSpPr>
            <p:spPr>
              <a:xfrm>
                <a:off x="2045230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FED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8E1392AB-793F-A4A4-7845-EE9BE300CA3B}"/>
                  </a:ext>
                </a:extLst>
              </p:cNvPr>
              <p:cNvSpPr/>
              <p:nvPr/>
            </p:nvSpPr>
            <p:spPr>
              <a:xfrm>
                <a:off x="2045230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5E3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E04901BA-3316-2E66-D75D-E3415FFDA9D2}"/>
                  </a:ext>
                </a:extLst>
              </p:cNvPr>
              <p:cNvSpPr/>
              <p:nvPr/>
            </p:nvSpPr>
            <p:spPr>
              <a:xfrm>
                <a:off x="2045230" y="-1663170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CFC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84145488-39FE-9A49-BA07-C1DD921F2209}"/>
                  </a:ext>
                </a:extLst>
              </p:cNvPr>
              <p:cNvSpPr/>
              <p:nvPr/>
            </p:nvSpPr>
            <p:spPr>
              <a:xfrm>
                <a:off x="2045230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BD9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7489275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 (red) and Content 1/2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Grafik 47">
            <a:extLst>
              <a:ext uri="{FF2B5EF4-FFF2-40B4-BE49-F238E27FC236}">
                <a16:creationId xmlns:a16="http://schemas.microsoft.com/office/drawing/2014/main" id="{C15BD945-09F6-0311-2117-D32A59820A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0"/>
            <a:ext cx="6096000" cy="6857999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54812" y="1304925"/>
            <a:ext cx="4778374" cy="50514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FDC01C9A-5B99-87F0-F647-71E0D7C324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54812" y="397755"/>
            <a:ext cx="3174440" cy="753386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00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964FA6FD-B18C-64CF-40CD-9C782D91C43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415668" y="503483"/>
            <a:ext cx="1289916" cy="180000"/>
            <a:chOff x="-161925" y="-1630732"/>
            <a:chExt cx="12193587" cy="1701544"/>
          </a:xfrm>
          <a:solidFill>
            <a:schemeClr val="bg1"/>
          </a:solidFill>
        </p:grpSpPr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0BAA8276-ECA1-E336-BCFB-04B3EC51B77A}"/>
                </a:ext>
              </a:extLst>
            </p:cNvPr>
            <p:cNvSpPr/>
            <p:nvPr/>
          </p:nvSpPr>
          <p:spPr>
            <a:xfrm>
              <a:off x="10774928" y="-1247713"/>
              <a:ext cx="1256734" cy="356304"/>
            </a:xfrm>
            <a:custGeom>
              <a:avLst/>
              <a:gdLst>
                <a:gd name="connsiteX0" fmla="*/ 1226823 w 1256734"/>
                <a:gd name="connsiteY0" fmla="*/ 269166 h 356304"/>
                <a:gd name="connsiteX1" fmla="*/ 1133491 w 1256734"/>
                <a:gd name="connsiteY1" fmla="*/ 316610 h 356304"/>
                <a:gd name="connsiteX2" fmla="*/ 1010248 w 1256734"/>
                <a:gd name="connsiteY2" fmla="*/ 178448 h 356304"/>
                <a:gd name="connsiteX3" fmla="*/ 1131426 w 1256734"/>
                <a:gd name="connsiteY3" fmla="*/ 39696 h 356304"/>
                <a:gd name="connsiteX4" fmla="*/ 1226823 w 1256734"/>
                <a:gd name="connsiteY4" fmla="*/ 86659 h 356304"/>
                <a:gd name="connsiteX5" fmla="*/ 1256735 w 1256734"/>
                <a:gd name="connsiteY5" fmla="*/ 58823 h 356304"/>
                <a:gd name="connsiteX6" fmla="*/ 1216553 w 1256734"/>
                <a:gd name="connsiteY6" fmla="*/ 23241 h 356304"/>
                <a:gd name="connsiteX7" fmla="*/ 1130420 w 1256734"/>
                <a:gd name="connsiteY7" fmla="*/ 0 h 356304"/>
                <a:gd name="connsiteX8" fmla="*/ 965885 w 1256734"/>
                <a:gd name="connsiteY8" fmla="*/ 178448 h 356304"/>
                <a:gd name="connsiteX9" fmla="*/ 1011783 w 1256734"/>
                <a:gd name="connsiteY9" fmla="*/ 305763 h 356304"/>
                <a:gd name="connsiteX10" fmla="*/ 1129892 w 1256734"/>
                <a:gd name="connsiteY10" fmla="*/ 356305 h 356304"/>
                <a:gd name="connsiteX11" fmla="*/ 1255676 w 1256734"/>
                <a:gd name="connsiteY11" fmla="*/ 298071 h 356304"/>
                <a:gd name="connsiteX12" fmla="*/ 1226823 w 1256734"/>
                <a:gd name="connsiteY12" fmla="*/ 269166 h 356304"/>
                <a:gd name="connsiteX13" fmla="*/ 679216 w 1256734"/>
                <a:gd name="connsiteY13" fmla="*/ 197999 h 356304"/>
                <a:gd name="connsiteX14" fmla="*/ 846824 w 1256734"/>
                <a:gd name="connsiteY14" fmla="*/ 197999 h 356304"/>
                <a:gd name="connsiteX15" fmla="*/ 846824 w 1256734"/>
                <a:gd name="connsiteY15" fmla="*/ 350105 h 356304"/>
                <a:gd name="connsiteX16" fmla="*/ 890075 w 1256734"/>
                <a:gd name="connsiteY16" fmla="*/ 350105 h 356304"/>
                <a:gd name="connsiteX17" fmla="*/ 890075 w 1256734"/>
                <a:gd name="connsiteY17" fmla="*/ 6198 h 356304"/>
                <a:gd name="connsiteX18" fmla="*/ 846824 w 1256734"/>
                <a:gd name="connsiteY18" fmla="*/ 6198 h 356304"/>
                <a:gd name="connsiteX19" fmla="*/ 846824 w 1256734"/>
                <a:gd name="connsiteY19" fmla="*/ 160920 h 356304"/>
                <a:gd name="connsiteX20" fmla="*/ 679216 w 1256734"/>
                <a:gd name="connsiteY20" fmla="*/ 160920 h 356304"/>
                <a:gd name="connsiteX21" fmla="*/ 679216 w 1256734"/>
                <a:gd name="connsiteY21" fmla="*/ 6198 h 356304"/>
                <a:gd name="connsiteX22" fmla="*/ 635912 w 1256734"/>
                <a:gd name="connsiteY22" fmla="*/ 6198 h 356304"/>
                <a:gd name="connsiteX23" fmla="*/ 635912 w 1256734"/>
                <a:gd name="connsiteY23" fmla="*/ 350105 h 356304"/>
                <a:gd name="connsiteX24" fmla="*/ 679216 w 1256734"/>
                <a:gd name="connsiteY24" fmla="*/ 350105 h 356304"/>
                <a:gd name="connsiteX25" fmla="*/ 679216 w 1256734"/>
                <a:gd name="connsiteY25" fmla="*/ 197999 h 356304"/>
                <a:gd name="connsiteX26" fmla="*/ 392018 w 1256734"/>
                <a:gd name="connsiteY26" fmla="*/ 40230 h 356304"/>
                <a:gd name="connsiteX27" fmla="*/ 476563 w 1256734"/>
                <a:gd name="connsiteY27" fmla="*/ 75813 h 356304"/>
                <a:gd name="connsiteX28" fmla="*/ 515792 w 1256734"/>
                <a:gd name="connsiteY28" fmla="*/ 181011 h 356304"/>
                <a:gd name="connsiteX29" fmla="*/ 482758 w 1256734"/>
                <a:gd name="connsiteY29" fmla="*/ 275365 h 356304"/>
                <a:gd name="connsiteX30" fmla="*/ 390960 w 1256734"/>
                <a:gd name="connsiteY30" fmla="*/ 316610 h 356304"/>
                <a:gd name="connsiteX31" fmla="*/ 267239 w 1256734"/>
                <a:gd name="connsiteY31" fmla="*/ 178448 h 356304"/>
                <a:gd name="connsiteX32" fmla="*/ 392018 w 1256734"/>
                <a:gd name="connsiteY32" fmla="*/ 40230 h 356304"/>
                <a:gd name="connsiteX33" fmla="*/ 393077 w 1256734"/>
                <a:gd name="connsiteY33" fmla="*/ 0 h 356304"/>
                <a:gd name="connsiteX34" fmla="*/ 222876 w 1256734"/>
                <a:gd name="connsiteY34" fmla="*/ 179994 h 356304"/>
                <a:gd name="connsiteX35" fmla="*/ 258982 w 1256734"/>
                <a:gd name="connsiteY35" fmla="*/ 291872 h 356304"/>
                <a:gd name="connsiteX36" fmla="*/ 392018 w 1256734"/>
                <a:gd name="connsiteY36" fmla="*/ 356305 h 356304"/>
                <a:gd name="connsiteX37" fmla="*/ 501868 w 1256734"/>
                <a:gd name="connsiteY37" fmla="*/ 315059 h 356304"/>
                <a:gd name="connsiteX38" fmla="*/ 560155 w 1256734"/>
                <a:gd name="connsiteY38" fmla="*/ 181545 h 356304"/>
                <a:gd name="connsiteX39" fmla="*/ 519921 w 1256734"/>
                <a:gd name="connsiteY39" fmla="*/ 59304 h 356304"/>
                <a:gd name="connsiteX40" fmla="*/ 393077 w 1256734"/>
                <a:gd name="connsiteY40" fmla="*/ 0 h 356304"/>
                <a:gd name="connsiteX41" fmla="*/ 43306 w 1256734"/>
                <a:gd name="connsiteY41" fmla="*/ 310946 h 356304"/>
                <a:gd name="connsiteX42" fmla="*/ 43306 w 1256734"/>
                <a:gd name="connsiteY42" fmla="*/ 6198 h 356304"/>
                <a:gd name="connsiteX43" fmla="*/ 0 w 1256734"/>
                <a:gd name="connsiteY43" fmla="*/ 6198 h 356304"/>
                <a:gd name="connsiteX44" fmla="*/ 0 w 1256734"/>
                <a:gd name="connsiteY44" fmla="*/ 350105 h 356304"/>
                <a:gd name="connsiteX45" fmla="*/ 194237 w 1256734"/>
                <a:gd name="connsiteY45" fmla="*/ 350105 h 356304"/>
                <a:gd name="connsiteX46" fmla="*/ 194237 w 1256734"/>
                <a:gd name="connsiteY46" fmla="*/ 310946 h 356304"/>
                <a:gd name="connsiteX47" fmla="*/ 43306 w 1256734"/>
                <a:gd name="connsiteY47" fmla="*/ 310946 h 35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256734" h="356304">
                  <a:moveTo>
                    <a:pt x="1226823" y="269166"/>
                  </a:moveTo>
                  <a:cubicBezTo>
                    <a:pt x="1200037" y="301650"/>
                    <a:pt x="1171131" y="316610"/>
                    <a:pt x="1133491" y="316610"/>
                  </a:cubicBezTo>
                  <a:cubicBezTo>
                    <a:pt x="1062341" y="316610"/>
                    <a:pt x="1010248" y="258371"/>
                    <a:pt x="1010248" y="178448"/>
                  </a:cubicBezTo>
                  <a:cubicBezTo>
                    <a:pt x="1010248" y="97985"/>
                    <a:pt x="1061334" y="39696"/>
                    <a:pt x="1131426" y="39696"/>
                  </a:cubicBezTo>
                  <a:cubicBezTo>
                    <a:pt x="1168008" y="39696"/>
                    <a:pt x="1193313" y="52092"/>
                    <a:pt x="1226823" y="86659"/>
                  </a:cubicBezTo>
                  <a:lnTo>
                    <a:pt x="1256735" y="58823"/>
                  </a:lnTo>
                  <a:cubicBezTo>
                    <a:pt x="1239742" y="40230"/>
                    <a:pt x="1230424" y="32003"/>
                    <a:pt x="1216553" y="23241"/>
                  </a:cubicBezTo>
                  <a:cubicBezTo>
                    <a:pt x="1191725" y="8281"/>
                    <a:pt x="1161338" y="0"/>
                    <a:pt x="1130420" y="0"/>
                  </a:cubicBezTo>
                  <a:cubicBezTo>
                    <a:pt x="1035500" y="0"/>
                    <a:pt x="965885" y="75279"/>
                    <a:pt x="965885" y="178448"/>
                  </a:cubicBezTo>
                  <a:cubicBezTo>
                    <a:pt x="965885" y="226369"/>
                    <a:pt x="982931" y="273279"/>
                    <a:pt x="1011783" y="305763"/>
                  </a:cubicBezTo>
                  <a:cubicBezTo>
                    <a:pt x="1041165" y="338782"/>
                    <a:pt x="1081928" y="356305"/>
                    <a:pt x="1129892" y="356305"/>
                  </a:cubicBezTo>
                  <a:cubicBezTo>
                    <a:pt x="1182990" y="356305"/>
                    <a:pt x="1221107" y="338782"/>
                    <a:pt x="1255676" y="298071"/>
                  </a:cubicBezTo>
                  <a:lnTo>
                    <a:pt x="1226823" y="269166"/>
                  </a:lnTo>
                  <a:close/>
                  <a:moveTo>
                    <a:pt x="679216" y="197999"/>
                  </a:moveTo>
                  <a:lnTo>
                    <a:pt x="846824" y="197999"/>
                  </a:lnTo>
                  <a:lnTo>
                    <a:pt x="846824" y="350105"/>
                  </a:lnTo>
                  <a:lnTo>
                    <a:pt x="890075" y="350105"/>
                  </a:lnTo>
                  <a:lnTo>
                    <a:pt x="890075" y="6198"/>
                  </a:lnTo>
                  <a:lnTo>
                    <a:pt x="846824" y="6198"/>
                  </a:lnTo>
                  <a:lnTo>
                    <a:pt x="846824" y="160920"/>
                  </a:lnTo>
                  <a:lnTo>
                    <a:pt x="679216" y="160920"/>
                  </a:lnTo>
                  <a:lnTo>
                    <a:pt x="679216" y="6198"/>
                  </a:lnTo>
                  <a:lnTo>
                    <a:pt x="635912" y="6198"/>
                  </a:lnTo>
                  <a:lnTo>
                    <a:pt x="635912" y="350105"/>
                  </a:lnTo>
                  <a:lnTo>
                    <a:pt x="679216" y="350105"/>
                  </a:lnTo>
                  <a:lnTo>
                    <a:pt x="679216" y="197999"/>
                  </a:lnTo>
                  <a:close/>
                  <a:moveTo>
                    <a:pt x="392018" y="40230"/>
                  </a:moveTo>
                  <a:cubicBezTo>
                    <a:pt x="422459" y="40230"/>
                    <a:pt x="453904" y="53641"/>
                    <a:pt x="476563" y="75813"/>
                  </a:cubicBezTo>
                  <a:cubicBezTo>
                    <a:pt x="503404" y="101618"/>
                    <a:pt x="515792" y="135117"/>
                    <a:pt x="515792" y="181011"/>
                  </a:cubicBezTo>
                  <a:cubicBezTo>
                    <a:pt x="515792" y="216057"/>
                    <a:pt x="502874" y="253189"/>
                    <a:pt x="482758" y="275365"/>
                  </a:cubicBezTo>
                  <a:cubicBezTo>
                    <a:pt x="459569" y="301650"/>
                    <a:pt x="425530" y="316610"/>
                    <a:pt x="390960" y="316610"/>
                  </a:cubicBezTo>
                  <a:cubicBezTo>
                    <a:pt x="319809" y="316610"/>
                    <a:pt x="267239" y="258371"/>
                    <a:pt x="267239" y="178448"/>
                  </a:cubicBezTo>
                  <a:cubicBezTo>
                    <a:pt x="267239" y="99000"/>
                    <a:pt x="320338" y="40230"/>
                    <a:pt x="392018" y="40230"/>
                  </a:cubicBezTo>
                  <a:moveTo>
                    <a:pt x="393077" y="0"/>
                  </a:moveTo>
                  <a:cubicBezTo>
                    <a:pt x="295615" y="0"/>
                    <a:pt x="222876" y="77362"/>
                    <a:pt x="222876" y="179994"/>
                  </a:cubicBezTo>
                  <a:cubicBezTo>
                    <a:pt x="222876" y="223273"/>
                    <a:pt x="235318" y="261956"/>
                    <a:pt x="258982" y="291872"/>
                  </a:cubicBezTo>
                  <a:cubicBezTo>
                    <a:pt x="290957" y="332101"/>
                    <a:pt x="340985" y="356305"/>
                    <a:pt x="392018" y="356305"/>
                  </a:cubicBezTo>
                  <a:cubicBezTo>
                    <a:pt x="431723" y="356305"/>
                    <a:pt x="470899" y="341879"/>
                    <a:pt x="501868" y="315059"/>
                  </a:cubicBezTo>
                  <a:cubicBezTo>
                    <a:pt x="539509" y="283110"/>
                    <a:pt x="560155" y="235131"/>
                    <a:pt x="560155" y="181545"/>
                  </a:cubicBezTo>
                  <a:cubicBezTo>
                    <a:pt x="560155" y="129935"/>
                    <a:pt x="547715" y="91788"/>
                    <a:pt x="519921" y="59304"/>
                  </a:cubicBezTo>
                  <a:cubicBezTo>
                    <a:pt x="486886" y="21691"/>
                    <a:pt x="440988" y="0"/>
                    <a:pt x="393077" y="0"/>
                  </a:cubicBezTo>
                  <a:moveTo>
                    <a:pt x="43306" y="310946"/>
                  </a:moveTo>
                  <a:lnTo>
                    <a:pt x="43306" y="6198"/>
                  </a:lnTo>
                  <a:lnTo>
                    <a:pt x="0" y="6198"/>
                  </a:lnTo>
                  <a:lnTo>
                    <a:pt x="0" y="350105"/>
                  </a:lnTo>
                  <a:lnTo>
                    <a:pt x="194237" y="350105"/>
                  </a:lnTo>
                  <a:lnTo>
                    <a:pt x="194237" y="310946"/>
                  </a:lnTo>
                  <a:lnTo>
                    <a:pt x="43306" y="310946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B77DA9CA-81E3-9C95-68A3-BFADB2CD7E3C}"/>
                </a:ext>
              </a:extLst>
            </p:cNvPr>
            <p:cNvSpPr/>
            <p:nvPr/>
          </p:nvSpPr>
          <p:spPr>
            <a:xfrm>
              <a:off x="-161925" y="-1630732"/>
              <a:ext cx="10575647" cy="1701544"/>
            </a:xfrm>
            <a:custGeom>
              <a:avLst/>
              <a:gdLst>
                <a:gd name="connsiteX0" fmla="*/ 7802033 w 10575647"/>
                <a:gd name="connsiteY0" fmla="*/ 380187 h 1701544"/>
                <a:gd name="connsiteX1" fmla="*/ 7621138 w 10575647"/>
                <a:gd name="connsiteY1" fmla="*/ 380187 h 1701544"/>
                <a:gd name="connsiteX2" fmla="*/ 7621138 w 10575647"/>
                <a:gd name="connsiteY2" fmla="*/ 1271563 h 1701544"/>
                <a:gd name="connsiteX3" fmla="*/ 7802033 w 10575647"/>
                <a:gd name="connsiteY3" fmla="*/ 1271563 h 1701544"/>
                <a:gd name="connsiteX4" fmla="*/ 7802033 w 10575647"/>
                <a:gd name="connsiteY4" fmla="*/ 380187 h 1701544"/>
                <a:gd name="connsiteX5" fmla="*/ 706522 w 10575647"/>
                <a:gd name="connsiteY5" fmla="*/ 1271563 h 1701544"/>
                <a:gd name="connsiteX6" fmla="*/ 902065 w 10575647"/>
                <a:gd name="connsiteY6" fmla="*/ 1271563 h 1701544"/>
                <a:gd name="connsiteX7" fmla="*/ 902065 w 10575647"/>
                <a:gd name="connsiteY7" fmla="*/ 0 h 1701544"/>
                <a:gd name="connsiteX8" fmla="*/ 706522 w 10575647"/>
                <a:gd name="connsiteY8" fmla="*/ 0 h 1701544"/>
                <a:gd name="connsiteX9" fmla="*/ 706522 w 10575647"/>
                <a:gd name="connsiteY9" fmla="*/ 553717 h 1701544"/>
                <a:gd name="connsiteX10" fmla="*/ 195543 w 10575647"/>
                <a:gd name="connsiteY10" fmla="*/ 553717 h 1701544"/>
                <a:gd name="connsiteX11" fmla="*/ 195543 w 10575647"/>
                <a:gd name="connsiteY11" fmla="*/ 0 h 1701544"/>
                <a:gd name="connsiteX12" fmla="*/ 0 w 10575647"/>
                <a:gd name="connsiteY12" fmla="*/ 0 h 1701544"/>
                <a:gd name="connsiteX13" fmla="*/ 0 w 10575647"/>
                <a:gd name="connsiteY13" fmla="*/ 1271563 h 1701544"/>
                <a:gd name="connsiteX14" fmla="*/ 195543 w 10575647"/>
                <a:gd name="connsiteY14" fmla="*/ 1271563 h 1701544"/>
                <a:gd name="connsiteX15" fmla="*/ 195543 w 10575647"/>
                <a:gd name="connsiteY15" fmla="*/ 727142 h 1701544"/>
                <a:gd name="connsiteX16" fmla="*/ 706522 w 10575647"/>
                <a:gd name="connsiteY16" fmla="*/ 727142 h 1701544"/>
                <a:gd name="connsiteX17" fmla="*/ 706522 w 10575647"/>
                <a:gd name="connsiteY17" fmla="*/ 1271563 h 1701544"/>
                <a:gd name="connsiteX18" fmla="*/ 1306185 w 10575647"/>
                <a:gd name="connsiteY18" fmla="*/ 1690649 h 1701544"/>
                <a:gd name="connsiteX19" fmla="*/ 1654904 w 10575647"/>
                <a:gd name="connsiteY19" fmla="*/ 1036061 h 1701544"/>
                <a:gd name="connsiteX20" fmla="*/ 1306185 w 10575647"/>
                <a:gd name="connsiteY20" fmla="*/ 381469 h 1701544"/>
                <a:gd name="connsiteX21" fmla="*/ 1090234 w 10575647"/>
                <a:gd name="connsiteY21" fmla="*/ 381469 h 1701544"/>
                <a:gd name="connsiteX22" fmla="*/ 1438900 w 10575647"/>
                <a:gd name="connsiteY22" fmla="*/ 1036061 h 1701544"/>
                <a:gd name="connsiteX23" fmla="*/ 1090234 w 10575647"/>
                <a:gd name="connsiteY23" fmla="*/ 1690649 h 1701544"/>
                <a:gd name="connsiteX24" fmla="*/ 1306185 w 10575647"/>
                <a:gd name="connsiteY24" fmla="*/ 1690649 h 1701544"/>
                <a:gd name="connsiteX25" fmla="*/ 2581808 w 10575647"/>
                <a:gd name="connsiteY25" fmla="*/ 828654 h 1701544"/>
                <a:gd name="connsiteX26" fmla="*/ 2317883 w 10575647"/>
                <a:gd name="connsiteY26" fmla="*/ 1129505 h 1701544"/>
                <a:gd name="connsiteX27" fmla="*/ 2065011 w 10575647"/>
                <a:gd name="connsiteY27" fmla="*/ 832338 h 1701544"/>
                <a:gd name="connsiteX28" fmla="*/ 2327068 w 10575647"/>
                <a:gd name="connsiteY28" fmla="*/ 525990 h 1701544"/>
                <a:gd name="connsiteX29" fmla="*/ 2581808 w 10575647"/>
                <a:gd name="connsiteY29" fmla="*/ 828654 h 1701544"/>
                <a:gd name="connsiteX30" fmla="*/ 2581808 w 10575647"/>
                <a:gd name="connsiteY30" fmla="*/ 1271563 h 1701544"/>
                <a:gd name="connsiteX31" fmla="*/ 2762608 w 10575647"/>
                <a:gd name="connsiteY31" fmla="*/ 1271563 h 1701544"/>
                <a:gd name="connsiteX32" fmla="*/ 2762608 w 10575647"/>
                <a:gd name="connsiteY32" fmla="*/ 0 h 1701544"/>
                <a:gd name="connsiteX33" fmla="*/ 2581808 w 10575647"/>
                <a:gd name="connsiteY33" fmla="*/ 0 h 1701544"/>
                <a:gd name="connsiteX34" fmla="*/ 2581808 w 10575647"/>
                <a:gd name="connsiteY34" fmla="*/ 476356 h 1701544"/>
                <a:gd name="connsiteX35" fmla="*/ 2297581 w 10575647"/>
                <a:gd name="connsiteY35" fmla="*/ 359885 h 1701544"/>
                <a:gd name="connsiteX36" fmla="*/ 1876785 w 10575647"/>
                <a:gd name="connsiteY36" fmla="*/ 830470 h 1701544"/>
                <a:gd name="connsiteX37" fmla="*/ 2297581 w 10575647"/>
                <a:gd name="connsiteY37" fmla="*/ 1291865 h 1701544"/>
                <a:gd name="connsiteX38" fmla="*/ 2581808 w 10575647"/>
                <a:gd name="connsiteY38" fmla="*/ 1163217 h 1701544"/>
                <a:gd name="connsiteX39" fmla="*/ 2581808 w 10575647"/>
                <a:gd name="connsiteY39" fmla="*/ 1271563 h 1701544"/>
                <a:gd name="connsiteX40" fmla="*/ 3437445 w 10575647"/>
                <a:gd name="connsiteY40" fmla="*/ 542393 h 1701544"/>
                <a:gd name="connsiteX41" fmla="*/ 3460310 w 10575647"/>
                <a:gd name="connsiteY41" fmla="*/ 545331 h 1701544"/>
                <a:gd name="connsiteX42" fmla="*/ 3460310 w 10575647"/>
                <a:gd name="connsiteY42" fmla="*/ 359885 h 1701544"/>
                <a:gd name="connsiteX43" fmla="*/ 3406830 w 10575647"/>
                <a:gd name="connsiteY43" fmla="*/ 359885 h 1701544"/>
                <a:gd name="connsiteX44" fmla="*/ 3231965 w 10575647"/>
                <a:gd name="connsiteY44" fmla="*/ 415877 h 1701544"/>
                <a:gd name="connsiteX45" fmla="*/ 3187194 w 10575647"/>
                <a:gd name="connsiteY45" fmla="*/ 462091 h 1701544"/>
                <a:gd name="connsiteX46" fmla="*/ 3187194 w 10575647"/>
                <a:gd name="connsiteY46" fmla="*/ 380187 h 1701544"/>
                <a:gd name="connsiteX47" fmla="*/ 3006395 w 10575647"/>
                <a:gd name="connsiteY47" fmla="*/ 380187 h 1701544"/>
                <a:gd name="connsiteX48" fmla="*/ 3006395 w 10575647"/>
                <a:gd name="connsiteY48" fmla="*/ 1271563 h 1701544"/>
                <a:gd name="connsiteX49" fmla="*/ 3187194 w 10575647"/>
                <a:gd name="connsiteY49" fmla="*/ 1271563 h 1701544"/>
                <a:gd name="connsiteX50" fmla="*/ 3187194 w 10575647"/>
                <a:gd name="connsiteY50" fmla="*/ 819411 h 1701544"/>
                <a:gd name="connsiteX51" fmla="*/ 3233517 w 10575647"/>
                <a:gd name="connsiteY51" fmla="*/ 629638 h 1701544"/>
                <a:gd name="connsiteX52" fmla="*/ 3401277 w 10575647"/>
                <a:gd name="connsiteY52" fmla="*/ 540683 h 1701544"/>
                <a:gd name="connsiteX53" fmla="*/ 3437445 w 10575647"/>
                <a:gd name="connsiteY53" fmla="*/ 542393 h 1701544"/>
                <a:gd name="connsiteX54" fmla="*/ 4250980 w 10575647"/>
                <a:gd name="connsiteY54" fmla="*/ 826838 h 1701544"/>
                <a:gd name="connsiteX55" fmla="*/ 3983364 w 10575647"/>
                <a:gd name="connsiteY55" fmla="*/ 1122077 h 1701544"/>
                <a:gd name="connsiteX56" fmla="*/ 3713875 w 10575647"/>
                <a:gd name="connsiteY56" fmla="*/ 826838 h 1701544"/>
                <a:gd name="connsiteX57" fmla="*/ 3985180 w 10575647"/>
                <a:gd name="connsiteY57" fmla="*/ 529677 h 1701544"/>
                <a:gd name="connsiteX58" fmla="*/ 4250980 w 10575647"/>
                <a:gd name="connsiteY58" fmla="*/ 826838 h 1701544"/>
                <a:gd name="connsiteX59" fmla="*/ 4435464 w 10575647"/>
                <a:gd name="connsiteY59" fmla="*/ 828654 h 1701544"/>
                <a:gd name="connsiteX60" fmla="*/ 3985180 w 10575647"/>
                <a:gd name="connsiteY60" fmla="*/ 359885 h 1701544"/>
                <a:gd name="connsiteX61" fmla="*/ 3529338 w 10575647"/>
                <a:gd name="connsiteY61" fmla="*/ 824916 h 1701544"/>
                <a:gd name="connsiteX62" fmla="*/ 3979622 w 10575647"/>
                <a:gd name="connsiteY62" fmla="*/ 1291865 h 1701544"/>
                <a:gd name="connsiteX63" fmla="*/ 4435464 w 10575647"/>
                <a:gd name="connsiteY63" fmla="*/ 828654 h 1701544"/>
                <a:gd name="connsiteX64" fmla="*/ 5261608 w 10575647"/>
                <a:gd name="connsiteY64" fmla="*/ 828654 h 1701544"/>
                <a:gd name="connsiteX65" fmla="*/ 5205508 w 10575647"/>
                <a:gd name="connsiteY65" fmla="*/ 1025854 h 1701544"/>
                <a:gd name="connsiteX66" fmla="*/ 5005052 w 10575647"/>
                <a:gd name="connsiteY66" fmla="*/ 1122077 h 1701544"/>
                <a:gd name="connsiteX67" fmla="*/ 4746675 w 10575647"/>
                <a:gd name="connsiteY67" fmla="*/ 823153 h 1701544"/>
                <a:gd name="connsiteX68" fmla="*/ 5008683 w 10575647"/>
                <a:gd name="connsiteY68" fmla="*/ 529677 h 1701544"/>
                <a:gd name="connsiteX69" fmla="*/ 5200378 w 10575647"/>
                <a:gd name="connsiteY69" fmla="*/ 617081 h 1701544"/>
                <a:gd name="connsiteX70" fmla="*/ 5261608 w 10575647"/>
                <a:gd name="connsiteY70" fmla="*/ 828654 h 1701544"/>
                <a:gd name="connsiteX71" fmla="*/ 5327264 w 10575647"/>
                <a:gd name="connsiteY71" fmla="*/ 1583314 h 1701544"/>
                <a:gd name="connsiteX72" fmla="*/ 5446113 w 10575647"/>
                <a:gd name="connsiteY72" fmla="*/ 1256819 h 1701544"/>
                <a:gd name="connsiteX73" fmla="*/ 5446113 w 10575647"/>
                <a:gd name="connsiteY73" fmla="*/ 380187 h 1701544"/>
                <a:gd name="connsiteX74" fmla="*/ 5265239 w 10575647"/>
                <a:gd name="connsiteY74" fmla="*/ 380187 h 1701544"/>
                <a:gd name="connsiteX75" fmla="*/ 5265239 w 10575647"/>
                <a:gd name="connsiteY75" fmla="*/ 488537 h 1701544"/>
                <a:gd name="connsiteX76" fmla="*/ 4982875 w 10575647"/>
                <a:gd name="connsiteY76" fmla="*/ 359885 h 1701544"/>
                <a:gd name="connsiteX77" fmla="*/ 4699394 w 10575647"/>
                <a:gd name="connsiteY77" fmla="*/ 465190 h 1701544"/>
                <a:gd name="connsiteX78" fmla="*/ 4558400 w 10575647"/>
                <a:gd name="connsiteY78" fmla="*/ 828654 h 1701544"/>
                <a:gd name="connsiteX79" fmla="*/ 4971816 w 10575647"/>
                <a:gd name="connsiteY79" fmla="*/ 1291865 h 1701544"/>
                <a:gd name="connsiteX80" fmla="*/ 5265239 w 10575647"/>
                <a:gd name="connsiteY80" fmla="*/ 1150553 h 1701544"/>
                <a:gd name="connsiteX81" fmla="*/ 5265239 w 10575647"/>
                <a:gd name="connsiteY81" fmla="*/ 1267931 h 1701544"/>
                <a:gd name="connsiteX82" fmla="*/ 5206095 w 10575647"/>
                <a:gd name="connsiteY82" fmla="*/ 1457116 h 1701544"/>
                <a:gd name="connsiteX83" fmla="*/ 4999546 w 10575647"/>
                <a:gd name="connsiteY83" fmla="*/ 1533625 h 1701544"/>
                <a:gd name="connsiteX84" fmla="*/ 4811695 w 10575647"/>
                <a:gd name="connsiteY84" fmla="*/ 1487409 h 1701544"/>
                <a:gd name="connsiteX85" fmla="*/ 4733588 w 10575647"/>
                <a:gd name="connsiteY85" fmla="*/ 1416300 h 1701544"/>
                <a:gd name="connsiteX86" fmla="*/ 4719215 w 10575647"/>
                <a:gd name="connsiteY86" fmla="*/ 1401339 h 1701544"/>
                <a:gd name="connsiteX87" fmla="*/ 4595103 w 10575647"/>
                <a:gd name="connsiteY87" fmla="*/ 1525451 h 1701544"/>
                <a:gd name="connsiteX88" fmla="*/ 4607819 w 10575647"/>
                <a:gd name="connsiteY88" fmla="*/ 1539824 h 1701544"/>
                <a:gd name="connsiteX89" fmla="*/ 4999546 w 10575647"/>
                <a:gd name="connsiteY89" fmla="*/ 1701544 h 1701544"/>
                <a:gd name="connsiteX90" fmla="*/ 5327264 w 10575647"/>
                <a:gd name="connsiteY90" fmla="*/ 1583314 h 1701544"/>
                <a:gd name="connsiteX91" fmla="*/ 6317923 w 10575647"/>
                <a:gd name="connsiteY91" fmla="*/ 747497 h 1701544"/>
                <a:gd name="connsiteX92" fmla="*/ 5805203 w 10575647"/>
                <a:gd name="connsiteY92" fmla="*/ 747497 h 1701544"/>
                <a:gd name="connsiteX93" fmla="*/ 5845913 w 10575647"/>
                <a:gd name="connsiteY93" fmla="*/ 635144 h 1701544"/>
                <a:gd name="connsiteX94" fmla="*/ 6057989 w 10575647"/>
                <a:gd name="connsiteY94" fmla="*/ 525990 h 1701544"/>
                <a:gd name="connsiteX95" fmla="*/ 6275730 w 10575647"/>
                <a:gd name="connsiteY95" fmla="*/ 633487 h 1701544"/>
                <a:gd name="connsiteX96" fmla="*/ 6317923 w 10575647"/>
                <a:gd name="connsiteY96" fmla="*/ 747497 h 1701544"/>
                <a:gd name="connsiteX97" fmla="*/ 6508188 w 10575647"/>
                <a:gd name="connsiteY97" fmla="*/ 872890 h 1701544"/>
                <a:gd name="connsiteX98" fmla="*/ 6510094 w 10575647"/>
                <a:gd name="connsiteY98" fmla="*/ 815779 h 1701544"/>
                <a:gd name="connsiteX99" fmla="*/ 6057989 w 10575647"/>
                <a:gd name="connsiteY99" fmla="*/ 359885 h 1701544"/>
                <a:gd name="connsiteX100" fmla="*/ 5609538 w 10575647"/>
                <a:gd name="connsiteY100" fmla="*/ 828654 h 1701544"/>
                <a:gd name="connsiteX101" fmla="*/ 6063495 w 10575647"/>
                <a:gd name="connsiteY101" fmla="*/ 1291865 h 1701544"/>
                <a:gd name="connsiteX102" fmla="*/ 6460066 w 10575647"/>
                <a:gd name="connsiteY102" fmla="*/ 1051710 h 1701544"/>
                <a:gd name="connsiteX103" fmla="*/ 6469966 w 10575647"/>
                <a:gd name="connsiteY103" fmla="*/ 1031572 h 1701544"/>
                <a:gd name="connsiteX104" fmla="*/ 6308923 w 10575647"/>
                <a:gd name="connsiteY104" fmla="*/ 971517 h 1701544"/>
                <a:gd name="connsiteX105" fmla="*/ 6300559 w 10575647"/>
                <a:gd name="connsiteY105" fmla="*/ 986689 h 1701544"/>
                <a:gd name="connsiteX106" fmla="*/ 6063495 w 10575647"/>
                <a:gd name="connsiteY106" fmla="*/ 1122077 h 1701544"/>
                <a:gd name="connsiteX107" fmla="*/ 5850784 w 10575647"/>
                <a:gd name="connsiteY107" fmla="*/ 1013832 h 1701544"/>
                <a:gd name="connsiteX108" fmla="*/ 5802132 w 10575647"/>
                <a:gd name="connsiteY108" fmla="*/ 891377 h 1701544"/>
                <a:gd name="connsiteX109" fmla="*/ 6506547 w 10575647"/>
                <a:gd name="connsiteY109" fmla="*/ 891377 h 1701544"/>
                <a:gd name="connsiteX110" fmla="*/ 6508188 w 10575647"/>
                <a:gd name="connsiteY110" fmla="*/ 872890 h 1701544"/>
                <a:gd name="connsiteX111" fmla="*/ 7205139 w 10575647"/>
                <a:gd name="connsiteY111" fmla="*/ 1271563 h 1701544"/>
                <a:gd name="connsiteX112" fmla="*/ 7385928 w 10575647"/>
                <a:gd name="connsiteY112" fmla="*/ 1271563 h 1701544"/>
                <a:gd name="connsiteX113" fmla="*/ 7385928 w 10575647"/>
                <a:gd name="connsiteY113" fmla="*/ 677294 h 1701544"/>
                <a:gd name="connsiteX114" fmla="*/ 7307154 w 10575647"/>
                <a:gd name="connsiteY114" fmla="*/ 435163 h 1701544"/>
                <a:gd name="connsiteX115" fmla="*/ 7096189 w 10575647"/>
                <a:gd name="connsiteY115" fmla="*/ 359885 h 1701544"/>
                <a:gd name="connsiteX116" fmla="*/ 6863625 w 10575647"/>
                <a:gd name="connsiteY116" fmla="*/ 463694 h 1701544"/>
                <a:gd name="connsiteX117" fmla="*/ 6863625 w 10575647"/>
                <a:gd name="connsiteY117" fmla="*/ 380187 h 1701544"/>
                <a:gd name="connsiteX118" fmla="*/ 6682836 w 10575647"/>
                <a:gd name="connsiteY118" fmla="*/ 380187 h 1701544"/>
                <a:gd name="connsiteX119" fmla="*/ 6682836 w 10575647"/>
                <a:gd name="connsiteY119" fmla="*/ 1271563 h 1701544"/>
                <a:gd name="connsiteX120" fmla="*/ 6863625 w 10575647"/>
                <a:gd name="connsiteY120" fmla="*/ 1271563 h 1701544"/>
                <a:gd name="connsiteX121" fmla="*/ 6863625 w 10575647"/>
                <a:gd name="connsiteY121" fmla="*/ 732701 h 1701544"/>
                <a:gd name="connsiteX122" fmla="*/ 6913971 w 10575647"/>
                <a:gd name="connsiteY122" fmla="*/ 591066 h 1701544"/>
                <a:gd name="connsiteX123" fmla="*/ 7061143 w 10575647"/>
                <a:gd name="connsiteY123" fmla="*/ 525990 h 1701544"/>
                <a:gd name="connsiteX124" fmla="*/ 7177769 w 10575647"/>
                <a:gd name="connsiteY124" fmla="*/ 575089 h 1701544"/>
                <a:gd name="connsiteX125" fmla="*/ 7205139 w 10575647"/>
                <a:gd name="connsiteY125" fmla="*/ 708709 h 1701544"/>
                <a:gd name="connsiteX126" fmla="*/ 7205139 w 10575647"/>
                <a:gd name="connsiteY126" fmla="*/ 1271563 h 1701544"/>
                <a:gd name="connsiteX127" fmla="*/ 7822309 w 10575647"/>
                <a:gd name="connsiteY127" fmla="*/ 162418 h 1701544"/>
                <a:gd name="connsiteX128" fmla="*/ 7713412 w 10575647"/>
                <a:gd name="connsiteY128" fmla="*/ 49847 h 1701544"/>
                <a:gd name="connsiteX129" fmla="*/ 7602662 w 10575647"/>
                <a:gd name="connsiteY129" fmla="*/ 160549 h 1701544"/>
                <a:gd name="connsiteX130" fmla="*/ 7711560 w 10575647"/>
                <a:gd name="connsiteY130" fmla="*/ 271303 h 1701544"/>
                <a:gd name="connsiteX131" fmla="*/ 7822309 w 10575647"/>
                <a:gd name="connsiteY131" fmla="*/ 162418 h 1701544"/>
                <a:gd name="connsiteX132" fmla="*/ 8704760 w 10575647"/>
                <a:gd name="connsiteY132" fmla="*/ 826838 h 1701544"/>
                <a:gd name="connsiteX133" fmla="*/ 8437150 w 10575647"/>
                <a:gd name="connsiteY133" fmla="*/ 1122077 h 1701544"/>
                <a:gd name="connsiteX134" fmla="*/ 8167740 w 10575647"/>
                <a:gd name="connsiteY134" fmla="*/ 826838 h 1701544"/>
                <a:gd name="connsiteX135" fmla="*/ 8439003 w 10575647"/>
                <a:gd name="connsiteY135" fmla="*/ 529677 h 1701544"/>
                <a:gd name="connsiteX136" fmla="*/ 8704760 w 10575647"/>
                <a:gd name="connsiteY136" fmla="*/ 826838 h 1701544"/>
                <a:gd name="connsiteX137" fmla="*/ 8889307 w 10575647"/>
                <a:gd name="connsiteY137" fmla="*/ 828654 h 1701544"/>
                <a:gd name="connsiteX138" fmla="*/ 8439003 w 10575647"/>
                <a:gd name="connsiteY138" fmla="*/ 359885 h 1701544"/>
                <a:gd name="connsiteX139" fmla="*/ 7983193 w 10575647"/>
                <a:gd name="connsiteY139" fmla="*/ 824916 h 1701544"/>
                <a:gd name="connsiteX140" fmla="*/ 8433444 w 10575647"/>
                <a:gd name="connsiteY140" fmla="*/ 1291865 h 1701544"/>
                <a:gd name="connsiteX141" fmla="*/ 8889307 w 10575647"/>
                <a:gd name="connsiteY141" fmla="*/ 828654 h 1701544"/>
                <a:gd name="connsiteX142" fmla="*/ 9658150 w 10575647"/>
                <a:gd name="connsiteY142" fmla="*/ 1197940 h 1701544"/>
                <a:gd name="connsiteX143" fmla="*/ 9749630 w 10575647"/>
                <a:gd name="connsiteY143" fmla="*/ 944968 h 1701544"/>
                <a:gd name="connsiteX144" fmla="*/ 9749630 w 10575647"/>
                <a:gd name="connsiteY144" fmla="*/ 380187 h 1701544"/>
                <a:gd name="connsiteX145" fmla="*/ 9566988 w 10575647"/>
                <a:gd name="connsiteY145" fmla="*/ 380187 h 1701544"/>
                <a:gd name="connsiteX146" fmla="*/ 9566988 w 10575647"/>
                <a:gd name="connsiteY146" fmla="*/ 944968 h 1701544"/>
                <a:gd name="connsiteX147" fmla="*/ 9535012 w 10575647"/>
                <a:gd name="connsiteY147" fmla="*/ 1068222 h 1701544"/>
                <a:gd name="connsiteX148" fmla="*/ 9399010 w 10575647"/>
                <a:gd name="connsiteY148" fmla="*/ 1125815 h 1701544"/>
                <a:gd name="connsiteX149" fmla="*/ 9229233 w 10575647"/>
                <a:gd name="connsiteY149" fmla="*/ 941225 h 1701544"/>
                <a:gd name="connsiteX150" fmla="*/ 9229233 w 10575647"/>
                <a:gd name="connsiteY150" fmla="*/ 380187 h 1701544"/>
                <a:gd name="connsiteX151" fmla="*/ 9048391 w 10575647"/>
                <a:gd name="connsiteY151" fmla="*/ 380187 h 1701544"/>
                <a:gd name="connsiteX152" fmla="*/ 9048391 w 10575647"/>
                <a:gd name="connsiteY152" fmla="*/ 944968 h 1701544"/>
                <a:gd name="connsiteX153" fmla="*/ 9139659 w 10575647"/>
                <a:gd name="connsiteY153" fmla="*/ 1195965 h 1701544"/>
                <a:gd name="connsiteX154" fmla="*/ 9399010 w 10575647"/>
                <a:gd name="connsiteY154" fmla="*/ 1291865 h 1701544"/>
                <a:gd name="connsiteX155" fmla="*/ 9658150 w 10575647"/>
                <a:gd name="connsiteY155" fmla="*/ 1197945 h 1701544"/>
                <a:gd name="connsiteX156" fmla="*/ 10385594 w 10575647"/>
                <a:gd name="connsiteY156" fmla="*/ 653307 h 1701544"/>
                <a:gd name="connsiteX157" fmla="*/ 10567335 w 10575647"/>
                <a:gd name="connsiteY157" fmla="*/ 653307 h 1701544"/>
                <a:gd name="connsiteX158" fmla="*/ 10566383 w 10575647"/>
                <a:gd name="connsiteY158" fmla="*/ 632041 h 1701544"/>
                <a:gd name="connsiteX159" fmla="*/ 10249009 w 10575647"/>
                <a:gd name="connsiteY159" fmla="*/ 359885 h 1701544"/>
                <a:gd name="connsiteX160" fmla="*/ 9929730 w 10575647"/>
                <a:gd name="connsiteY160" fmla="*/ 627446 h 1701544"/>
                <a:gd name="connsiteX161" fmla="*/ 10212587 w 10575647"/>
                <a:gd name="connsiteY161" fmla="*/ 903611 h 1701544"/>
                <a:gd name="connsiteX162" fmla="*/ 10391099 w 10575647"/>
                <a:gd name="connsiteY162" fmla="*/ 1031625 h 1701544"/>
                <a:gd name="connsiteX163" fmla="*/ 10252715 w 10575647"/>
                <a:gd name="connsiteY163" fmla="*/ 1136874 h 1701544"/>
                <a:gd name="connsiteX164" fmla="*/ 10093843 w 10575647"/>
                <a:gd name="connsiteY164" fmla="*/ 1007579 h 1701544"/>
                <a:gd name="connsiteX165" fmla="*/ 10092096 w 10575647"/>
                <a:gd name="connsiteY165" fmla="*/ 989257 h 1701544"/>
                <a:gd name="connsiteX166" fmla="*/ 9913054 w 10575647"/>
                <a:gd name="connsiteY166" fmla="*/ 989257 h 1701544"/>
                <a:gd name="connsiteX167" fmla="*/ 9915066 w 10575647"/>
                <a:gd name="connsiteY167" fmla="*/ 1011216 h 1701544"/>
                <a:gd name="connsiteX168" fmla="*/ 10252715 w 10575647"/>
                <a:gd name="connsiteY168" fmla="*/ 1291865 h 1701544"/>
                <a:gd name="connsiteX169" fmla="*/ 10575647 w 10575647"/>
                <a:gd name="connsiteY169" fmla="*/ 1024303 h 1701544"/>
                <a:gd name="connsiteX170" fmla="*/ 10501426 w 10575647"/>
                <a:gd name="connsiteY170" fmla="*/ 843879 h 1701544"/>
                <a:gd name="connsiteX171" fmla="*/ 10285750 w 10575647"/>
                <a:gd name="connsiteY171" fmla="*/ 740769 h 1701544"/>
                <a:gd name="connsiteX172" fmla="*/ 10110519 w 10575647"/>
                <a:gd name="connsiteY172" fmla="*/ 616440 h 1701544"/>
                <a:gd name="connsiteX173" fmla="*/ 10243398 w 10575647"/>
                <a:gd name="connsiteY173" fmla="*/ 514877 h 1701544"/>
                <a:gd name="connsiteX174" fmla="*/ 10385594 w 10575647"/>
                <a:gd name="connsiteY174" fmla="*/ 623762 h 1701544"/>
                <a:gd name="connsiteX175" fmla="*/ 10385594 w 10575647"/>
                <a:gd name="connsiteY175" fmla="*/ 653307 h 170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10575647" h="1701544">
                  <a:moveTo>
                    <a:pt x="7802033" y="380187"/>
                  </a:moveTo>
                  <a:lnTo>
                    <a:pt x="7621138" y="380187"/>
                  </a:lnTo>
                  <a:lnTo>
                    <a:pt x="7621138" y="1271563"/>
                  </a:lnTo>
                  <a:lnTo>
                    <a:pt x="7802033" y="1271563"/>
                  </a:lnTo>
                  <a:lnTo>
                    <a:pt x="7802033" y="380187"/>
                  </a:lnTo>
                  <a:close/>
                  <a:moveTo>
                    <a:pt x="706522" y="1271563"/>
                  </a:moveTo>
                  <a:lnTo>
                    <a:pt x="902065" y="1271563"/>
                  </a:lnTo>
                  <a:lnTo>
                    <a:pt x="902065" y="0"/>
                  </a:lnTo>
                  <a:lnTo>
                    <a:pt x="706522" y="0"/>
                  </a:lnTo>
                  <a:lnTo>
                    <a:pt x="706522" y="553717"/>
                  </a:lnTo>
                  <a:lnTo>
                    <a:pt x="195543" y="553717"/>
                  </a:lnTo>
                  <a:lnTo>
                    <a:pt x="195543" y="0"/>
                  </a:lnTo>
                  <a:lnTo>
                    <a:pt x="0" y="0"/>
                  </a:lnTo>
                  <a:lnTo>
                    <a:pt x="0" y="1271563"/>
                  </a:lnTo>
                  <a:lnTo>
                    <a:pt x="195543" y="1271563"/>
                  </a:lnTo>
                  <a:lnTo>
                    <a:pt x="195543" y="727142"/>
                  </a:lnTo>
                  <a:lnTo>
                    <a:pt x="706522" y="727142"/>
                  </a:lnTo>
                  <a:lnTo>
                    <a:pt x="706522" y="1271563"/>
                  </a:lnTo>
                  <a:close/>
                  <a:moveTo>
                    <a:pt x="1306185" y="1690649"/>
                  </a:moveTo>
                  <a:lnTo>
                    <a:pt x="1654904" y="1036061"/>
                  </a:lnTo>
                  <a:lnTo>
                    <a:pt x="1306185" y="381469"/>
                  </a:lnTo>
                  <a:lnTo>
                    <a:pt x="1090234" y="381469"/>
                  </a:lnTo>
                  <a:lnTo>
                    <a:pt x="1438900" y="1036061"/>
                  </a:lnTo>
                  <a:lnTo>
                    <a:pt x="1090234" y="1690649"/>
                  </a:lnTo>
                  <a:lnTo>
                    <a:pt x="1306185" y="1690649"/>
                  </a:lnTo>
                  <a:close/>
                  <a:moveTo>
                    <a:pt x="2581808" y="828654"/>
                  </a:moveTo>
                  <a:cubicBezTo>
                    <a:pt x="2581808" y="1002989"/>
                    <a:pt x="2470789" y="1129505"/>
                    <a:pt x="2317883" y="1129505"/>
                  </a:cubicBezTo>
                  <a:cubicBezTo>
                    <a:pt x="2168980" y="1129505"/>
                    <a:pt x="2065011" y="1007262"/>
                    <a:pt x="2065011" y="832338"/>
                  </a:cubicBezTo>
                  <a:cubicBezTo>
                    <a:pt x="2065011" y="649088"/>
                    <a:pt x="2170314" y="525990"/>
                    <a:pt x="2327068" y="525990"/>
                  </a:cubicBezTo>
                  <a:cubicBezTo>
                    <a:pt x="2479444" y="525990"/>
                    <a:pt x="2581808" y="647590"/>
                    <a:pt x="2581808" y="828654"/>
                  </a:cubicBezTo>
                  <a:moveTo>
                    <a:pt x="2581808" y="1271563"/>
                  </a:moveTo>
                  <a:lnTo>
                    <a:pt x="2762608" y="1271563"/>
                  </a:lnTo>
                  <a:lnTo>
                    <a:pt x="2762608" y="0"/>
                  </a:lnTo>
                  <a:lnTo>
                    <a:pt x="2581808" y="0"/>
                  </a:lnTo>
                  <a:lnTo>
                    <a:pt x="2581808" y="476356"/>
                  </a:lnTo>
                  <a:cubicBezTo>
                    <a:pt x="2503431" y="397017"/>
                    <a:pt x="2412449" y="359885"/>
                    <a:pt x="2297581" y="359885"/>
                  </a:cubicBezTo>
                  <a:cubicBezTo>
                    <a:pt x="2057690" y="359885"/>
                    <a:pt x="1876785" y="562214"/>
                    <a:pt x="1876785" y="830470"/>
                  </a:cubicBezTo>
                  <a:cubicBezTo>
                    <a:pt x="1876785" y="1102145"/>
                    <a:pt x="2049839" y="1291865"/>
                    <a:pt x="2297581" y="1291865"/>
                  </a:cubicBezTo>
                  <a:cubicBezTo>
                    <a:pt x="2414371" y="1291865"/>
                    <a:pt x="2503061" y="1251959"/>
                    <a:pt x="2581808" y="1163217"/>
                  </a:cubicBezTo>
                  <a:lnTo>
                    <a:pt x="2581808" y="1271563"/>
                  </a:lnTo>
                  <a:close/>
                  <a:moveTo>
                    <a:pt x="3437445" y="542393"/>
                  </a:moveTo>
                  <a:lnTo>
                    <a:pt x="3460310" y="545331"/>
                  </a:lnTo>
                  <a:lnTo>
                    <a:pt x="3460310" y="359885"/>
                  </a:lnTo>
                  <a:lnTo>
                    <a:pt x="3406830" y="359885"/>
                  </a:lnTo>
                  <a:cubicBezTo>
                    <a:pt x="3341169" y="359885"/>
                    <a:pt x="3277430" y="380294"/>
                    <a:pt x="3231965" y="415877"/>
                  </a:cubicBezTo>
                  <a:cubicBezTo>
                    <a:pt x="3213690" y="430035"/>
                    <a:pt x="3199693" y="444353"/>
                    <a:pt x="3187194" y="462091"/>
                  </a:cubicBezTo>
                  <a:lnTo>
                    <a:pt x="3187194" y="380187"/>
                  </a:lnTo>
                  <a:lnTo>
                    <a:pt x="3006395" y="380187"/>
                  </a:lnTo>
                  <a:lnTo>
                    <a:pt x="3006395" y="1271563"/>
                  </a:lnTo>
                  <a:lnTo>
                    <a:pt x="3187194" y="1271563"/>
                  </a:lnTo>
                  <a:lnTo>
                    <a:pt x="3187194" y="819411"/>
                  </a:lnTo>
                  <a:cubicBezTo>
                    <a:pt x="3187194" y="727783"/>
                    <a:pt x="3198894" y="679915"/>
                    <a:pt x="3233517" y="629638"/>
                  </a:cubicBezTo>
                  <a:cubicBezTo>
                    <a:pt x="3272300" y="572310"/>
                    <a:pt x="3331926" y="540683"/>
                    <a:pt x="3401277" y="540683"/>
                  </a:cubicBezTo>
                  <a:cubicBezTo>
                    <a:pt x="3410356" y="540683"/>
                    <a:pt x="3423983" y="540683"/>
                    <a:pt x="3437445" y="542393"/>
                  </a:cubicBezTo>
                  <a:moveTo>
                    <a:pt x="4250980" y="826838"/>
                  </a:moveTo>
                  <a:cubicBezTo>
                    <a:pt x="4250980" y="1000692"/>
                    <a:pt x="4140918" y="1122077"/>
                    <a:pt x="3983364" y="1122077"/>
                  </a:cubicBezTo>
                  <a:cubicBezTo>
                    <a:pt x="3822174" y="1122077"/>
                    <a:pt x="3713875" y="1003466"/>
                    <a:pt x="3713875" y="826838"/>
                  </a:cubicBezTo>
                  <a:cubicBezTo>
                    <a:pt x="3713875" y="649088"/>
                    <a:pt x="3822920" y="529677"/>
                    <a:pt x="3985180" y="529677"/>
                  </a:cubicBezTo>
                  <a:cubicBezTo>
                    <a:pt x="4144179" y="529677"/>
                    <a:pt x="4250980" y="649088"/>
                    <a:pt x="4250980" y="826838"/>
                  </a:cubicBezTo>
                  <a:moveTo>
                    <a:pt x="4435464" y="828654"/>
                  </a:moveTo>
                  <a:cubicBezTo>
                    <a:pt x="4435464" y="557084"/>
                    <a:pt x="4246120" y="359885"/>
                    <a:pt x="3985180" y="359885"/>
                  </a:cubicBezTo>
                  <a:cubicBezTo>
                    <a:pt x="3716818" y="359885"/>
                    <a:pt x="3529338" y="551155"/>
                    <a:pt x="3529338" y="824916"/>
                  </a:cubicBezTo>
                  <a:cubicBezTo>
                    <a:pt x="3529338" y="1099848"/>
                    <a:pt x="3714521" y="1291865"/>
                    <a:pt x="3979622" y="1291865"/>
                  </a:cubicBezTo>
                  <a:cubicBezTo>
                    <a:pt x="4235272" y="1291865"/>
                    <a:pt x="4435464" y="1088418"/>
                    <a:pt x="4435464" y="828654"/>
                  </a:cubicBezTo>
                  <a:moveTo>
                    <a:pt x="5261608" y="828654"/>
                  </a:moveTo>
                  <a:cubicBezTo>
                    <a:pt x="5261608" y="909382"/>
                    <a:pt x="5239596" y="986748"/>
                    <a:pt x="5205508" y="1025854"/>
                  </a:cubicBezTo>
                  <a:cubicBezTo>
                    <a:pt x="5153150" y="1087026"/>
                    <a:pt x="5080062" y="1122077"/>
                    <a:pt x="5005052" y="1122077"/>
                  </a:cubicBezTo>
                  <a:cubicBezTo>
                    <a:pt x="4855296" y="1122077"/>
                    <a:pt x="4746675" y="996361"/>
                    <a:pt x="4746675" y="823153"/>
                  </a:cubicBezTo>
                  <a:cubicBezTo>
                    <a:pt x="4746675" y="650316"/>
                    <a:pt x="4854386" y="529677"/>
                    <a:pt x="5008683" y="529677"/>
                  </a:cubicBezTo>
                  <a:cubicBezTo>
                    <a:pt x="5078193" y="529677"/>
                    <a:pt x="5151652" y="563177"/>
                    <a:pt x="5200378" y="617081"/>
                  </a:cubicBezTo>
                  <a:cubicBezTo>
                    <a:pt x="5246112" y="667892"/>
                    <a:pt x="5261608" y="721266"/>
                    <a:pt x="5261608" y="828654"/>
                  </a:cubicBezTo>
                  <a:moveTo>
                    <a:pt x="5327264" y="1583314"/>
                  </a:moveTo>
                  <a:cubicBezTo>
                    <a:pt x="5409426" y="1504990"/>
                    <a:pt x="5446113" y="1404277"/>
                    <a:pt x="5446113" y="1256819"/>
                  </a:cubicBezTo>
                  <a:lnTo>
                    <a:pt x="5446113" y="380187"/>
                  </a:lnTo>
                  <a:lnTo>
                    <a:pt x="5265239" y="380187"/>
                  </a:lnTo>
                  <a:lnTo>
                    <a:pt x="5265239" y="488537"/>
                  </a:lnTo>
                  <a:cubicBezTo>
                    <a:pt x="5186005" y="398673"/>
                    <a:pt x="5100153" y="359885"/>
                    <a:pt x="4982875" y="359885"/>
                  </a:cubicBezTo>
                  <a:cubicBezTo>
                    <a:pt x="4866567" y="359885"/>
                    <a:pt x="4771201" y="395361"/>
                    <a:pt x="4699394" y="465190"/>
                  </a:cubicBezTo>
                  <a:cubicBezTo>
                    <a:pt x="4611080" y="549710"/>
                    <a:pt x="4558400" y="685574"/>
                    <a:pt x="4558400" y="828654"/>
                  </a:cubicBezTo>
                  <a:cubicBezTo>
                    <a:pt x="4558400" y="1092743"/>
                    <a:pt x="4736097" y="1291865"/>
                    <a:pt x="4971816" y="1291865"/>
                  </a:cubicBezTo>
                  <a:cubicBezTo>
                    <a:pt x="5092032" y="1291865"/>
                    <a:pt x="5185952" y="1246830"/>
                    <a:pt x="5265239" y="1150553"/>
                  </a:cubicBezTo>
                  <a:lnTo>
                    <a:pt x="5265239" y="1267931"/>
                  </a:lnTo>
                  <a:cubicBezTo>
                    <a:pt x="5265239" y="1350745"/>
                    <a:pt x="5245313" y="1414431"/>
                    <a:pt x="5206095" y="1457116"/>
                  </a:cubicBezTo>
                  <a:cubicBezTo>
                    <a:pt x="5162288" y="1504291"/>
                    <a:pt x="5083159" y="1533625"/>
                    <a:pt x="4999546" y="1533625"/>
                  </a:cubicBezTo>
                  <a:cubicBezTo>
                    <a:pt x="4932122" y="1533625"/>
                    <a:pt x="4856471" y="1514979"/>
                    <a:pt x="4811695" y="1487409"/>
                  </a:cubicBezTo>
                  <a:cubicBezTo>
                    <a:pt x="4788777" y="1471596"/>
                    <a:pt x="4771254" y="1455624"/>
                    <a:pt x="4733588" y="1416300"/>
                  </a:cubicBezTo>
                  <a:lnTo>
                    <a:pt x="4719215" y="1401339"/>
                  </a:lnTo>
                  <a:lnTo>
                    <a:pt x="4595103" y="1525451"/>
                  </a:lnTo>
                  <a:lnTo>
                    <a:pt x="4607819" y="1539824"/>
                  </a:lnTo>
                  <a:cubicBezTo>
                    <a:pt x="4703719" y="1647106"/>
                    <a:pt x="4835528" y="1701544"/>
                    <a:pt x="4999546" y="1701544"/>
                  </a:cubicBezTo>
                  <a:cubicBezTo>
                    <a:pt x="5134664" y="1701544"/>
                    <a:pt x="5247981" y="1660675"/>
                    <a:pt x="5327264" y="1583314"/>
                  </a:cubicBezTo>
                  <a:moveTo>
                    <a:pt x="6317923" y="747497"/>
                  </a:moveTo>
                  <a:lnTo>
                    <a:pt x="5805203" y="747497"/>
                  </a:lnTo>
                  <a:cubicBezTo>
                    <a:pt x="5814785" y="696051"/>
                    <a:pt x="5825267" y="667627"/>
                    <a:pt x="5845913" y="635144"/>
                  </a:cubicBezTo>
                  <a:cubicBezTo>
                    <a:pt x="5892024" y="566756"/>
                    <a:pt x="5971327" y="525990"/>
                    <a:pt x="6057989" y="525990"/>
                  </a:cubicBezTo>
                  <a:cubicBezTo>
                    <a:pt x="6144228" y="525990"/>
                    <a:pt x="6225702" y="566274"/>
                    <a:pt x="6275730" y="633487"/>
                  </a:cubicBezTo>
                  <a:cubicBezTo>
                    <a:pt x="6300453" y="669067"/>
                    <a:pt x="6312047" y="699841"/>
                    <a:pt x="6317923" y="747497"/>
                  </a:cubicBezTo>
                  <a:moveTo>
                    <a:pt x="6508188" y="872890"/>
                  </a:moveTo>
                  <a:cubicBezTo>
                    <a:pt x="6510094" y="851683"/>
                    <a:pt x="6510094" y="827426"/>
                    <a:pt x="6510094" y="815779"/>
                  </a:cubicBezTo>
                  <a:cubicBezTo>
                    <a:pt x="6510094" y="555909"/>
                    <a:pt x="6315700" y="359885"/>
                    <a:pt x="6057989" y="359885"/>
                  </a:cubicBezTo>
                  <a:cubicBezTo>
                    <a:pt x="5798109" y="359885"/>
                    <a:pt x="5609538" y="557084"/>
                    <a:pt x="5609538" y="828654"/>
                  </a:cubicBezTo>
                  <a:cubicBezTo>
                    <a:pt x="5609538" y="1097074"/>
                    <a:pt x="5800491" y="1291865"/>
                    <a:pt x="6063495" y="1291865"/>
                  </a:cubicBezTo>
                  <a:cubicBezTo>
                    <a:pt x="6235020" y="1291865"/>
                    <a:pt x="6386956" y="1199867"/>
                    <a:pt x="6460066" y="1051710"/>
                  </a:cubicBezTo>
                  <a:lnTo>
                    <a:pt x="6469966" y="1031572"/>
                  </a:lnTo>
                  <a:lnTo>
                    <a:pt x="6308923" y="971517"/>
                  </a:lnTo>
                  <a:lnTo>
                    <a:pt x="6300559" y="986689"/>
                  </a:lnTo>
                  <a:cubicBezTo>
                    <a:pt x="6254237" y="1068968"/>
                    <a:pt x="6161169" y="1122077"/>
                    <a:pt x="6063495" y="1122077"/>
                  </a:cubicBezTo>
                  <a:cubicBezTo>
                    <a:pt x="5977415" y="1122077"/>
                    <a:pt x="5901923" y="1083664"/>
                    <a:pt x="5850784" y="1013832"/>
                  </a:cubicBezTo>
                  <a:cubicBezTo>
                    <a:pt x="5821932" y="975900"/>
                    <a:pt x="5809438" y="945021"/>
                    <a:pt x="5802132" y="891377"/>
                  </a:cubicBezTo>
                  <a:lnTo>
                    <a:pt x="6506547" y="891377"/>
                  </a:lnTo>
                  <a:lnTo>
                    <a:pt x="6508188" y="872890"/>
                  </a:lnTo>
                  <a:close/>
                  <a:moveTo>
                    <a:pt x="7205139" y="1271563"/>
                  </a:moveTo>
                  <a:lnTo>
                    <a:pt x="7385928" y="1271563"/>
                  </a:lnTo>
                  <a:lnTo>
                    <a:pt x="7385928" y="677294"/>
                  </a:lnTo>
                  <a:cubicBezTo>
                    <a:pt x="7385928" y="554734"/>
                    <a:pt x="7365387" y="491422"/>
                    <a:pt x="7307154" y="435163"/>
                  </a:cubicBezTo>
                  <a:cubicBezTo>
                    <a:pt x="7252520" y="386599"/>
                    <a:pt x="7177557" y="359885"/>
                    <a:pt x="7096189" y="359885"/>
                  </a:cubicBezTo>
                  <a:cubicBezTo>
                    <a:pt x="7000739" y="359885"/>
                    <a:pt x="6929853" y="391193"/>
                    <a:pt x="6863625" y="463694"/>
                  </a:cubicBezTo>
                  <a:lnTo>
                    <a:pt x="6863625" y="380187"/>
                  </a:lnTo>
                  <a:lnTo>
                    <a:pt x="6682836" y="380187"/>
                  </a:lnTo>
                  <a:lnTo>
                    <a:pt x="6682836" y="1271563"/>
                  </a:lnTo>
                  <a:lnTo>
                    <a:pt x="6863625" y="1271563"/>
                  </a:lnTo>
                  <a:lnTo>
                    <a:pt x="6863625" y="732701"/>
                  </a:lnTo>
                  <a:cubicBezTo>
                    <a:pt x="6863625" y="667839"/>
                    <a:pt x="6876278" y="632147"/>
                    <a:pt x="6913971" y="591066"/>
                  </a:cubicBezTo>
                  <a:cubicBezTo>
                    <a:pt x="6951505" y="548481"/>
                    <a:pt x="7002433" y="525990"/>
                    <a:pt x="7061143" y="525990"/>
                  </a:cubicBezTo>
                  <a:cubicBezTo>
                    <a:pt x="7110748" y="525990"/>
                    <a:pt x="7155428" y="544744"/>
                    <a:pt x="7177769" y="575089"/>
                  </a:cubicBezTo>
                  <a:cubicBezTo>
                    <a:pt x="7197410" y="601215"/>
                    <a:pt x="7205139" y="638722"/>
                    <a:pt x="7205139" y="708709"/>
                  </a:cubicBezTo>
                  <a:lnTo>
                    <a:pt x="7205139" y="1271563"/>
                  </a:lnTo>
                  <a:close/>
                  <a:moveTo>
                    <a:pt x="7822309" y="162418"/>
                  </a:moveTo>
                  <a:cubicBezTo>
                    <a:pt x="7822309" y="99268"/>
                    <a:pt x="7774452" y="49847"/>
                    <a:pt x="7713412" y="49847"/>
                  </a:cubicBezTo>
                  <a:cubicBezTo>
                    <a:pt x="7650255" y="49847"/>
                    <a:pt x="7602662" y="97451"/>
                    <a:pt x="7602662" y="160549"/>
                  </a:cubicBezTo>
                  <a:cubicBezTo>
                    <a:pt x="7602662" y="223699"/>
                    <a:pt x="7649514" y="271303"/>
                    <a:pt x="7711560" y="271303"/>
                  </a:cubicBezTo>
                  <a:cubicBezTo>
                    <a:pt x="7773711" y="271303"/>
                    <a:pt x="7822309" y="223432"/>
                    <a:pt x="7822309" y="162418"/>
                  </a:cubicBezTo>
                  <a:moveTo>
                    <a:pt x="8704760" y="826838"/>
                  </a:moveTo>
                  <a:cubicBezTo>
                    <a:pt x="8704760" y="1000692"/>
                    <a:pt x="8594751" y="1122077"/>
                    <a:pt x="8437150" y="1122077"/>
                  </a:cubicBezTo>
                  <a:cubicBezTo>
                    <a:pt x="8276002" y="1122077"/>
                    <a:pt x="8167740" y="1003466"/>
                    <a:pt x="8167740" y="826838"/>
                  </a:cubicBezTo>
                  <a:cubicBezTo>
                    <a:pt x="8167740" y="649088"/>
                    <a:pt x="8276743" y="529677"/>
                    <a:pt x="8439003" y="529677"/>
                  </a:cubicBezTo>
                  <a:cubicBezTo>
                    <a:pt x="8597980" y="529677"/>
                    <a:pt x="8704760" y="649088"/>
                    <a:pt x="8704760" y="826838"/>
                  </a:cubicBezTo>
                  <a:moveTo>
                    <a:pt x="8889307" y="828654"/>
                  </a:moveTo>
                  <a:cubicBezTo>
                    <a:pt x="8889307" y="557084"/>
                    <a:pt x="8699942" y="359885"/>
                    <a:pt x="8439003" y="359885"/>
                  </a:cubicBezTo>
                  <a:cubicBezTo>
                    <a:pt x="8170652" y="359885"/>
                    <a:pt x="7983193" y="551155"/>
                    <a:pt x="7983193" y="824916"/>
                  </a:cubicBezTo>
                  <a:cubicBezTo>
                    <a:pt x="7983193" y="1099848"/>
                    <a:pt x="8168375" y="1291865"/>
                    <a:pt x="8433444" y="1291865"/>
                  </a:cubicBezTo>
                  <a:cubicBezTo>
                    <a:pt x="8689089" y="1291865"/>
                    <a:pt x="8889307" y="1088418"/>
                    <a:pt x="8889307" y="828654"/>
                  </a:cubicBezTo>
                  <a:moveTo>
                    <a:pt x="9658150" y="1197940"/>
                  </a:moveTo>
                  <a:cubicBezTo>
                    <a:pt x="9724854" y="1137144"/>
                    <a:pt x="9749630" y="1068539"/>
                    <a:pt x="9749630" y="944968"/>
                  </a:cubicBezTo>
                  <a:lnTo>
                    <a:pt x="9749630" y="380187"/>
                  </a:lnTo>
                  <a:lnTo>
                    <a:pt x="9566988" y="380187"/>
                  </a:lnTo>
                  <a:lnTo>
                    <a:pt x="9566988" y="944968"/>
                  </a:lnTo>
                  <a:cubicBezTo>
                    <a:pt x="9566988" y="1008437"/>
                    <a:pt x="9558835" y="1039587"/>
                    <a:pt x="9535012" y="1068222"/>
                  </a:cubicBezTo>
                  <a:cubicBezTo>
                    <a:pt x="9503831" y="1104284"/>
                    <a:pt x="9453009" y="1125815"/>
                    <a:pt x="9399010" y="1125815"/>
                  </a:cubicBezTo>
                  <a:cubicBezTo>
                    <a:pt x="9299060" y="1125815"/>
                    <a:pt x="9229233" y="1049947"/>
                    <a:pt x="9229233" y="941225"/>
                  </a:cubicBezTo>
                  <a:lnTo>
                    <a:pt x="9229233" y="380187"/>
                  </a:lnTo>
                  <a:lnTo>
                    <a:pt x="9048391" y="380187"/>
                  </a:lnTo>
                  <a:lnTo>
                    <a:pt x="9048391" y="944968"/>
                  </a:lnTo>
                  <a:cubicBezTo>
                    <a:pt x="9048391" y="1054330"/>
                    <a:pt x="9078249" y="1136392"/>
                    <a:pt x="9139659" y="1195965"/>
                  </a:cubicBezTo>
                  <a:cubicBezTo>
                    <a:pt x="9204563" y="1256925"/>
                    <a:pt x="9299113" y="1291865"/>
                    <a:pt x="9399010" y="1291865"/>
                  </a:cubicBezTo>
                  <a:cubicBezTo>
                    <a:pt x="9499701" y="1291865"/>
                    <a:pt x="9591763" y="1258529"/>
                    <a:pt x="9658150" y="1197945"/>
                  </a:cubicBezTo>
                  <a:moveTo>
                    <a:pt x="10385594" y="653307"/>
                  </a:moveTo>
                  <a:lnTo>
                    <a:pt x="10567335" y="653307"/>
                  </a:lnTo>
                  <a:lnTo>
                    <a:pt x="10566383" y="632041"/>
                  </a:lnTo>
                  <a:cubicBezTo>
                    <a:pt x="10558442" y="459099"/>
                    <a:pt x="10442768" y="359885"/>
                    <a:pt x="10249009" y="359885"/>
                  </a:cubicBezTo>
                  <a:cubicBezTo>
                    <a:pt x="10058003" y="359885"/>
                    <a:pt x="9929730" y="467434"/>
                    <a:pt x="9929730" y="627446"/>
                  </a:cubicBezTo>
                  <a:cubicBezTo>
                    <a:pt x="9929730" y="765666"/>
                    <a:pt x="10016922" y="850825"/>
                    <a:pt x="10212587" y="903611"/>
                  </a:cubicBezTo>
                  <a:cubicBezTo>
                    <a:pt x="10347689" y="937858"/>
                    <a:pt x="10391099" y="968955"/>
                    <a:pt x="10391099" y="1031625"/>
                  </a:cubicBezTo>
                  <a:cubicBezTo>
                    <a:pt x="10391099" y="1095576"/>
                    <a:pt x="10336730" y="1136874"/>
                    <a:pt x="10252715" y="1136874"/>
                  </a:cubicBezTo>
                  <a:cubicBezTo>
                    <a:pt x="10155517" y="1136874"/>
                    <a:pt x="10102102" y="1093384"/>
                    <a:pt x="10093843" y="1007579"/>
                  </a:cubicBezTo>
                  <a:lnTo>
                    <a:pt x="10092096" y="989257"/>
                  </a:lnTo>
                  <a:lnTo>
                    <a:pt x="9913054" y="989257"/>
                  </a:lnTo>
                  <a:lnTo>
                    <a:pt x="9915066" y="1011216"/>
                  </a:lnTo>
                  <a:cubicBezTo>
                    <a:pt x="9930789" y="1194843"/>
                    <a:pt x="10047626" y="1291865"/>
                    <a:pt x="10252715" y="1291865"/>
                  </a:cubicBezTo>
                  <a:cubicBezTo>
                    <a:pt x="10445839" y="1291865"/>
                    <a:pt x="10575647" y="1184371"/>
                    <a:pt x="10575647" y="1024303"/>
                  </a:cubicBezTo>
                  <a:cubicBezTo>
                    <a:pt x="10575647" y="956667"/>
                    <a:pt x="10548542" y="890948"/>
                    <a:pt x="10501426" y="843879"/>
                  </a:cubicBezTo>
                  <a:cubicBezTo>
                    <a:pt x="10457485" y="799913"/>
                    <a:pt x="10397028" y="770955"/>
                    <a:pt x="10285750" y="740769"/>
                  </a:cubicBezTo>
                  <a:cubicBezTo>
                    <a:pt x="10125660" y="696474"/>
                    <a:pt x="10110519" y="671471"/>
                    <a:pt x="10110519" y="616440"/>
                  </a:cubicBezTo>
                  <a:cubicBezTo>
                    <a:pt x="10110519" y="553823"/>
                    <a:pt x="10161447" y="514877"/>
                    <a:pt x="10243398" y="514877"/>
                  </a:cubicBezTo>
                  <a:cubicBezTo>
                    <a:pt x="10329795" y="514877"/>
                    <a:pt x="10385594" y="557672"/>
                    <a:pt x="10385594" y="623762"/>
                  </a:cubicBezTo>
                  <a:lnTo>
                    <a:pt x="10385594" y="653307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0C7A2B3-F3A4-BDC2-0193-F4EC19CAE431}"/>
              </a:ext>
            </a:extLst>
          </p:cNvPr>
          <p:cNvGrpSpPr/>
          <p:nvPr userDrawn="1"/>
        </p:nvGrpSpPr>
        <p:grpSpPr>
          <a:xfrm rot="5400000">
            <a:off x="-3617983" y="3323777"/>
            <a:ext cx="6854690" cy="213756"/>
            <a:chOff x="-1" y="-286346"/>
            <a:chExt cx="5820565" cy="181508"/>
          </a:xfrm>
        </p:grpSpPr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572BB21F-6C47-C574-8CA2-B355CC5F2493}"/>
                </a:ext>
              </a:extLst>
            </p:cNvPr>
            <p:cNvGrpSpPr/>
            <p:nvPr userDrawn="1"/>
          </p:nvGrpSpPr>
          <p:grpSpPr>
            <a:xfrm rot="16200000">
              <a:off x="363007" y="-649354"/>
              <a:ext cx="181503" cy="907520"/>
              <a:chOff x="1319213" y="-1663170"/>
              <a:chExt cx="181503" cy="907520"/>
            </a:xfrm>
          </p:grpSpPr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391C65FF-421A-6F5A-B0AC-4C43F7F06A9D}"/>
                  </a:ext>
                </a:extLst>
              </p:cNvPr>
              <p:cNvSpPr/>
              <p:nvPr/>
            </p:nvSpPr>
            <p:spPr>
              <a:xfrm>
                <a:off x="1319213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44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2E6C3D99-C133-1AE5-84DE-7B030B9A310F}"/>
                  </a:ext>
                </a:extLst>
              </p:cNvPr>
              <p:cNvSpPr/>
              <p:nvPr/>
            </p:nvSpPr>
            <p:spPr>
              <a:xfrm>
                <a:off x="1319213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69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512ACC74-0178-F8C3-1573-900614B51F33}"/>
                  </a:ext>
                </a:extLst>
              </p:cNvPr>
              <p:cNvSpPr/>
              <p:nvPr/>
            </p:nvSpPr>
            <p:spPr>
              <a:xfrm>
                <a:off x="1319213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FE8F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105D46CB-F622-2989-1A41-600362351B13}"/>
                  </a:ext>
                </a:extLst>
              </p:cNvPr>
              <p:cNvSpPr/>
              <p:nvPr/>
            </p:nvSpPr>
            <p:spPr>
              <a:xfrm>
                <a:off x="1319213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B4B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B4D2CFBE-4A89-F4E4-78BA-F56D2A650558}"/>
                  </a:ext>
                </a:extLst>
              </p:cNvPr>
              <p:cNvSpPr/>
              <p:nvPr/>
            </p:nvSpPr>
            <p:spPr>
              <a:xfrm>
                <a:off x="1319213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D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9436E735-7629-D444-CEB3-9D02D4E38A6D}"/>
                </a:ext>
              </a:extLst>
            </p:cNvPr>
            <p:cNvGrpSpPr/>
            <p:nvPr userDrawn="1"/>
          </p:nvGrpSpPr>
          <p:grpSpPr>
            <a:xfrm rot="16200000">
              <a:off x="1345616" y="-649354"/>
              <a:ext cx="181503" cy="907520"/>
              <a:chOff x="1319213" y="-664912"/>
              <a:chExt cx="181503" cy="907520"/>
            </a:xfrm>
          </p:grpSpPr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16B4429B-D8D5-9408-97EF-C54728D14323}"/>
                  </a:ext>
                </a:extLst>
              </p:cNvPr>
              <p:cNvSpPr/>
              <p:nvPr/>
            </p:nvSpPr>
            <p:spPr>
              <a:xfrm>
                <a:off x="1319213" y="-66491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6400A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869B352C-79B9-385E-2D76-F913B76681BE}"/>
                  </a:ext>
                </a:extLst>
              </p:cNvPr>
              <p:cNvSpPr/>
              <p:nvPr/>
            </p:nvSpPr>
            <p:spPr>
              <a:xfrm>
                <a:off x="1319213" y="-483404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33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2B27D0B2-2622-4D5B-B2B4-03A19C928ACC}"/>
                  </a:ext>
                </a:extLst>
              </p:cNvPr>
              <p:cNvSpPr/>
              <p:nvPr/>
            </p:nvSpPr>
            <p:spPr>
              <a:xfrm>
                <a:off x="1319213" y="-30189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266C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6F549DEA-1C09-4137-E4EA-7F13BF0F5E34}"/>
                  </a:ext>
                </a:extLst>
              </p:cNvPr>
              <p:cNvSpPr/>
              <p:nvPr/>
            </p:nvSpPr>
            <p:spPr>
              <a:xfrm>
                <a:off x="1319213" y="-120387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199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81907198-EF68-A3B4-6417-C5F1D11040ED}"/>
                  </a:ext>
                </a:extLst>
              </p:cNvPr>
              <p:cNvSpPr/>
              <p:nvPr/>
            </p:nvSpPr>
            <p:spPr>
              <a:xfrm>
                <a:off x="1319213" y="6110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0CC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53D3F8B6-75C1-56F2-D1D5-A2D10C198D1E}"/>
                </a:ext>
              </a:extLst>
            </p:cNvPr>
            <p:cNvGrpSpPr/>
            <p:nvPr userDrawn="1"/>
          </p:nvGrpSpPr>
          <p:grpSpPr>
            <a:xfrm rot="16200000">
              <a:off x="2328223" y="-649352"/>
              <a:ext cx="181508" cy="907520"/>
              <a:chOff x="1682219" y="-1663170"/>
              <a:chExt cx="181508" cy="907520"/>
            </a:xfrm>
          </p:grpSpPr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59951A1E-7DDA-91B8-559A-EB79FB27C860}"/>
                  </a:ext>
                </a:extLst>
              </p:cNvPr>
              <p:cNvSpPr/>
              <p:nvPr/>
            </p:nvSpPr>
            <p:spPr>
              <a:xfrm>
                <a:off x="1682219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CC8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B6B5C812-E453-576A-8F8B-663A9B070E75}"/>
                  </a:ext>
                </a:extLst>
              </p:cNvPr>
              <p:cNvSpPr/>
              <p:nvPr/>
            </p:nvSpPr>
            <p:spPr>
              <a:xfrm>
                <a:off x="1682224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3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650B6516-0E17-FC57-1A9C-C963F42F938A}"/>
                  </a:ext>
                </a:extLst>
              </p:cNvPr>
              <p:cNvSpPr/>
              <p:nvPr/>
            </p:nvSpPr>
            <p:spPr>
              <a:xfrm>
                <a:off x="1682224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ADE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B5C21886-EAF9-5D9F-F86A-4B2D2D1C57EF}"/>
                  </a:ext>
                </a:extLst>
              </p:cNvPr>
              <p:cNvSpPr/>
              <p:nvPr/>
            </p:nvSpPr>
            <p:spPr>
              <a:xfrm>
                <a:off x="1682224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E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6075624F-5481-A6D0-D018-B7E16CA464F5}"/>
                  </a:ext>
                </a:extLst>
              </p:cNvPr>
              <p:cNvSpPr/>
              <p:nvPr/>
            </p:nvSpPr>
            <p:spPr>
              <a:xfrm>
                <a:off x="1682219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8F4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C5ED28EE-D76E-F646-8AC1-49243921CC67}"/>
                </a:ext>
              </a:extLst>
            </p:cNvPr>
            <p:cNvGrpSpPr/>
            <p:nvPr userDrawn="1"/>
          </p:nvGrpSpPr>
          <p:grpSpPr>
            <a:xfrm rot="16200000">
              <a:off x="5276052" y="-649354"/>
              <a:ext cx="181503" cy="907520"/>
              <a:chOff x="2226738" y="-1663170"/>
              <a:chExt cx="181503" cy="907520"/>
            </a:xfrm>
          </p:grpSpPr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8ECF60F9-1CB9-CE5E-72E3-F41B1B0A532F}"/>
                  </a:ext>
                </a:extLst>
              </p:cNvPr>
              <p:cNvSpPr/>
              <p:nvPr/>
            </p:nvSpPr>
            <p:spPr>
              <a:xfrm>
                <a:off x="2226738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3F6550EC-43E1-9D43-0942-9055707730E1}"/>
                  </a:ext>
                </a:extLst>
              </p:cNvPr>
              <p:cNvSpPr/>
              <p:nvPr/>
            </p:nvSpPr>
            <p:spPr>
              <a:xfrm>
                <a:off x="2226738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5757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13D7B843-DBB0-A69A-8B01-324DF6913697}"/>
                  </a:ext>
                </a:extLst>
              </p:cNvPr>
              <p:cNvSpPr/>
              <p:nvPr/>
            </p:nvSpPr>
            <p:spPr>
              <a:xfrm>
                <a:off x="2226738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8787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6EC0FDB3-B960-0863-13F3-BE1A8BF9E40B}"/>
                  </a:ext>
                </a:extLst>
              </p:cNvPr>
              <p:cNvSpPr/>
              <p:nvPr/>
            </p:nvSpPr>
            <p:spPr>
              <a:xfrm>
                <a:off x="2226738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2B2B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BAEEB9AA-086E-1F19-2202-207CCBB865E6}"/>
                  </a:ext>
                </a:extLst>
              </p:cNvPr>
              <p:cNvSpPr/>
              <p:nvPr/>
            </p:nvSpPr>
            <p:spPr>
              <a:xfrm>
                <a:off x="2226738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DA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BF904403-7EA0-E154-3E1F-520030156125}"/>
                </a:ext>
              </a:extLst>
            </p:cNvPr>
            <p:cNvGrpSpPr/>
            <p:nvPr userDrawn="1"/>
          </p:nvGrpSpPr>
          <p:grpSpPr>
            <a:xfrm rot="16200000">
              <a:off x="3310834" y="-649354"/>
              <a:ext cx="181503" cy="907520"/>
              <a:chOff x="1863727" y="-1663170"/>
              <a:chExt cx="181503" cy="907520"/>
            </a:xfrm>
          </p:grpSpPr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6826FCB4-F85B-4D2B-8D72-457429235496}"/>
                  </a:ext>
                </a:extLst>
              </p:cNvPr>
              <p:cNvSpPr/>
              <p:nvPr/>
            </p:nvSpPr>
            <p:spPr>
              <a:xfrm>
                <a:off x="1863727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2A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0AAC2E25-3571-4DA3-0197-37D9046861CD}"/>
                  </a:ext>
                </a:extLst>
              </p:cNvPr>
              <p:cNvSpPr/>
              <p:nvPr/>
            </p:nvSpPr>
            <p:spPr>
              <a:xfrm>
                <a:off x="1863727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5DB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E8A0766D-2134-8494-505D-2CFA06F73FB2}"/>
                  </a:ext>
                </a:extLst>
              </p:cNvPr>
              <p:cNvSpPr/>
              <p:nvPr/>
            </p:nvSpPr>
            <p:spPr>
              <a:xfrm>
                <a:off x="1863727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8E4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022CBD87-355A-F5D8-5B18-4E07CBE6C8D3}"/>
                  </a:ext>
                </a:extLst>
              </p:cNvPr>
              <p:cNvSpPr/>
              <p:nvPr/>
            </p:nvSpPr>
            <p:spPr>
              <a:xfrm>
                <a:off x="1863727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ED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614934C0-A302-2995-FB2E-2D278E45B6DD}"/>
                  </a:ext>
                </a:extLst>
              </p:cNvPr>
              <p:cNvSpPr/>
              <p:nvPr/>
            </p:nvSpPr>
            <p:spPr>
              <a:xfrm>
                <a:off x="1863727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DF6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DCA72090-F55C-B036-7E93-637E626EFA16}"/>
                </a:ext>
              </a:extLst>
            </p:cNvPr>
            <p:cNvGrpSpPr/>
            <p:nvPr userDrawn="1"/>
          </p:nvGrpSpPr>
          <p:grpSpPr>
            <a:xfrm rot="16200000">
              <a:off x="4293441" y="-649352"/>
              <a:ext cx="181508" cy="907520"/>
              <a:chOff x="2045230" y="-1663170"/>
              <a:chExt cx="181508" cy="907520"/>
            </a:xfrm>
          </p:grpSpPr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BA6F0153-CD0D-ECB5-8BAA-2534D6E52011}"/>
                  </a:ext>
                </a:extLst>
              </p:cNvPr>
              <p:cNvSpPr/>
              <p:nvPr/>
            </p:nvSpPr>
            <p:spPr>
              <a:xfrm>
                <a:off x="2045230" y="-937158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9F7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5FF5A378-51AC-C9BA-54FD-D6745FF74E8E}"/>
                  </a:ext>
                </a:extLst>
              </p:cNvPr>
              <p:cNvSpPr/>
              <p:nvPr/>
            </p:nvSpPr>
            <p:spPr>
              <a:xfrm>
                <a:off x="2045230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FED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8E1392AB-793F-A4A4-7845-EE9BE300CA3B}"/>
                  </a:ext>
                </a:extLst>
              </p:cNvPr>
              <p:cNvSpPr/>
              <p:nvPr/>
            </p:nvSpPr>
            <p:spPr>
              <a:xfrm>
                <a:off x="2045230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5E3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E04901BA-3316-2E66-D75D-E3415FFDA9D2}"/>
                  </a:ext>
                </a:extLst>
              </p:cNvPr>
              <p:cNvSpPr/>
              <p:nvPr/>
            </p:nvSpPr>
            <p:spPr>
              <a:xfrm>
                <a:off x="2045230" y="-1663170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CFC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84145488-39FE-9A49-BA07-C1DD921F2209}"/>
                  </a:ext>
                </a:extLst>
              </p:cNvPr>
              <p:cNvSpPr/>
              <p:nvPr/>
            </p:nvSpPr>
            <p:spPr>
              <a:xfrm>
                <a:off x="2045230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BD9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7388404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(sand) and Content 1/2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73236799-8186-158A-F3A4-9E2D432B77EB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54812" y="1304925"/>
            <a:ext cx="4778374" cy="50514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FDC01C9A-5B99-87F0-F647-71E0D7C324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54812" y="397755"/>
            <a:ext cx="3174440" cy="753386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GB" noProof="0"/>
              <a:t>00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DB5BA739-2001-E231-30C8-D4786008B91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0415668" y="503483"/>
            <a:ext cx="1289916" cy="180000"/>
            <a:chOff x="-161925" y="-1630732"/>
            <a:chExt cx="12193587" cy="1701544"/>
          </a:xfrm>
          <a:solidFill>
            <a:schemeClr val="accent2"/>
          </a:solidFill>
        </p:grpSpPr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684DCF0C-777E-30AD-4ABC-F15E1CD0B42D}"/>
                </a:ext>
              </a:extLst>
            </p:cNvPr>
            <p:cNvSpPr/>
            <p:nvPr/>
          </p:nvSpPr>
          <p:spPr bwMode="gray">
            <a:xfrm>
              <a:off x="10774928" y="-1247713"/>
              <a:ext cx="1256734" cy="356304"/>
            </a:xfrm>
            <a:custGeom>
              <a:avLst/>
              <a:gdLst>
                <a:gd name="connsiteX0" fmla="*/ 1226823 w 1256734"/>
                <a:gd name="connsiteY0" fmla="*/ 269166 h 356304"/>
                <a:gd name="connsiteX1" fmla="*/ 1133491 w 1256734"/>
                <a:gd name="connsiteY1" fmla="*/ 316610 h 356304"/>
                <a:gd name="connsiteX2" fmla="*/ 1010248 w 1256734"/>
                <a:gd name="connsiteY2" fmla="*/ 178448 h 356304"/>
                <a:gd name="connsiteX3" fmla="*/ 1131426 w 1256734"/>
                <a:gd name="connsiteY3" fmla="*/ 39696 h 356304"/>
                <a:gd name="connsiteX4" fmla="*/ 1226823 w 1256734"/>
                <a:gd name="connsiteY4" fmla="*/ 86659 h 356304"/>
                <a:gd name="connsiteX5" fmla="*/ 1256735 w 1256734"/>
                <a:gd name="connsiteY5" fmla="*/ 58823 h 356304"/>
                <a:gd name="connsiteX6" fmla="*/ 1216553 w 1256734"/>
                <a:gd name="connsiteY6" fmla="*/ 23241 h 356304"/>
                <a:gd name="connsiteX7" fmla="*/ 1130420 w 1256734"/>
                <a:gd name="connsiteY7" fmla="*/ 0 h 356304"/>
                <a:gd name="connsiteX8" fmla="*/ 965885 w 1256734"/>
                <a:gd name="connsiteY8" fmla="*/ 178448 h 356304"/>
                <a:gd name="connsiteX9" fmla="*/ 1011783 w 1256734"/>
                <a:gd name="connsiteY9" fmla="*/ 305763 h 356304"/>
                <a:gd name="connsiteX10" fmla="*/ 1129892 w 1256734"/>
                <a:gd name="connsiteY10" fmla="*/ 356305 h 356304"/>
                <a:gd name="connsiteX11" fmla="*/ 1255676 w 1256734"/>
                <a:gd name="connsiteY11" fmla="*/ 298071 h 356304"/>
                <a:gd name="connsiteX12" fmla="*/ 1226823 w 1256734"/>
                <a:gd name="connsiteY12" fmla="*/ 269166 h 356304"/>
                <a:gd name="connsiteX13" fmla="*/ 679216 w 1256734"/>
                <a:gd name="connsiteY13" fmla="*/ 197999 h 356304"/>
                <a:gd name="connsiteX14" fmla="*/ 846824 w 1256734"/>
                <a:gd name="connsiteY14" fmla="*/ 197999 h 356304"/>
                <a:gd name="connsiteX15" fmla="*/ 846824 w 1256734"/>
                <a:gd name="connsiteY15" fmla="*/ 350105 h 356304"/>
                <a:gd name="connsiteX16" fmla="*/ 890075 w 1256734"/>
                <a:gd name="connsiteY16" fmla="*/ 350105 h 356304"/>
                <a:gd name="connsiteX17" fmla="*/ 890075 w 1256734"/>
                <a:gd name="connsiteY17" fmla="*/ 6198 h 356304"/>
                <a:gd name="connsiteX18" fmla="*/ 846824 w 1256734"/>
                <a:gd name="connsiteY18" fmla="*/ 6198 h 356304"/>
                <a:gd name="connsiteX19" fmla="*/ 846824 w 1256734"/>
                <a:gd name="connsiteY19" fmla="*/ 160920 h 356304"/>
                <a:gd name="connsiteX20" fmla="*/ 679216 w 1256734"/>
                <a:gd name="connsiteY20" fmla="*/ 160920 h 356304"/>
                <a:gd name="connsiteX21" fmla="*/ 679216 w 1256734"/>
                <a:gd name="connsiteY21" fmla="*/ 6198 h 356304"/>
                <a:gd name="connsiteX22" fmla="*/ 635912 w 1256734"/>
                <a:gd name="connsiteY22" fmla="*/ 6198 h 356304"/>
                <a:gd name="connsiteX23" fmla="*/ 635912 w 1256734"/>
                <a:gd name="connsiteY23" fmla="*/ 350105 h 356304"/>
                <a:gd name="connsiteX24" fmla="*/ 679216 w 1256734"/>
                <a:gd name="connsiteY24" fmla="*/ 350105 h 356304"/>
                <a:gd name="connsiteX25" fmla="*/ 679216 w 1256734"/>
                <a:gd name="connsiteY25" fmla="*/ 197999 h 356304"/>
                <a:gd name="connsiteX26" fmla="*/ 392018 w 1256734"/>
                <a:gd name="connsiteY26" fmla="*/ 40230 h 356304"/>
                <a:gd name="connsiteX27" fmla="*/ 476563 w 1256734"/>
                <a:gd name="connsiteY27" fmla="*/ 75813 h 356304"/>
                <a:gd name="connsiteX28" fmla="*/ 515792 w 1256734"/>
                <a:gd name="connsiteY28" fmla="*/ 181011 h 356304"/>
                <a:gd name="connsiteX29" fmla="*/ 482758 w 1256734"/>
                <a:gd name="connsiteY29" fmla="*/ 275365 h 356304"/>
                <a:gd name="connsiteX30" fmla="*/ 390960 w 1256734"/>
                <a:gd name="connsiteY30" fmla="*/ 316610 h 356304"/>
                <a:gd name="connsiteX31" fmla="*/ 267239 w 1256734"/>
                <a:gd name="connsiteY31" fmla="*/ 178448 h 356304"/>
                <a:gd name="connsiteX32" fmla="*/ 392018 w 1256734"/>
                <a:gd name="connsiteY32" fmla="*/ 40230 h 356304"/>
                <a:gd name="connsiteX33" fmla="*/ 393077 w 1256734"/>
                <a:gd name="connsiteY33" fmla="*/ 0 h 356304"/>
                <a:gd name="connsiteX34" fmla="*/ 222876 w 1256734"/>
                <a:gd name="connsiteY34" fmla="*/ 179994 h 356304"/>
                <a:gd name="connsiteX35" fmla="*/ 258982 w 1256734"/>
                <a:gd name="connsiteY35" fmla="*/ 291872 h 356304"/>
                <a:gd name="connsiteX36" fmla="*/ 392018 w 1256734"/>
                <a:gd name="connsiteY36" fmla="*/ 356305 h 356304"/>
                <a:gd name="connsiteX37" fmla="*/ 501868 w 1256734"/>
                <a:gd name="connsiteY37" fmla="*/ 315059 h 356304"/>
                <a:gd name="connsiteX38" fmla="*/ 560155 w 1256734"/>
                <a:gd name="connsiteY38" fmla="*/ 181545 h 356304"/>
                <a:gd name="connsiteX39" fmla="*/ 519921 w 1256734"/>
                <a:gd name="connsiteY39" fmla="*/ 59304 h 356304"/>
                <a:gd name="connsiteX40" fmla="*/ 393077 w 1256734"/>
                <a:gd name="connsiteY40" fmla="*/ 0 h 356304"/>
                <a:gd name="connsiteX41" fmla="*/ 43306 w 1256734"/>
                <a:gd name="connsiteY41" fmla="*/ 310946 h 356304"/>
                <a:gd name="connsiteX42" fmla="*/ 43306 w 1256734"/>
                <a:gd name="connsiteY42" fmla="*/ 6198 h 356304"/>
                <a:gd name="connsiteX43" fmla="*/ 0 w 1256734"/>
                <a:gd name="connsiteY43" fmla="*/ 6198 h 356304"/>
                <a:gd name="connsiteX44" fmla="*/ 0 w 1256734"/>
                <a:gd name="connsiteY44" fmla="*/ 350105 h 356304"/>
                <a:gd name="connsiteX45" fmla="*/ 194237 w 1256734"/>
                <a:gd name="connsiteY45" fmla="*/ 350105 h 356304"/>
                <a:gd name="connsiteX46" fmla="*/ 194237 w 1256734"/>
                <a:gd name="connsiteY46" fmla="*/ 310946 h 356304"/>
                <a:gd name="connsiteX47" fmla="*/ 43306 w 1256734"/>
                <a:gd name="connsiteY47" fmla="*/ 310946 h 35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256734" h="356304">
                  <a:moveTo>
                    <a:pt x="1226823" y="269166"/>
                  </a:moveTo>
                  <a:cubicBezTo>
                    <a:pt x="1200037" y="301650"/>
                    <a:pt x="1171131" y="316610"/>
                    <a:pt x="1133491" y="316610"/>
                  </a:cubicBezTo>
                  <a:cubicBezTo>
                    <a:pt x="1062341" y="316610"/>
                    <a:pt x="1010248" y="258371"/>
                    <a:pt x="1010248" y="178448"/>
                  </a:cubicBezTo>
                  <a:cubicBezTo>
                    <a:pt x="1010248" y="97985"/>
                    <a:pt x="1061334" y="39696"/>
                    <a:pt x="1131426" y="39696"/>
                  </a:cubicBezTo>
                  <a:cubicBezTo>
                    <a:pt x="1168008" y="39696"/>
                    <a:pt x="1193313" y="52092"/>
                    <a:pt x="1226823" y="86659"/>
                  </a:cubicBezTo>
                  <a:lnTo>
                    <a:pt x="1256735" y="58823"/>
                  </a:lnTo>
                  <a:cubicBezTo>
                    <a:pt x="1239742" y="40230"/>
                    <a:pt x="1230424" y="32003"/>
                    <a:pt x="1216553" y="23241"/>
                  </a:cubicBezTo>
                  <a:cubicBezTo>
                    <a:pt x="1191725" y="8281"/>
                    <a:pt x="1161338" y="0"/>
                    <a:pt x="1130420" y="0"/>
                  </a:cubicBezTo>
                  <a:cubicBezTo>
                    <a:pt x="1035500" y="0"/>
                    <a:pt x="965885" y="75279"/>
                    <a:pt x="965885" y="178448"/>
                  </a:cubicBezTo>
                  <a:cubicBezTo>
                    <a:pt x="965885" y="226369"/>
                    <a:pt x="982931" y="273279"/>
                    <a:pt x="1011783" y="305763"/>
                  </a:cubicBezTo>
                  <a:cubicBezTo>
                    <a:pt x="1041165" y="338782"/>
                    <a:pt x="1081928" y="356305"/>
                    <a:pt x="1129892" y="356305"/>
                  </a:cubicBezTo>
                  <a:cubicBezTo>
                    <a:pt x="1182990" y="356305"/>
                    <a:pt x="1221107" y="338782"/>
                    <a:pt x="1255676" y="298071"/>
                  </a:cubicBezTo>
                  <a:lnTo>
                    <a:pt x="1226823" y="269166"/>
                  </a:lnTo>
                  <a:close/>
                  <a:moveTo>
                    <a:pt x="679216" y="197999"/>
                  </a:moveTo>
                  <a:lnTo>
                    <a:pt x="846824" y="197999"/>
                  </a:lnTo>
                  <a:lnTo>
                    <a:pt x="846824" y="350105"/>
                  </a:lnTo>
                  <a:lnTo>
                    <a:pt x="890075" y="350105"/>
                  </a:lnTo>
                  <a:lnTo>
                    <a:pt x="890075" y="6198"/>
                  </a:lnTo>
                  <a:lnTo>
                    <a:pt x="846824" y="6198"/>
                  </a:lnTo>
                  <a:lnTo>
                    <a:pt x="846824" y="160920"/>
                  </a:lnTo>
                  <a:lnTo>
                    <a:pt x="679216" y="160920"/>
                  </a:lnTo>
                  <a:lnTo>
                    <a:pt x="679216" y="6198"/>
                  </a:lnTo>
                  <a:lnTo>
                    <a:pt x="635912" y="6198"/>
                  </a:lnTo>
                  <a:lnTo>
                    <a:pt x="635912" y="350105"/>
                  </a:lnTo>
                  <a:lnTo>
                    <a:pt x="679216" y="350105"/>
                  </a:lnTo>
                  <a:lnTo>
                    <a:pt x="679216" y="197999"/>
                  </a:lnTo>
                  <a:close/>
                  <a:moveTo>
                    <a:pt x="392018" y="40230"/>
                  </a:moveTo>
                  <a:cubicBezTo>
                    <a:pt x="422459" y="40230"/>
                    <a:pt x="453904" y="53641"/>
                    <a:pt x="476563" y="75813"/>
                  </a:cubicBezTo>
                  <a:cubicBezTo>
                    <a:pt x="503404" y="101618"/>
                    <a:pt x="515792" y="135117"/>
                    <a:pt x="515792" y="181011"/>
                  </a:cubicBezTo>
                  <a:cubicBezTo>
                    <a:pt x="515792" y="216057"/>
                    <a:pt x="502874" y="253189"/>
                    <a:pt x="482758" y="275365"/>
                  </a:cubicBezTo>
                  <a:cubicBezTo>
                    <a:pt x="459569" y="301650"/>
                    <a:pt x="425530" y="316610"/>
                    <a:pt x="390960" y="316610"/>
                  </a:cubicBezTo>
                  <a:cubicBezTo>
                    <a:pt x="319809" y="316610"/>
                    <a:pt x="267239" y="258371"/>
                    <a:pt x="267239" y="178448"/>
                  </a:cubicBezTo>
                  <a:cubicBezTo>
                    <a:pt x="267239" y="99000"/>
                    <a:pt x="320338" y="40230"/>
                    <a:pt x="392018" y="40230"/>
                  </a:cubicBezTo>
                  <a:moveTo>
                    <a:pt x="393077" y="0"/>
                  </a:moveTo>
                  <a:cubicBezTo>
                    <a:pt x="295615" y="0"/>
                    <a:pt x="222876" y="77362"/>
                    <a:pt x="222876" y="179994"/>
                  </a:cubicBezTo>
                  <a:cubicBezTo>
                    <a:pt x="222876" y="223273"/>
                    <a:pt x="235318" y="261956"/>
                    <a:pt x="258982" y="291872"/>
                  </a:cubicBezTo>
                  <a:cubicBezTo>
                    <a:pt x="290957" y="332101"/>
                    <a:pt x="340985" y="356305"/>
                    <a:pt x="392018" y="356305"/>
                  </a:cubicBezTo>
                  <a:cubicBezTo>
                    <a:pt x="431723" y="356305"/>
                    <a:pt x="470899" y="341879"/>
                    <a:pt x="501868" y="315059"/>
                  </a:cubicBezTo>
                  <a:cubicBezTo>
                    <a:pt x="539509" y="283110"/>
                    <a:pt x="560155" y="235131"/>
                    <a:pt x="560155" y="181545"/>
                  </a:cubicBezTo>
                  <a:cubicBezTo>
                    <a:pt x="560155" y="129935"/>
                    <a:pt x="547715" y="91788"/>
                    <a:pt x="519921" y="59304"/>
                  </a:cubicBezTo>
                  <a:cubicBezTo>
                    <a:pt x="486886" y="21691"/>
                    <a:pt x="440988" y="0"/>
                    <a:pt x="393077" y="0"/>
                  </a:cubicBezTo>
                  <a:moveTo>
                    <a:pt x="43306" y="310946"/>
                  </a:moveTo>
                  <a:lnTo>
                    <a:pt x="43306" y="6198"/>
                  </a:lnTo>
                  <a:lnTo>
                    <a:pt x="0" y="6198"/>
                  </a:lnTo>
                  <a:lnTo>
                    <a:pt x="0" y="350105"/>
                  </a:lnTo>
                  <a:lnTo>
                    <a:pt x="194237" y="350105"/>
                  </a:lnTo>
                  <a:lnTo>
                    <a:pt x="194237" y="310946"/>
                  </a:lnTo>
                  <a:lnTo>
                    <a:pt x="43306" y="310946"/>
                  </a:lnTo>
                  <a:close/>
                </a:path>
              </a:pathLst>
            </a:custGeom>
            <a:solidFill>
              <a:schemeClr val="accent2"/>
            </a:solidFill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9720882E-6727-DD2A-23D0-293CFA53DB50}"/>
                </a:ext>
              </a:extLst>
            </p:cNvPr>
            <p:cNvSpPr/>
            <p:nvPr/>
          </p:nvSpPr>
          <p:spPr bwMode="gray">
            <a:xfrm>
              <a:off x="-161925" y="-1630732"/>
              <a:ext cx="10575647" cy="1701544"/>
            </a:xfrm>
            <a:custGeom>
              <a:avLst/>
              <a:gdLst>
                <a:gd name="connsiteX0" fmla="*/ 7802033 w 10575647"/>
                <a:gd name="connsiteY0" fmla="*/ 380187 h 1701544"/>
                <a:gd name="connsiteX1" fmla="*/ 7621138 w 10575647"/>
                <a:gd name="connsiteY1" fmla="*/ 380187 h 1701544"/>
                <a:gd name="connsiteX2" fmla="*/ 7621138 w 10575647"/>
                <a:gd name="connsiteY2" fmla="*/ 1271563 h 1701544"/>
                <a:gd name="connsiteX3" fmla="*/ 7802033 w 10575647"/>
                <a:gd name="connsiteY3" fmla="*/ 1271563 h 1701544"/>
                <a:gd name="connsiteX4" fmla="*/ 7802033 w 10575647"/>
                <a:gd name="connsiteY4" fmla="*/ 380187 h 1701544"/>
                <a:gd name="connsiteX5" fmla="*/ 706522 w 10575647"/>
                <a:gd name="connsiteY5" fmla="*/ 1271563 h 1701544"/>
                <a:gd name="connsiteX6" fmla="*/ 902065 w 10575647"/>
                <a:gd name="connsiteY6" fmla="*/ 1271563 h 1701544"/>
                <a:gd name="connsiteX7" fmla="*/ 902065 w 10575647"/>
                <a:gd name="connsiteY7" fmla="*/ 0 h 1701544"/>
                <a:gd name="connsiteX8" fmla="*/ 706522 w 10575647"/>
                <a:gd name="connsiteY8" fmla="*/ 0 h 1701544"/>
                <a:gd name="connsiteX9" fmla="*/ 706522 w 10575647"/>
                <a:gd name="connsiteY9" fmla="*/ 553717 h 1701544"/>
                <a:gd name="connsiteX10" fmla="*/ 195543 w 10575647"/>
                <a:gd name="connsiteY10" fmla="*/ 553717 h 1701544"/>
                <a:gd name="connsiteX11" fmla="*/ 195543 w 10575647"/>
                <a:gd name="connsiteY11" fmla="*/ 0 h 1701544"/>
                <a:gd name="connsiteX12" fmla="*/ 0 w 10575647"/>
                <a:gd name="connsiteY12" fmla="*/ 0 h 1701544"/>
                <a:gd name="connsiteX13" fmla="*/ 0 w 10575647"/>
                <a:gd name="connsiteY13" fmla="*/ 1271563 h 1701544"/>
                <a:gd name="connsiteX14" fmla="*/ 195543 w 10575647"/>
                <a:gd name="connsiteY14" fmla="*/ 1271563 h 1701544"/>
                <a:gd name="connsiteX15" fmla="*/ 195543 w 10575647"/>
                <a:gd name="connsiteY15" fmla="*/ 727142 h 1701544"/>
                <a:gd name="connsiteX16" fmla="*/ 706522 w 10575647"/>
                <a:gd name="connsiteY16" fmla="*/ 727142 h 1701544"/>
                <a:gd name="connsiteX17" fmla="*/ 706522 w 10575647"/>
                <a:gd name="connsiteY17" fmla="*/ 1271563 h 1701544"/>
                <a:gd name="connsiteX18" fmla="*/ 1306185 w 10575647"/>
                <a:gd name="connsiteY18" fmla="*/ 1690649 h 1701544"/>
                <a:gd name="connsiteX19" fmla="*/ 1654904 w 10575647"/>
                <a:gd name="connsiteY19" fmla="*/ 1036061 h 1701544"/>
                <a:gd name="connsiteX20" fmla="*/ 1306185 w 10575647"/>
                <a:gd name="connsiteY20" fmla="*/ 381469 h 1701544"/>
                <a:gd name="connsiteX21" fmla="*/ 1090234 w 10575647"/>
                <a:gd name="connsiteY21" fmla="*/ 381469 h 1701544"/>
                <a:gd name="connsiteX22" fmla="*/ 1438900 w 10575647"/>
                <a:gd name="connsiteY22" fmla="*/ 1036061 h 1701544"/>
                <a:gd name="connsiteX23" fmla="*/ 1090234 w 10575647"/>
                <a:gd name="connsiteY23" fmla="*/ 1690649 h 1701544"/>
                <a:gd name="connsiteX24" fmla="*/ 1306185 w 10575647"/>
                <a:gd name="connsiteY24" fmla="*/ 1690649 h 1701544"/>
                <a:gd name="connsiteX25" fmla="*/ 2581808 w 10575647"/>
                <a:gd name="connsiteY25" fmla="*/ 828654 h 1701544"/>
                <a:gd name="connsiteX26" fmla="*/ 2317883 w 10575647"/>
                <a:gd name="connsiteY26" fmla="*/ 1129505 h 1701544"/>
                <a:gd name="connsiteX27" fmla="*/ 2065011 w 10575647"/>
                <a:gd name="connsiteY27" fmla="*/ 832338 h 1701544"/>
                <a:gd name="connsiteX28" fmla="*/ 2327068 w 10575647"/>
                <a:gd name="connsiteY28" fmla="*/ 525990 h 1701544"/>
                <a:gd name="connsiteX29" fmla="*/ 2581808 w 10575647"/>
                <a:gd name="connsiteY29" fmla="*/ 828654 h 1701544"/>
                <a:gd name="connsiteX30" fmla="*/ 2581808 w 10575647"/>
                <a:gd name="connsiteY30" fmla="*/ 1271563 h 1701544"/>
                <a:gd name="connsiteX31" fmla="*/ 2762608 w 10575647"/>
                <a:gd name="connsiteY31" fmla="*/ 1271563 h 1701544"/>
                <a:gd name="connsiteX32" fmla="*/ 2762608 w 10575647"/>
                <a:gd name="connsiteY32" fmla="*/ 0 h 1701544"/>
                <a:gd name="connsiteX33" fmla="*/ 2581808 w 10575647"/>
                <a:gd name="connsiteY33" fmla="*/ 0 h 1701544"/>
                <a:gd name="connsiteX34" fmla="*/ 2581808 w 10575647"/>
                <a:gd name="connsiteY34" fmla="*/ 476356 h 1701544"/>
                <a:gd name="connsiteX35" fmla="*/ 2297581 w 10575647"/>
                <a:gd name="connsiteY35" fmla="*/ 359885 h 1701544"/>
                <a:gd name="connsiteX36" fmla="*/ 1876785 w 10575647"/>
                <a:gd name="connsiteY36" fmla="*/ 830470 h 1701544"/>
                <a:gd name="connsiteX37" fmla="*/ 2297581 w 10575647"/>
                <a:gd name="connsiteY37" fmla="*/ 1291865 h 1701544"/>
                <a:gd name="connsiteX38" fmla="*/ 2581808 w 10575647"/>
                <a:gd name="connsiteY38" fmla="*/ 1163217 h 1701544"/>
                <a:gd name="connsiteX39" fmla="*/ 2581808 w 10575647"/>
                <a:gd name="connsiteY39" fmla="*/ 1271563 h 1701544"/>
                <a:gd name="connsiteX40" fmla="*/ 3437445 w 10575647"/>
                <a:gd name="connsiteY40" fmla="*/ 542393 h 1701544"/>
                <a:gd name="connsiteX41" fmla="*/ 3460310 w 10575647"/>
                <a:gd name="connsiteY41" fmla="*/ 545331 h 1701544"/>
                <a:gd name="connsiteX42" fmla="*/ 3460310 w 10575647"/>
                <a:gd name="connsiteY42" fmla="*/ 359885 h 1701544"/>
                <a:gd name="connsiteX43" fmla="*/ 3406830 w 10575647"/>
                <a:gd name="connsiteY43" fmla="*/ 359885 h 1701544"/>
                <a:gd name="connsiteX44" fmla="*/ 3231965 w 10575647"/>
                <a:gd name="connsiteY44" fmla="*/ 415877 h 1701544"/>
                <a:gd name="connsiteX45" fmla="*/ 3187194 w 10575647"/>
                <a:gd name="connsiteY45" fmla="*/ 462091 h 1701544"/>
                <a:gd name="connsiteX46" fmla="*/ 3187194 w 10575647"/>
                <a:gd name="connsiteY46" fmla="*/ 380187 h 1701544"/>
                <a:gd name="connsiteX47" fmla="*/ 3006395 w 10575647"/>
                <a:gd name="connsiteY47" fmla="*/ 380187 h 1701544"/>
                <a:gd name="connsiteX48" fmla="*/ 3006395 w 10575647"/>
                <a:gd name="connsiteY48" fmla="*/ 1271563 h 1701544"/>
                <a:gd name="connsiteX49" fmla="*/ 3187194 w 10575647"/>
                <a:gd name="connsiteY49" fmla="*/ 1271563 h 1701544"/>
                <a:gd name="connsiteX50" fmla="*/ 3187194 w 10575647"/>
                <a:gd name="connsiteY50" fmla="*/ 819411 h 1701544"/>
                <a:gd name="connsiteX51" fmla="*/ 3233517 w 10575647"/>
                <a:gd name="connsiteY51" fmla="*/ 629638 h 1701544"/>
                <a:gd name="connsiteX52" fmla="*/ 3401277 w 10575647"/>
                <a:gd name="connsiteY52" fmla="*/ 540683 h 1701544"/>
                <a:gd name="connsiteX53" fmla="*/ 3437445 w 10575647"/>
                <a:gd name="connsiteY53" fmla="*/ 542393 h 1701544"/>
                <a:gd name="connsiteX54" fmla="*/ 4250980 w 10575647"/>
                <a:gd name="connsiteY54" fmla="*/ 826838 h 1701544"/>
                <a:gd name="connsiteX55" fmla="*/ 3983364 w 10575647"/>
                <a:gd name="connsiteY55" fmla="*/ 1122077 h 1701544"/>
                <a:gd name="connsiteX56" fmla="*/ 3713875 w 10575647"/>
                <a:gd name="connsiteY56" fmla="*/ 826838 h 1701544"/>
                <a:gd name="connsiteX57" fmla="*/ 3985180 w 10575647"/>
                <a:gd name="connsiteY57" fmla="*/ 529677 h 1701544"/>
                <a:gd name="connsiteX58" fmla="*/ 4250980 w 10575647"/>
                <a:gd name="connsiteY58" fmla="*/ 826838 h 1701544"/>
                <a:gd name="connsiteX59" fmla="*/ 4435464 w 10575647"/>
                <a:gd name="connsiteY59" fmla="*/ 828654 h 1701544"/>
                <a:gd name="connsiteX60" fmla="*/ 3985180 w 10575647"/>
                <a:gd name="connsiteY60" fmla="*/ 359885 h 1701544"/>
                <a:gd name="connsiteX61" fmla="*/ 3529338 w 10575647"/>
                <a:gd name="connsiteY61" fmla="*/ 824916 h 1701544"/>
                <a:gd name="connsiteX62" fmla="*/ 3979622 w 10575647"/>
                <a:gd name="connsiteY62" fmla="*/ 1291865 h 1701544"/>
                <a:gd name="connsiteX63" fmla="*/ 4435464 w 10575647"/>
                <a:gd name="connsiteY63" fmla="*/ 828654 h 1701544"/>
                <a:gd name="connsiteX64" fmla="*/ 5261608 w 10575647"/>
                <a:gd name="connsiteY64" fmla="*/ 828654 h 1701544"/>
                <a:gd name="connsiteX65" fmla="*/ 5205508 w 10575647"/>
                <a:gd name="connsiteY65" fmla="*/ 1025854 h 1701544"/>
                <a:gd name="connsiteX66" fmla="*/ 5005052 w 10575647"/>
                <a:gd name="connsiteY66" fmla="*/ 1122077 h 1701544"/>
                <a:gd name="connsiteX67" fmla="*/ 4746675 w 10575647"/>
                <a:gd name="connsiteY67" fmla="*/ 823153 h 1701544"/>
                <a:gd name="connsiteX68" fmla="*/ 5008683 w 10575647"/>
                <a:gd name="connsiteY68" fmla="*/ 529677 h 1701544"/>
                <a:gd name="connsiteX69" fmla="*/ 5200378 w 10575647"/>
                <a:gd name="connsiteY69" fmla="*/ 617081 h 1701544"/>
                <a:gd name="connsiteX70" fmla="*/ 5261608 w 10575647"/>
                <a:gd name="connsiteY70" fmla="*/ 828654 h 1701544"/>
                <a:gd name="connsiteX71" fmla="*/ 5327264 w 10575647"/>
                <a:gd name="connsiteY71" fmla="*/ 1583314 h 1701544"/>
                <a:gd name="connsiteX72" fmla="*/ 5446113 w 10575647"/>
                <a:gd name="connsiteY72" fmla="*/ 1256819 h 1701544"/>
                <a:gd name="connsiteX73" fmla="*/ 5446113 w 10575647"/>
                <a:gd name="connsiteY73" fmla="*/ 380187 h 1701544"/>
                <a:gd name="connsiteX74" fmla="*/ 5265239 w 10575647"/>
                <a:gd name="connsiteY74" fmla="*/ 380187 h 1701544"/>
                <a:gd name="connsiteX75" fmla="*/ 5265239 w 10575647"/>
                <a:gd name="connsiteY75" fmla="*/ 488537 h 1701544"/>
                <a:gd name="connsiteX76" fmla="*/ 4982875 w 10575647"/>
                <a:gd name="connsiteY76" fmla="*/ 359885 h 1701544"/>
                <a:gd name="connsiteX77" fmla="*/ 4699394 w 10575647"/>
                <a:gd name="connsiteY77" fmla="*/ 465190 h 1701544"/>
                <a:gd name="connsiteX78" fmla="*/ 4558400 w 10575647"/>
                <a:gd name="connsiteY78" fmla="*/ 828654 h 1701544"/>
                <a:gd name="connsiteX79" fmla="*/ 4971816 w 10575647"/>
                <a:gd name="connsiteY79" fmla="*/ 1291865 h 1701544"/>
                <a:gd name="connsiteX80" fmla="*/ 5265239 w 10575647"/>
                <a:gd name="connsiteY80" fmla="*/ 1150553 h 1701544"/>
                <a:gd name="connsiteX81" fmla="*/ 5265239 w 10575647"/>
                <a:gd name="connsiteY81" fmla="*/ 1267931 h 1701544"/>
                <a:gd name="connsiteX82" fmla="*/ 5206095 w 10575647"/>
                <a:gd name="connsiteY82" fmla="*/ 1457116 h 1701544"/>
                <a:gd name="connsiteX83" fmla="*/ 4999546 w 10575647"/>
                <a:gd name="connsiteY83" fmla="*/ 1533625 h 1701544"/>
                <a:gd name="connsiteX84" fmla="*/ 4811695 w 10575647"/>
                <a:gd name="connsiteY84" fmla="*/ 1487409 h 1701544"/>
                <a:gd name="connsiteX85" fmla="*/ 4733588 w 10575647"/>
                <a:gd name="connsiteY85" fmla="*/ 1416300 h 1701544"/>
                <a:gd name="connsiteX86" fmla="*/ 4719215 w 10575647"/>
                <a:gd name="connsiteY86" fmla="*/ 1401339 h 1701544"/>
                <a:gd name="connsiteX87" fmla="*/ 4595103 w 10575647"/>
                <a:gd name="connsiteY87" fmla="*/ 1525451 h 1701544"/>
                <a:gd name="connsiteX88" fmla="*/ 4607819 w 10575647"/>
                <a:gd name="connsiteY88" fmla="*/ 1539824 h 1701544"/>
                <a:gd name="connsiteX89" fmla="*/ 4999546 w 10575647"/>
                <a:gd name="connsiteY89" fmla="*/ 1701544 h 1701544"/>
                <a:gd name="connsiteX90" fmla="*/ 5327264 w 10575647"/>
                <a:gd name="connsiteY90" fmla="*/ 1583314 h 1701544"/>
                <a:gd name="connsiteX91" fmla="*/ 6317923 w 10575647"/>
                <a:gd name="connsiteY91" fmla="*/ 747497 h 1701544"/>
                <a:gd name="connsiteX92" fmla="*/ 5805203 w 10575647"/>
                <a:gd name="connsiteY92" fmla="*/ 747497 h 1701544"/>
                <a:gd name="connsiteX93" fmla="*/ 5845913 w 10575647"/>
                <a:gd name="connsiteY93" fmla="*/ 635144 h 1701544"/>
                <a:gd name="connsiteX94" fmla="*/ 6057989 w 10575647"/>
                <a:gd name="connsiteY94" fmla="*/ 525990 h 1701544"/>
                <a:gd name="connsiteX95" fmla="*/ 6275730 w 10575647"/>
                <a:gd name="connsiteY95" fmla="*/ 633487 h 1701544"/>
                <a:gd name="connsiteX96" fmla="*/ 6317923 w 10575647"/>
                <a:gd name="connsiteY96" fmla="*/ 747497 h 1701544"/>
                <a:gd name="connsiteX97" fmla="*/ 6508188 w 10575647"/>
                <a:gd name="connsiteY97" fmla="*/ 872890 h 1701544"/>
                <a:gd name="connsiteX98" fmla="*/ 6510094 w 10575647"/>
                <a:gd name="connsiteY98" fmla="*/ 815779 h 1701544"/>
                <a:gd name="connsiteX99" fmla="*/ 6057989 w 10575647"/>
                <a:gd name="connsiteY99" fmla="*/ 359885 h 1701544"/>
                <a:gd name="connsiteX100" fmla="*/ 5609538 w 10575647"/>
                <a:gd name="connsiteY100" fmla="*/ 828654 h 1701544"/>
                <a:gd name="connsiteX101" fmla="*/ 6063495 w 10575647"/>
                <a:gd name="connsiteY101" fmla="*/ 1291865 h 1701544"/>
                <a:gd name="connsiteX102" fmla="*/ 6460066 w 10575647"/>
                <a:gd name="connsiteY102" fmla="*/ 1051710 h 1701544"/>
                <a:gd name="connsiteX103" fmla="*/ 6469966 w 10575647"/>
                <a:gd name="connsiteY103" fmla="*/ 1031572 h 1701544"/>
                <a:gd name="connsiteX104" fmla="*/ 6308923 w 10575647"/>
                <a:gd name="connsiteY104" fmla="*/ 971517 h 1701544"/>
                <a:gd name="connsiteX105" fmla="*/ 6300559 w 10575647"/>
                <a:gd name="connsiteY105" fmla="*/ 986689 h 1701544"/>
                <a:gd name="connsiteX106" fmla="*/ 6063495 w 10575647"/>
                <a:gd name="connsiteY106" fmla="*/ 1122077 h 1701544"/>
                <a:gd name="connsiteX107" fmla="*/ 5850784 w 10575647"/>
                <a:gd name="connsiteY107" fmla="*/ 1013832 h 1701544"/>
                <a:gd name="connsiteX108" fmla="*/ 5802132 w 10575647"/>
                <a:gd name="connsiteY108" fmla="*/ 891377 h 1701544"/>
                <a:gd name="connsiteX109" fmla="*/ 6506547 w 10575647"/>
                <a:gd name="connsiteY109" fmla="*/ 891377 h 1701544"/>
                <a:gd name="connsiteX110" fmla="*/ 6508188 w 10575647"/>
                <a:gd name="connsiteY110" fmla="*/ 872890 h 1701544"/>
                <a:gd name="connsiteX111" fmla="*/ 7205139 w 10575647"/>
                <a:gd name="connsiteY111" fmla="*/ 1271563 h 1701544"/>
                <a:gd name="connsiteX112" fmla="*/ 7385928 w 10575647"/>
                <a:gd name="connsiteY112" fmla="*/ 1271563 h 1701544"/>
                <a:gd name="connsiteX113" fmla="*/ 7385928 w 10575647"/>
                <a:gd name="connsiteY113" fmla="*/ 677294 h 1701544"/>
                <a:gd name="connsiteX114" fmla="*/ 7307154 w 10575647"/>
                <a:gd name="connsiteY114" fmla="*/ 435163 h 1701544"/>
                <a:gd name="connsiteX115" fmla="*/ 7096189 w 10575647"/>
                <a:gd name="connsiteY115" fmla="*/ 359885 h 1701544"/>
                <a:gd name="connsiteX116" fmla="*/ 6863625 w 10575647"/>
                <a:gd name="connsiteY116" fmla="*/ 463694 h 1701544"/>
                <a:gd name="connsiteX117" fmla="*/ 6863625 w 10575647"/>
                <a:gd name="connsiteY117" fmla="*/ 380187 h 1701544"/>
                <a:gd name="connsiteX118" fmla="*/ 6682836 w 10575647"/>
                <a:gd name="connsiteY118" fmla="*/ 380187 h 1701544"/>
                <a:gd name="connsiteX119" fmla="*/ 6682836 w 10575647"/>
                <a:gd name="connsiteY119" fmla="*/ 1271563 h 1701544"/>
                <a:gd name="connsiteX120" fmla="*/ 6863625 w 10575647"/>
                <a:gd name="connsiteY120" fmla="*/ 1271563 h 1701544"/>
                <a:gd name="connsiteX121" fmla="*/ 6863625 w 10575647"/>
                <a:gd name="connsiteY121" fmla="*/ 732701 h 1701544"/>
                <a:gd name="connsiteX122" fmla="*/ 6913971 w 10575647"/>
                <a:gd name="connsiteY122" fmla="*/ 591066 h 1701544"/>
                <a:gd name="connsiteX123" fmla="*/ 7061143 w 10575647"/>
                <a:gd name="connsiteY123" fmla="*/ 525990 h 1701544"/>
                <a:gd name="connsiteX124" fmla="*/ 7177769 w 10575647"/>
                <a:gd name="connsiteY124" fmla="*/ 575089 h 1701544"/>
                <a:gd name="connsiteX125" fmla="*/ 7205139 w 10575647"/>
                <a:gd name="connsiteY125" fmla="*/ 708709 h 1701544"/>
                <a:gd name="connsiteX126" fmla="*/ 7205139 w 10575647"/>
                <a:gd name="connsiteY126" fmla="*/ 1271563 h 1701544"/>
                <a:gd name="connsiteX127" fmla="*/ 7822309 w 10575647"/>
                <a:gd name="connsiteY127" fmla="*/ 162418 h 1701544"/>
                <a:gd name="connsiteX128" fmla="*/ 7713412 w 10575647"/>
                <a:gd name="connsiteY128" fmla="*/ 49847 h 1701544"/>
                <a:gd name="connsiteX129" fmla="*/ 7602662 w 10575647"/>
                <a:gd name="connsiteY129" fmla="*/ 160549 h 1701544"/>
                <a:gd name="connsiteX130" fmla="*/ 7711560 w 10575647"/>
                <a:gd name="connsiteY130" fmla="*/ 271303 h 1701544"/>
                <a:gd name="connsiteX131" fmla="*/ 7822309 w 10575647"/>
                <a:gd name="connsiteY131" fmla="*/ 162418 h 1701544"/>
                <a:gd name="connsiteX132" fmla="*/ 8704760 w 10575647"/>
                <a:gd name="connsiteY132" fmla="*/ 826838 h 1701544"/>
                <a:gd name="connsiteX133" fmla="*/ 8437150 w 10575647"/>
                <a:gd name="connsiteY133" fmla="*/ 1122077 h 1701544"/>
                <a:gd name="connsiteX134" fmla="*/ 8167740 w 10575647"/>
                <a:gd name="connsiteY134" fmla="*/ 826838 h 1701544"/>
                <a:gd name="connsiteX135" fmla="*/ 8439003 w 10575647"/>
                <a:gd name="connsiteY135" fmla="*/ 529677 h 1701544"/>
                <a:gd name="connsiteX136" fmla="*/ 8704760 w 10575647"/>
                <a:gd name="connsiteY136" fmla="*/ 826838 h 1701544"/>
                <a:gd name="connsiteX137" fmla="*/ 8889307 w 10575647"/>
                <a:gd name="connsiteY137" fmla="*/ 828654 h 1701544"/>
                <a:gd name="connsiteX138" fmla="*/ 8439003 w 10575647"/>
                <a:gd name="connsiteY138" fmla="*/ 359885 h 1701544"/>
                <a:gd name="connsiteX139" fmla="*/ 7983193 w 10575647"/>
                <a:gd name="connsiteY139" fmla="*/ 824916 h 1701544"/>
                <a:gd name="connsiteX140" fmla="*/ 8433444 w 10575647"/>
                <a:gd name="connsiteY140" fmla="*/ 1291865 h 1701544"/>
                <a:gd name="connsiteX141" fmla="*/ 8889307 w 10575647"/>
                <a:gd name="connsiteY141" fmla="*/ 828654 h 1701544"/>
                <a:gd name="connsiteX142" fmla="*/ 9658150 w 10575647"/>
                <a:gd name="connsiteY142" fmla="*/ 1197940 h 1701544"/>
                <a:gd name="connsiteX143" fmla="*/ 9749630 w 10575647"/>
                <a:gd name="connsiteY143" fmla="*/ 944968 h 1701544"/>
                <a:gd name="connsiteX144" fmla="*/ 9749630 w 10575647"/>
                <a:gd name="connsiteY144" fmla="*/ 380187 h 1701544"/>
                <a:gd name="connsiteX145" fmla="*/ 9566988 w 10575647"/>
                <a:gd name="connsiteY145" fmla="*/ 380187 h 1701544"/>
                <a:gd name="connsiteX146" fmla="*/ 9566988 w 10575647"/>
                <a:gd name="connsiteY146" fmla="*/ 944968 h 1701544"/>
                <a:gd name="connsiteX147" fmla="*/ 9535012 w 10575647"/>
                <a:gd name="connsiteY147" fmla="*/ 1068222 h 1701544"/>
                <a:gd name="connsiteX148" fmla="*/ 9399010 w 10575647"/>
                <a:gd name="connsiteY148" fmla="*/ 1125815 h 1701544"/>
                <a:gd name="connsiteX149" fmla="*/ 9229233 w 10575647"/>
                <a:gd name="connsiteY149" fmla="*/ 941225 h 1701544"/>
                <a:gd name="connsiteX150" fmla="*/ 9229233 w 10575647"/>
                <a:gd name="connsiteY150" fmla="*/ 380187 h 1701544"/>
                <a:gd name="connsiteX151" fmla="*/ 9048391 w 10575647"/>
                <a:gd name="connsiteY151" fmla="*/ 380187 h 1701544"/>
                <a:gd name="connsiteX152" fmla="*/ 9048391 w 10575647"/>
                <a:gd name="connsiteY152" fmla="*/ 944968 h 1701544"/>
                <a:gd name="connsiteX153" fmla="*/ 9139659 w 10575647"/>
                <a:gd name="connsiteY153" fmla="*/ 1195965 h 1701544"/>
                <a:gd name="connsiteX154" fmla="*/ 9399010 w 10575647"/>
                <a:gd name="connsiteY154" fmla="*/ 1291865 h 1701544"/>
                <a:gd name="connsiteX155" fmla="*/ 9658150 w 10575647"/>
                <a:gd name="connsiteY155" fmla="*/ 1197945 h 1701544"/>
                <a:gd name="connsiteX156" fmla="*/ 10385594 w 10575647"/>
                <a:gd name="connsiteY156" fmla="*/ 653307 h 1701544"/>
                <a:gd name="connsiteX157" fmla="*/ 10567335 w 10575647"/>
                <a:gd name="connsiteY157" fmla="*/ 653307 h 1701544"/>
                <a:gd name="connsiteX158" fmla="*/ 10566383 w 10575647"/>
                <a:gd name="connsiteY158" fmla="*/ 632041 h 1701544"/>
                <a:gd name="connsiteX159" fmla="*/ 10249009 w 10575647"/>
                <a:gd name="connsiteY159" fmla="*/ 359885 h 1701544"/>
                <a:gd name="connsiteX160" fmla="*/ 9929730 w 10575647"/>
                <a:gd name="connsiteY160" fmla="*/ 627446 h 1701544"/>
                <a:gd name="connsiteX161" fmla="*/ 10212587 w 10575647"/>
                <a:gd name="connsiteY161" fmla="*/ 903611 h 1701544"/>
                <a:gd name="connsiteX162" fmla="*/ 10391099 w 10575647"/>
                <a:gd name="connsiteY162" fmla="*/ 1031625 h 1701544"/>
                <a:gd name="connsiteX163" fmla="*/ 10252715 w 10575647"/>
                <a:gd name="connsiteY163" fmla="*/ 1136874 h 1701544"/>
                <a:gd name="connsiteX164" fmla="*/ 10093843 w 10575647"/>
                <a:gd name="connsiteY164" fmla="*/ 1007579 h 1701544"/>
                <a:gd name="connsiteX165" fmla="*/ 10092096 w 10575647"/>
                <a:gd name="connsiteY165" fmla="*/ 989257 h 1701544"/>
                <a:gd name="connsiteX166" fmla="*/ 9913054 w 10575647"/>
                <a:gd name="connsiteY166" fmla="*/ 989257 h 1701544"/>
                <a:gd name="connsiteX167" fmla="*/ 9915066 w 10575647"/>
                <a:gd name="connsiteY167" fmla="*/ 1011216 h 1701544"/>
                <a:gd name="connsiteX168" fmla="*/ 10252715 w 10575647"/>
                <a:gd name="connsiteY168" fmla="*/ 1291865 h 1701544"/>
                <a:gd name="connsiteX169" fmla="*/ 10575647 w 10575647"/>
                <a:gd name="connsiteY169" fmla="*/ 1024303 h 1701544"/>
                <a:gd name="connsiteX170" fmla="*/ 10501426 w 10575647"/>
                <a:gd name="connsiteY170" fmla="*/ 843879 h 1701544"/>
                <a:gd name="connsiteX171" fmla="*/ 10285750 w 10575647"/>
                <a:gd name="connsiteY171" fmla="*/ 740769 h 1701544"/>
                <a:gd name="connsiteX172" fmla="*/ 10110519 w 10575647"/>
                <a:gd name="connsiteY172" fmla="*/ 616440 h 1701544"/>
                <a:gd name="connsiteX173" fmla="*/ 10243398 w 10575647"/>
                <a:gd name="connsiteY173" fmla="*/ 514877 h 1701544"/>
                <a:gd name="connsiteX174" fmla="*/ 10385594 w 10575647"/>
                <a:gd name="connsiteY174" fmla="*/ 623762 h 1701544"/>
                <a:gd name="connsiteX175" fmla="*/ 10385594 w 10575647"/>
                <a:gd name="connsiteY175" fmla="*/ 653307 h 170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10575647" h="1701544">
                  <a:moveTo>
                    <a:pt x="7802033" y="380187"/>
                  </a:moveTo>
                  <a:lnTo>
                    <a:pt x="7621138" y="380187"/>
                  </a:lnTo>
                  <a:lnTo>
                    <a:pt x="7621138" y="1271563"/>
                  </a:lnTo>
                  <a:lnTo>
                    <a:pt x="7802033" y="1271563"/>
                  </a:lnTo>
                  <a:lnTo>
                    <a:pt x="7802033" y="380187"/>
                  </a:lnTo>
                  <a:close/>
                  <a:moveTo>
                    <a:pt x="706522" y="1271563"/>
                  </a:moveTo>
                  <a:lnTo>
                    <a:pt x="902065" y="1271563"/>
                  </a:lnTo>
                  <a:lnTo>
                    <a:pt x="902065" y="0"/>
                  </a:lnTo>
                  <a:lnTo>
                    <a:pt x="706522" y="0"/>
                  </a:lnTo>
                  <a:lnTo>
                    <a:pt x="706522" y="553717"/>
                  </a:lnTo>
                  <a:lnTo>
                    <a:pt x="195543" y="553717"/>
                  </a:lnTo>
                  <a:lnTo>
                    <a:pt x="195543" y="0"/>
                  </a:lnTo>
                  <a:lnTo>
                    <a:pt x="0" y="0"/>
                  </a:lnTo>
                  <a:lnTo>
                    <a:pt x="0" y="1271563"/>
                  </a:lnTo>
                  <a:lnTo>
                    <a:pt x="195543" y="1271563"/>
                  </a:lnTo>
                  <a:lnTo>
                    <a:pt x="195543" y="727142"/>
                  </a:lnTo>
                  <a:lnTo>
                    <a:pt x="706522" y="727142"/>
                  </a:lnTo>
                  <a:lnTo>
                    <a:pt x="706522" y="1271563"/>
                  </a:lnTo>
                  <a:close/>
                  <a:moveTo>
                    <a:pt x="1306185" y="1690649"/>
                  </a:moveTo>
                  <a:lnTo>
                    <a:pt x="1654904" y="1036061"/>
                  </a:lnTo>
                  <a:lnTo>
                    <a:pt x="1306185" y="381469"/>
                  </a:lnTo>
                  <a:lnTo>
                    <a:pt x="1090234" y="381469"/>
                  </a:lnTo>
                  <a:lnTo>
                    <a:pt x="1438900" y="1036061"/>
                  </a:lnTo>
                  <a:lnTo>
                    <a:pt x="1090234" y="1690649"/>
                  </a:lnTo>
                  <a:lnTo>
                    <a:pt x="1306185" y="1690649"/>
                  </a:lnTo>
                  <a:close/>
                  <a:moveTo>
                    <a:pt x="2581808" y="828654"/>
                  </a:moveTo>
                  <a:cubicBezTo>
                    <a:pt x="2581808" y="1002989"/>
                    <a:pt x="2470789" y="1129505"/>
                    <a:pt x="2317883" y="1129505"/>
                  </a:cubicBezTo>
                  <a:cubicBezTo>
                    <a:pt x="2168980" y="1129505"/>
                    <a:pt x="2065011" y="1007262"/>
                    <a:pt x="2065011" y="832338"/>
                  </a:cubicBezTo>
                  <a:cubicBezTo>
                    <a:pt x="2065011" y="649088"/>
                    <a:pt x="2170314" y="525990"/>
                    <a:pt x="2327068" y="525990"/>
                  </a:cubicBezTo>
                  <a:cubicBezTo>
                    <a:pt x="2479444" y="525990"/>
                    <a:pt x="2581808" y="647590"/>
                    <a:pt x="2581808" y="828654"/>
                  </a:cubicBezTo>
                  <a:moveTo>
                    <a:pt x="2581808" y="1271563"/>
                  </a:moveTo>
                  <a:lnTo>
                    <a:pt x="2762608" y="1271563"/>
                  </a:lnTo>
                  <a:lnTo>
                    <a:pt x="2762608" y="0"/>
                  </a:lnTo>
                  <a:lnTo>
                    <a:pt x="2581808" y="0"/>
                  </a:lnTo>
                  <a:lnTo>
                    <a:pt x="2581808" y="476356"/>
                  </a:lnTo>
                  <a:cubicBezTo>
                    <a:pt x="2503431" y="397017"/>
                    <a:pt x="2412449" y="359885"/>
                    <a:pt x="2297581" y="359885"/>
                  </a:cubicBezTo>
                  <a:cubicBezTo>
                    <a:pt x="2057690" y="359885"/>
                    <a:pt x="1876785" y="562214"/>
                    <a:pt x="1876785" y="830470"/>
                  </a:cubicBezTo>
                  <a:cubicBezTo>
                    <a:pt x="1876785" y="1102145"/>
                    <a:pt x="2049839" y="1291865"/>
                    <a:pt x="2297581" y="1291865"/>
                  </a:cubicBezTo>
                  <a:cubicBezTo>
                    <a:pt x="2414371" y="1291865"/>
                    <a:pt x="2503061" y="1251959"/>
                    <a:pt x="2581808" y="1163217"/>
                  </a:cubicBezTo>
                  <a:lnTo>
                    <a:pt x="2581808" y="1271563"/>
                  </a:lnTo>
                  <a:close/>
                  <a:moveTo>
                    <a:pt x="3437445" y="542393"/>
                  </a:moveTo>
                  <a:lnTo>
                    <a:pt x="3460310" y="545331"/>
                  </a:lnTo>
                  <a:lnTo>
                    <a:pt x="3460310" y="359885"/>
                  </a:lnTo>
                  <a:lnTo>
                    <a:pt x="3406830" y="359885"/>
                  </a:lnTo>
                  <a:cubicBezTo>
                    <a:pt x="3341169" y="359885"/>
                    <a:pt x="3277430" y="380294"/>
                    <a:pt x="3231965" y="415877"/>
                  </a:cubicBezTo>
                  <a:cubicBezTo>
                    <a:pt x="3213690" y="430035"/>
                    <a:pt x="3199693" y="444353"/>
                    <a:pt x="3187194" y="462091"/>
                  </a:cubicBezTo>
                  <a:lnTo>
                    <a:pt x="3187194" y="380187"/>
                  </a:lnTo>
                  <a:lnTo>
                    <a:pt x="3006395" y="380187"/>
                  </a:lnTo>
                  <a:lnTo>
                    <a:pt x="3006395" y="1271563"/>
                  </a:lnTo>
                  <a:lnTo>
                    <a:pt x="3187194" y="1271563"/>
                  </a:lnTo>
                  <a:lnTo>
                    <a:pt x="3187194" y="819411"/>
                  </a:lnTo>
                  <a:cubicBezTo>
                    <a:pt x="3187194" y="727783"/>
                    <a:pt x="3198894" y="679915"/>
                    <a:pt x="3233517" y="629638"/>
                  </a:cubicBezTo>
                  <a:cubicBezTo>
                    <a:pt x="3272300" y="572310"/>
                    <a:pt x="3331926" y="540683"/>
                    <a:pt x="3401277" y="540683"/>
                  </a:cubicBezTo>
                  <a:cubicBezTo>
                    <a:pt x="3410356" y="540683"/>
                    <a:pt x="3423983" y="540683"/>
                    <a:pt x="3437445" y="542393"/>
                  </a:cubicBezTo>
                  <a:moveTo>
                    <a:pt x="4250980" y="826838"/>
                  </a:moveTo>
                  <a:cubicBezTo>
                    <a:pt x="4250980" y="1000692"/>
                    <a:pt x="4140918" y="1122077"/>
                    <a:pt x="3983364" y="1122077"/>
                  </a:cubicBezTo>
                  <a:cubicBezTo>
                    <a:pt x="3822174" y="1122077"/>
                    <a:pt x="3713875" y="1003466"/>
                    <a:pt x="3713875" y="826838"/>
                  </a:cubicBezTo>
                  <a:cubicBezTo>
                    <a:pt x="3713875" y="649088"/>
                    <a:pt x="3822920" y="529677"/>
                    <a:pt x="3985180" y="529677"/>
                  </a:cubicBezTo>
                  <a:cubicBezTo>
                    <a:pt x="4144179" y="529677"/>
                    <a:pt x="4250980" y="649088"/>
                    <a:pt x="4250980" y="826838"/>
                  </a:cubicBezTo>
                  <a:moveTo>
                    <a:pt x="4435464" y="828654"/>
                  </a:moveTo>
                  <a:cubicBezTo>
                    <a:pt x="4435464" y="557084"/>
                    <a:pt x="4246120" y="359885"/>
                    <a:pt x="3985180" y="359885"/>
                  </a:cubicBezTo>
                  <a:cubicBezTo>
                    <a:pt x="3716818" y="359885"/>
                    <a:pt x="3529338" y="551155"/>
                    <a:pt x="3529338" y="824916"/>
                  </a:cubicBezTo>
                  <a:cubicBezTo>
                    <a:pt x="3529338" y="1099848"/>
                    <a:pt x="3714521" y="1291865"/>
                    <a:pt x="3979622" y="1291865"/>
                  </a:cubicBezTo>
                  <a:cubicBezTo>
                    <a:pt x="4235272" y="1291865"/>
                    <a:pt x="4435464" y="1088418"/>
                    <a:pt x="4435464" y="828654"/>
                  </a:cubicBezTo>
                  <a:moveTo>
                    <a:pt x="5261608" y="828654"/>
                  </a:moveTo>
                  <a:cubicBezTo>
                    <a:pt x="5261608" y="909382"/>
                    <a:pt x="5239596" y="986748"/>
                    <a:pt x="5205508" y="1025854"/>
                  </a:cubicBezTo>
                  <a:cubicBezTo>
                    <a:pt x="5153150" y="1087026"/>
                    <a:pt x="5080062" y="1122077"/>
                    <a:pt x="5005052" y="1122077"/>
                  </a:cubicBezTo>
                  <a:cubicBezTo>
                    <a:pt x="4855296" y="1122077"/>
                    <a:pt x="4746675" y="996361"/>
                    <a:pt x="4746675" y="823153"/>
                  </a:cubicBezTo>
                  <a:cubicBezTo>
                    <a:pt x="4746675" y="650316"/>
                    <a:pt x="4854386" y="529677"/>
                    <a:pt x="5008683" y="529677"/>
                  </a:cubicBezTo>
                  <a:cubicBezTo>
                    <a:pt x="5078193" y="529677"/>
                    <a:pt x="5151652" y="563177"/>
                    <a:pt x="5200378" y="617081"/>
                  </a:cubicBezTo>
                  <a:cubicBezTo>
                    <a:pt x="5246112" y="667892"/>
                    <a:pt x="5261608" y="721266"/>
                    <a:pt x="5261608" y="828654"/>
                  </a:cubicBezTo>
                  <a:moveTo>
                    <a:pt x="5327264" y="1583314"/>
                  </a:moveTo>
                  <a:cubicBezTo>
                    <a:pt x="5409426" y="1504990"/>
                    <a:pt x="5446113" y="1404277"/>
                    <a:pt x="5446113" y="1256819"/>
                  </a:cubicBezTo>
                  <a:lnTo>
                    <a:pt x="5446113" y="380187"/>
                  </a:lnTo>
                  <a:lnTo>
                    <a:pt x="5265239" y="380187"/>
                  </a:lnTo>
                  <a:lnTo>
                    <a:pt x="5265239" y="488537"/>
                  </a:lnTo>
                  <a:cubicBezTo>
                    <a:pt x="5186005" y="398673"/>
                    <a:pt x="5100153" y="359885"/>
                    <a:pt x="4982875" y="359885"/>
                  </a:cubicBezTo>
                  <a:cubicBezTo>
                    <a:pt x="4866567" y="359885"/>
                    <a:pt x="4771201" y="395361"/>
                    <a:pt x="4699394" y="465190"/>
                  </a:cubicBezTo>
                  <a:cubicBezTo>
                    <a:pt x="4611080" y="549710"/>
                    <a:pt x="4558400" y="685574"/>
                    <a:pt x="4558400" y="828654"/>
                  </a:cubicBezTo>
                  <a:cubicBezTo>
                    <a:pt x="4558400" y="1092743"/>
                    <a:pt x="4736097" y="1291865"/>
                    <a:pt x="4971816" y="1291865"/>
                  </a:cubicBezTo>
                  <a:cubicBezTo>
                    <a:pt x="5092032" y="1291865"/>
                    <a:pt x="5185952" y="1246830"/>
                    <a:pt x="5265239" y="1150553"/>
                  </a:cubicBezTo>
                  <a:lnTo>
                    <a:pt x="5265239" y="1267931"/>
                  </a:lnTo>
                  <a:cubicBezTo>
                    <a:pt x="5265239" y="1350745"/>
                    <a:pt x="5245313" y="1414431"/>
                    <a:pt x="5206095" y="1457116"/>
                  </a:cubicBezTo>
                  <a:cubicBezTo>
                    <a:pt x="5162288" y="1504291"/>
                    <a:pt x="5083159" y="1533625"/>
                    <a:pt x="4999546" y="1533625"/>
                  </a:cubicBezTo>
                  <a:cubicBezTo>
                    <a:pt x="4932122" y="1533625"/>
                    <a:pt x="4856471" y="1514979"/>
                    <a:pt x="4811695" y="1487409"/>
                  </a:cubicBezTo>
                  <a:cubicBezTo>
                    <a:pt x="4788777" y="1471596"/>
                    <a:pt x="4771254" y="1455624"/>
                    <a:pt x="4733588" y="1416300"/>
                  </a:cubicBezTo>
                  <a:lnTo>
                    <a:pt x="4719215" y="1401339"/>
                  </a:lnTo>
                  <a:lnTo>
                    <a:pt x="4595103" y="1525451"/>
                  </a:lnTo>
                  <a:lnTo>
                    <a:pt x="4607819" y="1539824"/>
                  </a:lnTo>
                  <a:cubicBezTo>
                    <a:pt x="4703719" y="1647106"/>
                    <a:pt x="4835528" y="1701544"/>
                    <a:pt x="4999546" y="1701544"/>
                  </a:cubicBezTo>
                  <a:cubicBezTo>
                    <a:pt x="5134664" y="1701544"/>
                    <a:pt x="5247981" y="1660675"/>
                    <a:pt x="5327264" y="1583314"/>
                  </a:cubicBezTo>
                  <a:moveTo>
                    <a:pt x="6317923" y="747497"/>
                  </a:moveTo>
                  <a:lnTo>
                    <a:pt x="5805203" y="747497"/>
                  </a:lnTo>
                  <a:cubicBezTo>
                    <a:pt x="5814785" y="696051"/>
                    <a:pt x="5825267" y="667627"/>
                    <a:pt x="5845913" y="635144"/>
                  </a:cubicBezTo>
                  <a:cubicBezTo>
                    <a:pt x="5892024" y="566756"/>
                    <a:pt x="5971327" y="525990"/>
                    <a:pt x="6057989" y="525990"/>
                  </a:cubicBezTo>
                  <a:cubicBezTo>
                    <a:pt x="6144228" y="525990"/>
                    <a:pt x="6225702" y="566274"/>
                    <a:pt x="6275730" y="633487"/>
                  </a:cubicBezTo>
                  <a:cubicBezTo>
                    <a:pt x="6300453" y="669067"/>
                    <a:pt x="6312047" y="699841"/>
                    <a:pt x="6317923" y="747497"/>
                  </a:cubicBezTo>
                  <a:moveTo>
                    <a:pt x="6508188" y="872890"/>
                  </a:moveTo>
                  <a:cubicBezTo>
                    <a:pt x="6510094" y="851683"/>
                    <a:pt x="6510094" y="827426"/>
                    <a:pt x="6510094" y="815779"/>
                  </a:cubicBezTo>
                  <a:cubicBezTo>
                    <a:pt x="6510094" y="555909"/>
                    <a:pt x="6315700" y="359885"/>
                    <a:pt x="6057989" y="359885"/>
                  </a:cubicBezTo>
                  <a:cubicBezTo>
                    <a:pt x="5798109" y="359885"/>
                    <a:pt x="5609538" y="557084"/>
                    <a:pt x="5609538" y="828654"/>
                  </a:cubicBezTo>
                  <a:cubicBezTo>
                    <a:pt x="5609538" y="1097074"/>
                    <a:pt x="5800491" y="1291865"/>
                    <a:pt x="6063495" y="1291865"/>
                  </a:cubicBezTo>
                  <a:cubicBezTo>
                    <a:pt x="6235020" y="1291865"/>
                    <a:pt x="6386956" y="1199867"/>
                    <a:pt x="6460066" y="1051710"/>
                  </a:cubicBezTo>
                  <a:lnTo>
                    <a:pt x="6469966" y="1031572"/>
                  </a:lnTo>
                  <a:lnTo>
                    <a:pt x="6308923" y="971517"/>
                  </a:lnTo>
                  <a:lnTo>
                    <a:pt x="6300559" y="986689"/>
                  </a:lnTo>
                  <a:cubicBezTo>
                    <a:pt x="6254237" y="1068968"/>
                    <a:pt x="6161169" y="1122077"/>
                    <a:pt x="6063495" y="1122077"/>
                  </a:cubicBezTo>
                  <a:cubicBezTo>
                    <a:pt x="5977415" y="1122077"/>
                    <a:pt x="5901923" y="1083664"/>
                    <a:pt x="5850784" y="1013832"/>
                  </a:cubicBezTo>
                  <a:cubicBezTo>
                    <a:pt x="5821932" y="975900"/>
                    <a:pt x="5809438" y="945021"/>
                    <a:pt x="5802132" y="891377"/>
                  </a:cubicBezTo>
                  <a:lnTo>
                    <a:pt x="6506547" y="891377"/>
                  </a:lnTo>
                  <a:lnTo>
                    <a:pt x="6508188" y="872890"/>
                  </a:lnTo>
                  <a:close/>
                  <a:moveTo>
                    <a:pt x="7205139" y="1271563"/>
                  </a:moveTo>
                  <a:lnTo>
                    <a:pt x="7385928" y="1271563"/>
                  </a:lnTo>
                  <a:lnTo>
                    <a:pt x="7385928" y="677294"/>
                  </a:lnTo>
                  <a:cubicBezTo>
                    <a:pt x="7385928" y="554734"/>
                    <a:pt x="7365387" y="491422"/>
                    <a:pt x="7307154" y="435163"/>
                  </a:cubicBezTo>
                  <a:cubicBezTo>
                    <a:pt x="7252520" y="386599"/>
                    <a:pt x="7177557" y="359885"/>
                    <a:pt x="7096189" y="359885"/>
                  </a:cubicBezTo>
                  <a:cubicBezTo>
                    <a:pt x="7000739" y="359885"/>
                    <a:pt x="6929853" y="391193"/>
                    <a:pt x="6863625" y="463694"/>
                  </a:cubicBezTo>
                  <a:lnTo>
                    <a:pt x="6863625" y="380187"/>
                  </a:lnTo>
                  <a:lnTo>
                    <a:pt x="6682836" y="380187"/>
                  </a:lnTo>
                  <a:lnTo>
                    <a:pt x="6682836" y="1271563"/>
                  </a:lnTo>
                  <a:lnTo>
                    <a:pt x="6863625" y="1271563"/>
                  </a:lnTo>
                  <a:lnTo>
                    <a:pt x="6863625" y="732701"/>
                  </a:lnTo>
                  <a:cubicBezTo>
                    <a:pt x="6863625" y="667839"/>
                    <a:pt x="6876278" y="632147"/>
                    <a:pt x="6913971" y="591066"/>
                  </a:cubicBezTo>
                  <a:cubicBezTo>
                    <a:pt x="6951505" y="548481"/>
                    <a:pt x="7002433" y="525990"/>
                    <a:pt x="7061143" y="525990"/>
                  </a:cubicBezTo>
                  <a:cubicBezTo>
                    <a:pt x="7110748" y="525990"/>
                    <a:pt x="7155428" y="544744"/>
                    <a:pt x="7177769" y="575089"/>
                  </a:cubicBezTo>
                  <a:cubicBezTo>
                    <a:pt x="7197410" y="601215"/>
                    <a:pt x="7205139" y="638722"/>
                    <a:pt x="7205139" y="708709"/>
                  </a:cubicBezTo>
                  <a:lnTo>
                    <a:pt x="7205139" y="1271563"/>
                  </a:lnTo>
                  <a:close/>
                  <a:moveTo>
                    <a:pt x="7822309" y="162418"/>
                  </a:moveTo>
                  <a:cubicBezTo>
                    <a:pt x="7822309" y="99268"/>
                    <a:pt x="7774452" y="49847"/>
                    <a:pt x="7713412" y="49847"/>
                  </a:cubicBezTo>
                  <a:cubicBezTo>
                    <a:pt x="7650255" y="49847"/>
                    <a:pt x="7602662" y="97451"/>
                    <a:pt x="7602662" y="160549"/>
                  </a:cubicBezTo>
                  <a:cubicBezTo>
                    <a:pt x="7602662" y="223699"/>
                    <a:pt x="7649514" y="271303"/>
                    <a:pt x="7711560" y="271303"/>
                  </a:cubicBezTo>
                  <a:cubicBezTo>
                    <a:pt x="7773711" y="271303"/>
                    <a:pt x="7822309" y="223432"/>
                    <a:pt x="7822309" y="162418"/>
                  </a:cubicBezTo>
                  <a:moveTo>
                    <a:pt x="8704760" y="826838"/>
                  </a:moveTo>
                  <a:cubicBezTo>
                    <a:pt x="8704760" y="1000692"/>
                    <a:pt x="8594751" y="1122077"/>
                    <a:pt x="8437150" y="1122077"/>
                  </a:cubicBezTo>
                  <a:cubicBezTo>
                    <a:pt x="8276002" y="1122077"/>
                    <a:pt x="8167740" y="1003466"/>
                    <a:pt x="8167740" y="826838"/>
                  </a:cubicBezTo>
                  <a:cubicBezTo>
                    <a:pt x="8167740" y="649088"/>
                    <a:pt x="8276743" y="529677"/>
                    <a:pt x="8439003" y="529677"/>
                  </a:cubicBezTo>
                  <a:cubicBezTo>
                    <a:pt x="8597980" y="529677"/>
                    <a:pt x="8704760" y="649088"/>
                    <a:pt x="8704760" y="826838"/>
                  </a:cubicBezTo>
                  <a:moveTo>
                    <a:pt x="8889307" y="828654"/>
                  </a:moveTo>
                  <a:cubicBezTo>
                    <a:pt x="8889307" y="557084"/>
                    <a:pt x="8699942" y="359885"/>
                    <a:pt x="8439003" y="359885"/>
                  </a:cubicBezTo>
                  <a:cubicBezTo>
                    <a:pt x="8170652" y="359885"/>
                    <a:pt x="7983193" y="551155"/>
                    <a:pt x="7983193" y="824916"/>
                  </a:cubicBezTo>
                  <a:cubicBezTo>
                    <a:pt x="7983193" y="1099848"/>
                    <a:pt x="8168375" y="1291865"/>
                    <a:pt x="8433444" y="1291865"/>
                  </a:cubicBezTo>
                  <a:cubicBezTo>
                    <a:pt x="8689089" y="1291865"/>
                    <a:pt x="8889307" y="1088418"/>
                    <a:pt x="8889307" y="828654"/>
                  </a:cubicBezTo>
                  <a:moveTo>
                    <a:pt x="9658150" y="1197940"/>
                  </a:moveTo>
                  <a:cubicBezTo>
                    <a:pt x="9724854" y="1137144"/>
                    <a:pt x="9749630" y="1068539"/>
                    <a:pt x="9749630" y="944968"/>
                  </a:cubicBezTo>
                  <a:lnTo>
                    <a:pt x="9749630" y="380187"/>
                  </a:lnTo>
                  <a:lnTo>
                    <a:pt x="9566988" y="380187"/>
                  </a:lnTo>
                  <a:lnTo>
                    <a:pt x="9566988" y="944968"/>
                  </a:lnTo>
                  <a:cubicBezTo>
                    <a:pt x="9566988" y="1008437"/>
                    <a:pt x="9558835" y="1039587"/>
                    <a:pt x="9535012" y="1068222"/>
                  </a:cubicBezTo>
                  <a:cubicBezTo>
                    <a:pt x="9503831" y="1104284"/>
                    <a:pt x="9453009" y="1125815"/>
                    <a:pt x="9399010" y="1125815"/>
                  </a:cubicBezTo>
                  <a:cubicBezTo>
                    <a:pt x="9299060" y="1125815"/>
                    <a:pt x="9229233" y="1049947"/>
                    <a:pt x="9229233" y="941225"/>
                  </a:cubicBezTo>
                  <a:lnTo>
                    <a:pt x="9229233" y="380187"/>
                  </a:lnTo>
                  <a:lnTo>
                    <a:pt x="9048391" y="380187"/>
                  </a:lnTo>
                  <a:lnTo>
                    <a:pt x="9048391" y="944968"/>
                  </a:lnTo>
                  <a:cubicBezTo>
                    <a:pt x="9048391" y="1054330"/>
                    <a:pt x="9078249" y="1136392"/>
                    <a:pt x="9139659" y="1195965"/>
                  </a:cubicBezTo>
                  <a:cubicBezTo>
                    <a:pt x="9204563" y="1256925"/>
                    <a:pt x="9299113" y="1291865"/>
                    <a:pt x="9399010" y="1291865"/>
                  </a:cubicBezTo>
                  <a:cubicBezTo>
                    <a:pt x="9499701" y="1291865"/>
                    <a:pt x="9591763" y="1258529"/>
                    <a:pt x="9658150" y="1197945"/>
                  </a:cubicBezTo>
                  <a:moveTo>
                    <a:pt x="10385594" y="653307"/>
                  </a:moveTo>
                  <a:lnTo>
                    <a:pt x="10567335" y="653307"/>
                  </a:lnTo>
                  <a:lnTo>
                    <a:pt x="10566383" y="632041"/>
                  </a:lnTo>
                  <a:cubicBezTo>
                    <a:pt x="10558442" y="459099"/>
                    <a:pt x="10442768" y="359885"/>
                    <a:pt x="10249009" y="359885"/>
                  </a:cubicBezTo>
                  <a:cubicBezTo>
                    <a:pt x="10058003" y="359885"/>
                    <a:pt x="9929730" y="467434"/>
                    <a:pt x="9929730" y="627446"/>
                  </a:cubicBezTo>
                  <a:cubicBezTo>
                    <a:pt x="9929730" y="765666"/>
                    <a:pt x="10016922" y="850825"/>
                    <a:pt x="10212587" y="903611"/>
                  </a:cubicBezTo>
                  <a:cubicBezTo>
                    <a:pt x="10347689" y="937858"/>
                    <a:pt x="10391099" y="968955"/>
                    <a:pt x="10391099" y="1031625"/>
                  </a:cubicBezTo>
                  <a:cubicBezTo>
                    <a:pt x="10391099" y="1095576"/>
                    <a:pt x="10336730" y="1136874"/>
                    <a:pt x="10252715" y="1136874"/>
                  </a:cubicBezTo>
                  <a:cubicBezTo>
                    <a:pt x="10155517" y="1136874"/>
                    <a:pt x="10102102" y="1093384"/>
                    <a:pt x="10093843" y="1007579"/>
                  </a:cubicBezTo>
                  <a:lnTo>
                    <a:pt x="10092096" y="989257"/>
                  </a:lnTo>
                  <a:lnTo>
                    <a:pt x="9913054" y="989257"/>
                  </a:lnTo>
                  <a:lnTo>
                    <a:pt x="9915066" y="1011216"/>
                  </a:lnTo>
                  <a:cubicBezTo>
                    <a:pt x="9930789" y="1194843"/>
                    <a:pt x="10047626" y="1291865"/>
                    <a:pt x="10252715" y="1291865"/>
                  </a:cubicBezTo>
                  <a:cubicBezTo>
                    <a:pt x="10445839" y="1291865"/>
                    <a:pt x="10575647" y="1184371"/>
                    <a:pt x="10575647" y="1024303"/>
                  </a:cubicBezTo>
                  <a:cubicBezTo>
                    <a:pt x="10575647" y="956667"/>
                    <a:pt x="10548542" y="890948"/>
                    <a:pt x="10501426" y="843879"/>
                  </a:cubicBezTo>
                  <a:cubicBezTo>
                    <a:pt x="10457485" y="799913"/>
                    <a:pt x="10397028" y="770955"/>
                    <a:pt x="10285750" y="740769"/>
                  </a:cubicBezTo>
                  <a:cubicBezTo>
                    <a:pt x="10125660" y="696474"/>
                    <a:pt x="10110519" y="671471"/>
                    <a:pt x="10110519" y="616440"/>
                  </a:cubicBezTo>
                  <a:cubicBezTo>
                    <a:pt x="10110519" y="553823"/>
                    <a:pt x="10161447" y="514877"/>
                    <a:pt x="10243398" y="514877"/>
                  </a:cubicBezTo>
                  <a:cubicBezTo>
                    <a:pt x="10329795" y="514877"/>
                    <a:pt x="10385594" y="557672"/>
                    <a:pt x="10385594" y="623762"/>
                  </a:cubicBezTo>
                  <a:lnTo>
                    <a:pt x="10385594" y="653307"/>
                  </a:ln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E8567C3B-F1F5-1BDA-5705-FCA9E69CA37C}"/>
              </a:ext>
            </a:extLst>
          </p:cNvPr>
          <p:cNvGrpSpPr/>
          <p:nvPr userDrawn="1"/>
        </p:nvGrpSpPr>
        <p:grpSpPr>
          <a:xfrm rot="5400000">
            <a:off x="-3617983" y="3323777"/>
            <a:ext cx="6854690" cy="213756"/>
            <a:chOff x="-1" y="-286346"/>
            <a:chExt cx="5820565" cy="181508"/>
          </a:xfrm>
        </p:grpSpPr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15078E18-A27D-4836-BD22-556BE460AC02}"/>
                </a:ext>
              </a:extLst>
            </p:cNvPr>
            <p:cNvGrpSpPr/>
            <p:nvPr userDrawn="1"/>
          </p:nvGrpSpPr>
          <p:grpSpPr>
            <a:xfrm rot="16200000">
              <a:off x="363007" y="-649354"/>
              <a:ext cx="181503" cy="907520"/>
              <a:chOff x="1319213" y="-1663170"/>
              <a:chExt cx="181503" cy="907520"/>
            </a:xfrm>
          </p:grpSpPr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668FB8A1-C013-750B-1958-BF61FB67E5AB}"/>
                  </a:ext>
                </a:extLst>
              </p:cNvPr>
              <p:cNvSpPr/>
              <p:nvPr/>
            </p:nvSpPr>
            <p:spPr>
              <a:xfrm>
                <a:off x="1319213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44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1ABEEF19-17E4-E450-58E8-9A013B7B5683}"/>
                  </a:ext>
                </a:extLst>
              </p:cNvPr>
              <p:cNvSpPr/>
              <p:nvPr/>
            </p:nvSpPr>
            <p:spPr>
              <a:xfrm>
                <a:off x="1319213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69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EDED0920-F4ED-486A-F142-614A8B3E67FE}"/>
                  </a:ext>
                </a:extLst>
              </p:cNvPr>
              <p:cNvSpPr/>
              <p:nvPr/>
            </p:nvSpPr>
            <p:spPr>
              <a:xfrm>
                <a:off x="1319213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FE8F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3F4686FD-0E5C-568E-F902-A686642B5391}"/>
                  </a:ext>
                </a:extLst>
              </p:cNvPr>
              <p:cNvSpPr/>
              <p:nvPr/>
            </p:nvSpPr>
            <p:spPr>
              <a:xfrm>
                <a:off x="1319213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B4B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DA93CC55-5FE2-97FD-DB69-A55A768A62F8}"/>
                  </a:ext>
                </a:extLst>
              </p:cNvPr>
              <p:cNvSpPr/>
              <p:nvPr/>
            </p:nvSpPr>
            <p:spPr>
              <a:xfrm>
                <a:off x="1319213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D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9AC4C0A6-AB18-A863-7A12-190E08A8E734}"/>
                </a:ext>
              </a:extLst>
            </p:cNvPr>
            <p:cNvGrpSpPr/>
            <p:nvPr userDrawn="1"/>
          </p:nvGrpSpPr>
          <p:grpSpPr>
            <a:xfrm rot="16200000">
              <a:off x="1345616" y="-649354"/>
              <a:ext cx="181503" cy="907520"/>
              <a:chOff x="1319213" y="-664912"/>
              <a:chExt cx="181503" cy="907520"/>
            </a:xfrm>
          </p:grpSpPr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586CE941-3F49-6F7F-C444-DD72449FF637}"/>
                  </a:ext>
                </a:extLst>
              </p:cNvPr>
              <p:cNvSpPr/>
              <p:nvPr/>
            </p:nvSpPr>
            <p:spPr>
              <a:xfrm>
                <a:off x="1319213" y="-66491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6400A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B6CA1241-AF10-436A-5816-C554A25ACD63}"/>
                  </a:ext>
                </a:extLst>
              </p:cNvPr>
              <p:cNvSpPr/>
              <p:nvPr/>
            </p:nvSpPr>
            <p:spPr>
              <a:xfrm>
                <a:off x="1319213" y="-483404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33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51F28965-B39A-71A5-1B8F-B0C235C680D6}"/>
                  </a:ext>
                </a:extLst>
              </p:cNvPr>
              <p:cNvSpPr/>
              <p:nvPr/>
            </p:nvSpPr>
            <p:spPr>
              <a:xfrm>
                <a:off x="1319213" y="-30189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266C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D87AD3A5-B64D-E765-88AB-F0CFFD83FCF7}"/>
                  </a:ext>
                </a:extLst>
              </p:cNvPr>
              <p:cNvSpPr/>
              <p:nvPr/>
            </p:nvSpPr>
            <p:spPr>
              <a:xfrm>
                <a:off x="1319213" y="-120387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199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41872A39-A64F-F9CC-E8FE-7D4EAFA0CF79}"/>
                  </a:ext>
                </a:extLst>
              </p:cNvPr>
              <p:cNvSpPr/>
              <p:nvPr/>
            </p:nvSpPr>
            <p:spPr>
              <a:xfrm>
                <a:off x="1319213" y="6110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0CC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D83C6D21-0EC1-5069-A7E6-D668AAE1BA0D}"/>
                </a:ext>
              </a:extLst>
            </p:cNvPr>
            <p:cNvGrpSpPr/>
            <p:nvPr userDrawn="1"/>
          </p:nvGrpSpPr>
          <p:grpSpPr>
            <a:xfrm rot="16200000">
              <a:off x="2328223" y="-649352"/>
              <a:ext cx="181508" cy="907520"/>
              <a:chOff x="1682219" y="-1663170"/>
              <a:chExt cx="181508" cy="907520"/>
            </a:xfrm>
          </p:grpSpPr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CD7778B9-CF52-957D-AAD1-D66F83B907C3}"/>
                  </a:ext>
                </a:extLst>
              </p:cNvPr>
              <p:cNvSpPr/>
              <p:nvPr/>
            </p:nvSpPr>
            <p:spPr>
              <a:xfrm>
                <a:off x="1682219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CC8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8B053329-B612-73D3-16E3-1108627E111C}"/>
                  </a:ext>
                </a:extLst>
              </p:cNvPr>
              <p:cNvSpPr/>
              <p:nvPr/>
            </p:nvSpPr>
            <p:spPr>
              <a:xfrm>
                <a:off x="1682224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3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3414A86C-7310-D2FD-CE3B-9B45ECC1DBCF}"/>
                  </a:ext>
                </a:extLst>
              </p:cNvPr>
              <p:cNvSpPr/>
              <p:nvPr/>
            </p:nvSpPr>
            <p:spPr>
              <a:xfrm>
                <a:off x="1682224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ADE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FEE430E1-4997-B412-DB6F-9C6595C74A8C}"/>
                  </a:ext>
                </a:extLst>
              </p:cNvPr>
              <p:cNvSpPr/>
              <p:nvPr/>
            </p:nvSpPr>
            <p:spPr>
              <a:xfrm>
                <a:off x="1682224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E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107C40FC-AD62-F18C-C3F5-1D6429428A5C}"/>
                  </a:ext>
                </a:extLst>
              </p:cNvPr>
              <p:cNvSpPr/>
              <p:nvPr/>
            </p:nvSpPr>
            <p:spPr>
              <a:xfrm>
                <a:off x="1682219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8F4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5F4C6BAE-3E26-0A2D-0419-6052FB606D7F}"/>
                </a:ext>
              </a:extLst>
            </p:cNvPr>
            <p:cNvGrpSpPr/>
            <p:nvPr userDrawn="1"/>
          </p:nvGrpSpPr>
          <p:grpSpPr>
            <a:xfrm rot="16200000">
              <a:off x="5276052" y="-649354"/>
              <a:ext cx="181503" cy="907520"/>
              <a:chOff x="2226738" y="-1663170"/>
              <a:chExt cx="181503" cy="907520"/>
            </a:xfrm>
          </p:grpSpPr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E6558F93-D5AF-1322-6914-D27CA839EFAD}"/>
                  </a:ext>
                </a:extLst>
              </p:cNvPr>
              <p:cNvSpPr/>
              <p:nvPr/>
            </p:nvSpPr>
            <p:spPr>
              <a:xfrm>
                <a:off x="2226738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FC5948B4-5CF7-F075-3582-E7A23FFBC039}"/>
                  </a:ext>
                </a:extLst>
              </p:cNvPr>
              <p:cNvSpPr/>
              <p:nvPr/>
            </p:nvSpPr>
            <p:spPr>
              <a:xfrm>
                <a:off x="2226738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5757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6EC5B5FD-7E98-CB84-DEA3-3C5B29EC043F}"/>
                  </a:ext>
                </a:extLst>
              </p:cNvPr>
              <p:cNvSpPr/>
              <p:nvPr/>
            </p:nvSpPr>
            <p:spPr>
              <a:xfrm>
                <a:off x="2226738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8787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CAC3C6B2-8260-81A3-F037-38D200A8D7C5}"/>
                  </a:ext>
                </a:extLst>
              </p:cNvPr>
              <p:cNvSpPr/>
              <p:nvPr/>
            </p:nvSpPr>
            <p:spPr>
              <a:xfrm>
                <a:off x="2226738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2B2B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F670E22C-128B-790E-85C9-F752B466034E}"/>
                  </a:ext>
                </a:extLst>
              </p:cNvPr>
              <p:cNvSpPr/>
              <p:nvPr/>
            </p:nvSpPr>
            <p:spPr>
              <a:xfrm>
                <a:off x="2226738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DA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0572A695-4F05-F48A-3452-054EA4CA263E}"/>
                </a:ext>
              </a:extLst>
            </p:cNvPr>
            <p:cNvGrpSpPr/>
            <p:nvPr userDrawn="1"/>
          </p:nvGrpSpPr>
          <p:grpSpPr>
            <a:xfrm rot="16200000">
              <a:off x="3310834" y="-649354"/>
              <a:ext cx="181503" cy="907520"/>
              <a:chOff x="1863727" y="-1663170"/>
              <a:chExt cx="181503" cy="907520"/>
            </a:xfrm>
          </p:grpSpPr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37B700AA-3760-F913-5817-D2038D7FFF1F}"/>
                  </a:ext>
                </a:extLst>
              </p:cNvPr>
              <p:cNvSpPr/>
              <p:nvPr/>
            </p:nvSpPr>
            <p:spPr>
              <a:xfrm>
                <a:off x="1863727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2A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1C7C0FB0-FDAC-6D79-B926-0D05043232A1}"/>
                  </a:ext>
                </a:extLst>
              </p:cNvPr>
              <p:cNvSpPr/>
              <p:nvPr/>
            </p:nvSpPr>
            <p:spPr>
              <a:xfrm>
                <a:off x="1863727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5DB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C386BE17-9B9F-A555-A76A-F956E835A7B0}"/>
                  </a:ext>
                </a:extLst>
              </p:cNvPr>
              <p:cNvSpPr/>
              <p:nvPr/>
            </p:nvSpPr>
            <p:spPr>
              <a:xfrm>
                <a:off x="1863727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8E4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D209C58B-CD0B-366E-7349-013D08F5C23A}"/>
                  </a:ext>
                </a:extLst>
              </p:cNvPr>
              <p:cNvSpPr/>
              <p:nvPr/>
            </p:nvSpPr>
            <p:spPr>
              <a:xfrm>
                <a:off x="1863727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ED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CCD24B8C-1C29-0D9D-6074-7E285FB174C4}"/>
                  </a:ext>
                </a:extLst>
              </p:cNvPr>
              <p:cNvSpPr/>
              <p:nvPr/>
            </p:nvSpPr>
            <p:spPr>
              <a:xfrm>
                <a:off x="1863727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DF6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CB303DE5-230E-4C4A-BFD8-25659F2E1D70}"/>
                </a:ext>
              </a:extLst>
            </p:cNvPr>
            <p:cNvGrpSpPr/>
            <p:nvPr userDrawn="1"/>
          </p:nvGrpSpPr>
          <p:grpSpPr>
            <a:xfrm rot="16200000">
              <a:off x="4293441" y="-649352"/>
              <a:ext cx="181508" cy="907520"/>
              <a:chOff x="2045230" y="-1663170"/>
              <a:chExt cx="181508" cy="907520"/>
            </a:xfrm>
          </p:grpSpPr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C3E8377A-C8F9-4F21-907E-4A6CAE2E0439}"/>
                  </a:ext>
                </a:extLst>
              </p:cNvPr>
              <p:cNvSpPr/>
              <p:nvPr/>
            </p:nvSpPr>
            <p:spPr>
              <a:xfrm>
                <a:off x="2045230" y="-937158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9F7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5FBB51B9-8E0B-5957-FAD1-BFEB11231138}"/>
                  </a:ext>
                </a:extLst>
              </p:cNvPr>
              <p:cNvSpPr/>
              <p:nvPr/>
            </p:nvSpPr>
            <p:spPr>
              <a:xfrm>
                <a:off x="2045230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FED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2EC91945-A5B0-15C2-AAB0-E72FD65AC5FA}"/>
                  </a:ext>
                </a:extLst>
              </p:cNvPr>
              <p:cNvSpPr/>
              <p:nvPr/>
            </p:nvSpPr>
            <p:spPr>
              <a:xfrm>
                <a:off x="2045230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5E3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57E5888C-CFF7-D61F-1CD8-BEAC011A89BB}"/>
                  </a:ext>
                </a:extLst>
              </p:cNvPr>
              <p:cNvSpPr/>
              <p:nvPr/>
            </p:nvSpPr>
            <p:spPr>
              <a:xfrm>
                <a:off x="2045230" y="-1663170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CFC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862C51A6-28A6-2AB7-9F4D-53132D158AA0}"/>
                  </a:ext>
                </a:extLst>
              </p:cNvPr>
              <p:cNvSpPr/>
              <p:nvPr/>
            </p:nvSpPr>
            <p:spPr>
              <a:xfrm>
                <a:off x="2045230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BD9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2196947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(red) and Text 1/2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73236799-8186-158A-F3A4-9E2D432B77EB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54812" y="843891"/>
            <a:ext cx="4778374" cy="55106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964FA6FD-B18C-64CF-40CD-9C782D91C43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415668" y="503483"/>
            <a:ext cx="1289916" cy="180000"/>
            <a:chOff x="-161925" y="-1630732"/>
            <a:chExt cx="12193587" cy="1701544"/>
          </a:xfrm>
          <a:solidFill>
            <a:schemeClr val="bg1"/>
          </a:solidFill>
        </p:grpSpPr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0BAA8276-ECA1-E336-BCFB-04B3EC51B77A}"/>
                </a:ext>
              </a:extLst>
            </p:cNvPr>
            <p:cNvSpPr/>
            <p:nvPr/>
          </p:nvSpPr>
          <p:spPr>
            <a:xfrm>
              <a:off x="10774928" y="-1247713"/>
              <a:ext cx="1256734" cy="356304"/>
            </a:xfrm>
            <a:custGeom>
              <a:avLst/>
              <a:gdLst>
                <a:gd name="connsiteX0" fmla="*/ 1226823 w 1256734"/>
                <a:gd name="connsiteY0" fmla="*/ 269166 h 356304"/>
                <a:gd name="connsiteX1" fmla="*/ 1133491 w 1256734"/>
                <a:gd name="connsiteY1" fmla="*/ 316610 h 356304"/>
                <a:gd name="connsiteX2" fmla="*/ 1010248 w 1256734"/>
                <a:gd name="connsiteY2" fmla="*/ 178448 h 356304"/>
                <a:gd name="connsiteX3" fmla="*/ 1131426 w 1256734"/>
                <a:gd name="connsiteY3" fmla="*/ 39696 h 356304"/>
                <a:gd name="connsiteX4" fmla="*/ 1226823 w 1256734"/>
                <a:gd name="connsiteY4" fmla="*/ 86659 h 356304"/>
                <a:gd name="connsiteX5" fmla="*/ 1256735 w 1256734"/>
                <a:gd name="connsiteY5" fmla="*/ 58823 h 356304"/>
                <a:gd name="connsiteX6" fmla="*/ 1216553 w 1256734"/>
                <a:gd name="connsiteY6" fmla="*/ 23241 h 356304"/>
                <a:gd name="connsiteX7" fmla="*/ 1130420 w 1256734"/>
                <a:gd name="connsiteY7" fmla="*/ 0 h 356304"/>
                <a:gd name="connsiteX8" fmla="*/ 965885 w 1256734"/>
                <a:gd name="connsiteY8" fmla="*/ 178448 h 356304"/>
                <a:gd name="connsiteX9" fmla="*/ 1011783 w 1256734"/>
                <a:gd name="connsiteY9" fmla="*/ 305763 h 356304"/>
                <a:gd name="connsiteX10" fmla="*/ 1129892 w 1256734"/>
                <a:gd name="connsiteY10" fmla="*/ 356305 h 356304"/>
                <a:gd name="connsiteX11" fmla="*/ 1255676 w 1256734"/>
                <a:gd name="connsiteY11" fmla="*/ 298071 h 356304"/>
                <a:gd name="connsiteX12" fmla="*/ 1226823 w 1256734"/>
                <a:gd name="connsiteY12" fmla="*/ 269166 h 356304"/>
                <a:gd name="connsiteX13" fmla="*/ 679216 w 1256734"/>
                <a:gd name="connsiteY13" fmla="*/ 197999 h 356304"/>
                <a:gd name="connsiteX14" fmla="*/ 846824 w 1256734"/>
                <a:gd name="connsiteY14" fmla="*/ 197999 h 356304"/>
                <a:gd name="connsiteX15" fmla="*/ 846824 w 1256734"/>
                <a:gd name="connsiteY15" fmla="*/ 350105 h 356304"/>
                <a:gd name="connsiteX16" fmla="*/ 890075 w 1256734"/>
                <a:gd name="connsiteY16" fmla="*/ 350105 h 356304"/>
                <a:gd name="connsiteX17" fmla="*/ 890075 w 1256734"/>
                <a:gd name="connsiteY17" fmla="*/ 6198 h 356304"/>
                <a:gd name="connsiteX18" fmla="*/ 846824 w 1256734"/>
                <a:gd name="connsiteY18" fmla="*/ 6198 h 356304"/>
                <a:gd name="connsiteX19" fmla="*/ 846824 w 1256734"/>
                <a:gd name="connsiteY19" fmla="*/ 160920 h 356304"/>
                <a:gd name="connsiteX20" fmla="*/ 679216 w 1256734"/>
                <a:gd name="connsiteY20" fmla="*/ 160920 h 356304"/>
                <a:gd name="connsiteX21" fmla="*/ 679216 w 1256734"/>
                <a:gd name="connsiteY21" fmla="*/ 6198 h 356304"/>
                <a:gd name="connsiteX22" fmla="*/ 635912 w 1256734"/>
                <a:gd name="connsiteY22" fmla="*/ 6198 h 356304"/>
                <a:gd name="connsiteX23" fmla="*/ 635912 w 1256734"/>
                <a:gd name="connsiteY23" fmla="*/ 350105 h 356304"/>
                <a:gd name="connsiteX24" fmla="*/ 679216 w 1256734"/>
                <a:gd name="connsiteY24" fmla="*/ 350105 h 356304"/>
                <a:gd name="connsiteX25" fmla="*/ 679216 w 1256734"/>
                <a:gd name="connsiteY25" fmla="*/ 197999 h 356304"/>
                <a:gd name="connsiteX26" fmla="*/ 392018 w 1256734"/>
                <a:gd name="connsiteY26" fmla="*/ 40230 h 356304"/>
                <a:gd name="connsiteX27" fmla="*/ 476563 w 1256734"/>
                <a:gd name="connsiteY27" fmla="*/ 75813 h 356304"/>
                <a:gd name="connsiteX28" fmla="*/ 515792 w 1256734"/>
                <a:gd name="connsiteY28" fmla="*/ 181011 h 356304"/>
                <a:gd name="connsiteX29" fmla="*/ 482758 w 1256734"/>
                <a:gd name="connsiteY29" fmla="*/ 275365 h 356304"/>
                <a:gd name="connsiteX30" fmla="*/ 390960 w 1256734"/>
                <a:gd name="connsiteY30" fmla="*/ 316610 h 356304"/>
                <a:gd name="connsiteX31" fmla="*/ 267239 w 1256734"/>
                <a:gd name="connsiteY31" fmla="*/ 178448 h 356304"/>
                <a:gd name="connsiteX32" fmla="*/ 392018 w 1256734"/>
                <a:gd name="connsiteY32" fmla="*/ 40230 h 356304"/>
                <a:gd name="connsiteX33" fmla="*/ 393077 w 1256734"/>
                <a:gd name="connsiteY33" fmla="*/ 0 h 356304"/>
                <a:gd name="connsiteX34" fmla="*/ 222876 w 1256734"/>
                <a:gd name="connsiteY34" fmla="*/ 179994 h 356304"/>
                <a:gd name="connsiteX35" fmla="*/ 258982 w 1256734"/>
                <a:gd name="connsiteY35" fmla="*/ 291872 h 356304"/>
                <a:gd name="connsiteX36" fmla="*/ 392018 w 1256734"/>
                <a:gd name="connsiteY36" fmla="*/ 356305 h 356304"/>
                <a:gd name="connsiteX37" fmla="*/ 501868 w 1256734"/>
                <a:gd name="connsiteY37" fmla="*/ 315059 h 356304"/>
                <a:gd name="connsiteX38" fmla="*/ 560155 w 1256734"/>
                <a:gd name="connsiteY38" fmla="*/ 181545 h 356304"/>
                <a:gd name="connsiteX39" fmla="*/ 519921 w 1256734"/>
                <a:gd name="connsiteY39" fmla="*/ 59304 h 356304"/>
                <a:gd name="connsiteX40" fmla="*/ 393077 w 1256734"/>
                <a:gd name="connsiteY40" fmla="*/ 0 h 356304"/>
                <a:gd name="connsiteX41" fmla="*/ 43306 w 1256734"/>
                <a:gd name="connsiteY41" fmla="*/ 310946 h 356304"/>
                <a:gd name="connsiteX42" fmla="*/ 43306 w 1256734"/>
                <a:gd name="connsiteY42" fmla="*/ 6198 h 356304"/>
                <a:gd name="connsiteX43" fmla="*/ 0 w 1256734"/>
                <a:gd name="connsiteY43" fmla="*/ 6198 h 356304"/>
                <a:gd name="connsiteX44" fmla="*/ 0 w 1256734"/>
                <a:gd name="connsiteY44" fmla="*/ 350105 h 356304"/>
                <a:gd name="connsiteX45" fmla="*/ 194237 w 1256734"/>
                <a:gd name="connsiteY45" fmla="*/ 350105 h 356304"/>
                <a:gd name="connsiteX46" fmla="*/ 194237 w 1256734"/>
                <a:gd name="connsiteY46" fmla="*/ 310946 h 356304"/>
                <a:gd name="connsiteX47" fmla="*/ 43306 w 1256734"/>
                <a:gd name="connsiteY47" fmla="*/ 310946 h 35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256734" h="356304">
                  <a:moveTo>
                    <a:pt x="1226823" y="269166"/>
                  </a:moveTo>
                  <a:cubicBezTo>
                    <a:pt x="1200037" y="301650"/>
                    <a:pt x="1171131" y="316610"/>
                    <a:pt x="1133491" y="316610"/>
                  </a:cubicBezTo>
                  <a:cubicBezTo>
                    <a:pt x="1062341" y="316610"/>
                    <a:pt x="1010248" y="258371"/>
                    <a:pt x="1010248" y="178448"/>
                  </a:cubicBezTo>
                  <a:cubicBezTo>
                    <a:pt x="1010248" y="97985"/>
                    <a:pt x="1061334" y="39696"/>
                    <a:pt x="1131426" y="39696"/>
                  </a:cubicBezTo>
                  <a:cubicBezTo>
                    <a:pt x="1168008" y="39696"/>
                    <a:pt x="1193313" y="52092"/>
                    <a:pt x="1226823" y="86659"/>
                  </a:cubicBezTo>
                  <a:lnTo>
                    <a:pt x="1256735" y="58823"/>
                  </a:lnTo>
                  <a:cubicBezTo>
                    <a:pt x="1239742" y="40230"/>
                    <a:pt x="1230424" y="32003"/>
                    <a:pt x="1216553" y="23241"/>
                  </a:cubicBezTo>
                  <a:cubicBezTo>
                    <a:pt x="1191725" y="8281"/>
                    <a:pt x="1161338" y="0"/>
                    <a:pt x="1130420" y="0"/>
                  </a:cubicBezTo>
                  <a:cubicBezTo>
                    <a:pt x="1035500" y="0"/>
                    <a:pt x="965885" y="75279"/>
                    <a:pt x="965885" y="178448"/>
                  </a:cubicBezTo>
                  <a:cubicBezTo>
                    <a:pt x="965885" y="226369"/>
                    <a:pt x="982931" y="273279"/>
                    <a:pt x="1011783" y="305763"/>
                  </a:cubicBezTo>
                  <a:cubicBezTo>
                    <a:pt x="1041165" y="338782"/>
                    <a:pt x="1081928" y="356305"/>
                    <a:pt x="1129892" y="356305"/>
                  </a:cubicBezTo>
                  <a:cubicBezTo>
                    <a:pt x="1182990" y="356305"/>
                    <a:pt x="1221107" y="338782"/>
                    <a:pt x="1255676" y="298071"/>
                  </a:cubicBezTo>
                  <a:lnTo>
                    <a:pt x="1226823" y="269166"/>
                  </a:lnTo>
                  <a:close/>
                  <a:moveTo>
                    <a:pt x="679216" y="197999"/>
                  </a:moveTo>
                  <a:lnTo>
                    <a:pt x="846824" y="197999"/>
                  </a:lnTo>
                  <a:lnTo>
                    <a:pt x="846824" y="350105"/>
                  </a:lnTo>
                  <a:lnTo>
                    <a:pt x="890075" y="350105"/>
                  </a:lnTo>
                  <a:lnTo>
                    <a:pt x="890075" y="6198"/>
                  </a:lnTo>
                  <a:lnTo>
                    <a:pt x="846824" y="6198"/>
                  </a:lnTo>
                  <a:lnTo>
                    <a:pt x="846824" y="160920"/>
                  </a:lnTo>
                  <a:lnTo>
                    <a:pt x="679216" y="160920"/>
                  </a:lnTo>
                  <a:lnTo>
                    <a:pt x="679216" y="6198"/>
                  </a:lnTo>
                  <a:lnTo>
                    <a:pt x="635912" y="6198"/>
                  </a:lnTo>
                  <a:lnTo>
                    <a:pt x="635912" y="350105"/>
                  </a:lnTo>
                  <a:lnTo>
                    <a:pt x="679216" y="350105"/>
                  </a:lnTo>
                  <a:lnTo>
                    <a:pt x="679216" y="197999"/>
                  </a:lnTo>
                  <a:close/>
                  <a:moveTo>
                    <a:pt x="392018" y="40230"/>
                  </a:moveTo>
                  <a:cubicBezTo>
                    <a:pt x="422459" y="40230"/>
                    <a:pt x="453904" y="53641"/>
                    <a:pt x="476563" y="75813"/>
                  </a:cubicBezTo>
                  <a:cubicBezTo>
                    <a:pt x="503404" y="101618"/>
                    <a:pt x="515792" y="135117"/>
                    <a:pt x="515792" y="181011"/>
                  </a:cubicBezTo>
                  <a:cubicBezTo>
                    <a:pt x="515792" y="216057"/>
                    <a:pt x="502874" y="253189"/>
                    <a:pt x="482758" y="275365"/>
                  </a:cubicBezTo>
                  <a:cubicBezTo>
                    <a:pt x="459569" y="301650"/>
                    <a:pt x="425530" y="316610"/>
                    <a:pt x="390960" y="316610"/>
                  </a:cubicBezTo>
                  <a:cubicBezTo>
                    <a:pt x="319809" y="316610"/>
                    <a:pt x="267239" y="258371"/>
                    <a:pt x="267239" y="178448"/>
                  </a:cubicBezTo>
                  <a:cubicBezTo>
                    <a:pt x="267239" y="99000"/>
                    <a:pt x="320338" y="40230"/>
                    <a:pt x="392018" y="40230"/>
                  </a:cubicBezTo>
                  <a:moveTo>
                    <a:pt x="393077" y="0"/>
                  </a:moveTo>
                  <a:cubicBezTo>
                    <a:pt x="295615" y="0"/>
                    <a:pt x="222876" y="77362"/>
                    <a:pt x="222876" y="179994"/>
                  </a:cubicBezTo>
                  <a:cubicBezTo>
                    <a:pt x="222876" y="223273"/>
                    <a:pt x="235318" y="261956"/>
                    <a:pt x="258982" y="291872"/>
                  </a:cubicBezTo>
                  <a:cubicBezTo>
                    <a:pt x="290957" y="332101"/>
                    <a:pt x="340985" y="356305"/>
                    <a:pt x="392018" y="356305"/>
                  </a:cubicBezTo>
                  <a:cubicBezTo>
                    <a:pt x="431723" y="356305"/>
                    <a:pt x="470899" y="341879"/>
                    <a:pt x="501868" y="315059"/>
                  </a:cubicBezTo>
                  <a:cubicBezTo>
                    <a:pt x="539509" y="283110"/>
                    <a:pt x="560155" y="235131"/>
                    <a:pt x="560155" y="181545"/>
                  </a:cubicBezTo>
                  <a:cubicBezTo>
                    <a:pt x="560155" y="129935"/>
                    <a:pt x="547715" y="91788"/>
                    <a:pt x="519921" y="59304"/>
                  </a:cubicBezTo>
                  <a:cubicBezTo>
                    <a:pt x="486886" y="21691"/>
                    <a:pt x="440988" y="0"/>
                    <a:pt x="393077" y="0"/>
                  </a:cubicBezTo>
                  <a:moveTo>
                    <a:pt x="43306" y="310946"/>
                  </a:moveTo>
                  <a:lnTo>
                    <a:pt x="43306" y="6198"/>
                  </a:lnTo>
                  <a:lnTo>
                    <a:pt x="0" y="6198"/>
                  </a:lnTo>
                  <a:lnTo>
                    <a:pt x="0" y="350105"/>
                  </a:lnTo>
                  <a:lnTo>
                    <a:pt x="194237" y="350105"/>
                  </a:lnTo>
                  <a:lnTo>
                    <a:pt x="194237" y="310946"/>
                  </a:lnTo>
                  <a:lnTo>
                    <a:pt x="43306" y="310946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B77DA9CA-81E3-9C95-68A3-BFADB2CD7E3C}"/>
                </a:ext>
              </a:extLst>
            </p:cNvPr>
            <p:cNvSpPr/>
            <p:nvPr/>
          </p:nvSpPr>
          <p:spPr>
            <a:xfrm>
              <a:off x="-161925" y="-1630732"/>
              <a:ext cx="10575647" cy="1701544"/>
            </a:xfrm>
            <a:custGeom>
              <a:avLst/>
              <a:gdLst>
                <a:gd name="connsiteX0" fmla="*/ 7802033 w 10575647"/>
                <a:gd name="connsiteY0" fmla="*/ 380187 h 1701544"/>
                <a:gd name="connsiteX1" fmla="*/ 7621138 w 10575647"/>
                <a:gd name="connsiteY1" fmla="*/ 380187 h 1701544"/>
                <a:gd name="connsiteX2" fmla="*/ 7621138 w 10575647"/>
                <a:gd name="connsiteY2" fmla="*/ 1271563 h 1701544"/>
                <a:gd name="connsiteX3" fmla="*/ 7802033 w 10575647"/>
                <a:gd name="connsiteY3" fmla="*/ 1271563 h 1701544"/>
                <a:gd name="connsiteX4" fmla="*/ 7802033 w 10575647"/>
                <a:gd name="connsiteY4" fmla="*/ 380187 h 1701544"/>
                <a:gd name="connsiteX5" fmla="*/ 706522 w 10575647"/>
                <a:gd name="connsiteY5" fmla="*/ 1271563 h 1701544"/>
                <a:gd name="connsiteX6" fmla="*/ 902065 w 10575647"/>
                <a:gd name="connsiteY6" fmla="*/ 1271563 h 1701544"/>
                <a:gd name="connsiteX7" fmla="*/ 902065 w 10575647"/>
                <a:gd name="connsiteY7" fmla="*/ 0 h 1701544"/>
                <a:gd name="connsiteX8" fmla="*/ 706522 w 10575647"/>
                <a:gd name="connsiteY8" fmla="*/ 0 h 1701544"/>
                <a:gd name="connsiteX9" fmla="*/ 706522 w 10575647"/>
                <a:gd name="connsiteY9" fmla="*/ 553717 h 1701544"/>
                <a:gd name="connsiteX10" fmla="*/ 195543 w 10575647"/>
                <a:gd name="connsiteY10" fmla="*/ 553717 h 1701544"/>
                <a:gd name="connsiteX11" fmla="*/ 195543 w 10575647"/>
                <a:gd name="connsiteY11" fmla="*/ 0 h 1701544"/>
                <a:gd name="connsiteX12" fmla="*/ 0 w 10575647"/>
                <a:gd name="connsiteY12" fmla="*/ 0 h 1701544"/>
                <a:gd name="connsiteX13" fmla="*/ 0 w 10575647"/>
                <a:gd name="connsiteY13" fmla="*/ 1271563 h 1701544"/>
                <a:gd name="connsiteX14" fmla="*/ 195543 w 10575647"/>
                <a:gd name="connsiteY14" fmla="*/ 1271563 h 1701544"/>
                <a:gd name="connsiteX15" fmla="*/ 195543 w 10575647"/>
                <a:gd name="connsiteY15" fmla="*/ 727142 h 1701544"/>
                <a:gd name="connsiteX16" fmla="*/ 706522 w 10575647"/>
                <a:gd name="connsiteY16" fmla="*/ 727142 h 1701544"/>
                <a:gd name="connsiteX17" fmla="*/ 706522 w 10575647"/>
                <a:gd name="connsiteY17" fmla="*/ 1271563 h 1701544"/>
                <a:gd name="connsiteX18" fmla="*/ 1306185 w 10575647"/>
                <a:gd name="connsiteY18" fmla="*/ 1690649 h 1701544"/>
                <a:gd name="connsiteX19" fmla="*/ 1654904 w 10575647"/>
                <a:gd name="connsiteY19" fmla="*/ 1036061 h 1701544"/>
                <a:gd name="connsiteX20" fmla="*/ 1306185 w 10575647"/>
                <a:gd name="connsiteY20" fmla="*/ 381469 h 1701544"/>
                <a:gd name="connsiteX21" fmla="*/ 1090234 w 10575647"/>
                <a:gd name="connsiteY21" fmla="*/ 381469 h 1701544"/>
                <a:gd name="connsiteX22" fmla="*/ 1438900 w 10575647"/>
                <a:gd name="connsiteY22" fmla="*/ 1036061 h 1701544"/>
                <a:gd name="connsiteX23" fmla="*/ 1090234 w 10575647"/>
                <a:gd name="connsiteY23" fmla="*/ 1690649 h 1701544"/>
                <a:gd name="connsiteX24" fmla="*/ 1306185 w 10575647"/>
                <a:gd name="connsiteY24" fmla="*/ 1690649 h 1701544"/>
                <a:gd name="connsiteX25" fmla="*/ 2581808 w 10575647"/>
                <a:gd name="connsiteY25" fmla="*/ 828654 h 1701544"/>
                <a:gd name="connsiteX26" fmla="*/ 2317883 w 10575647"/>
                <a:gd name="connsiteY26" fmla="*/ 1129505 h 1701544"/>
                <a:gd name="connsiteX27" fmla="*/ 2065011 w 10575647"/>
                <a:gd name="connsiteY27" fmla="*/ 832338 h 1701544"/>
                <a:gd name="connsiteX28" fmla="*/ 2327068 w 10575647"/>
                <a:gd name="connsiteY28" fmla="*/ 525990 h 1701544"/>
                <a:gd name="connsiteX29" fmla="*/ 2581808 w 10575647"/>
                <a:gd name="connsiteY29" fmla="*/ 828654 h 1701544"/>
                <a:gd name="connsiteX30" fmla="*/ 2581808 w 10575647"/>
                <a:gd name="connsiteY30" fmla="*/ 1271563 h 1701544"/>
                <a:gd name="connsiteX31" fmla="*/ 2762608 w 10575647"/>
                <a:gd name="connsiteY31" fmla="*/ 1271563 h 1701544"/>
                <a:gd name="connsiteX32" fmla="*/ 2762608 w 10575647"/>
                <a:gd name="connsiteY32" fmla="*/ 0 h 1701544"/>
                <a:gd name="connsiteX33" fmla="*/ 2581808 w 10575647"/>
                <a:gd name="connsiteY33" fmla="*/ 0 h 1701544"/>
                <a:gd name="connsiteX34" fmla="*/ 2581808 w 10575647"/>
                <a:gd name="connsiteY34" fmla="*/ 476356 h 1701544"/>
                <a:gd name="connsiteX35" fmla="*/ 2297581 w 10575647"/>
                <a:gd name="connsiteY35" fmla="*/ 359885 h 1701544"/>
                <a:gd name="connsiteX36" fmla="*/ 1876785 w 10575647"/>
                <a:gd name="connsiteY36" fmla="*/ 830470 h 1701544"/>
                <a:gd name="connsiteX37" fmla="*/ 2297581 w 10575647"/>
                <a:gd name="connsiteY37" fmla="*/ 1291865 h 1701544"/>
                <a:gd name="connsiteX38" fmla="*/ 2581808 w 10575647"/>
                <a:gd name="connsiteY38" fmla="*/ 1163217 h 1701544"/>
                <a:gd name="connsiteX39" fmla="*/ 2581808 w 10575647"/>
                <a:gd name="connsiteY39" fmla="*/ 1271563 h 1701544"/>
                <a:gd name="connsiteX40" fmla="*/ 3437445 w 10575647"/>
                <a:gd name="connsiteY40" fmla="*/ 542393 h 1701544"/>
                <a:gd name="connsiteX41" fmla="*/ 3460310 w 10575647"/>
                <a:gd name="connsiteY41" fmla="*/ 545331 h 1701544"/>
                <a:gd name="connsiteX42" fmla="*/ 3460310 w 10575647"/>
                <a:gd name="connsiteY42" fmla="*/ 359885 h 1701544"/>
                <a:gd name="connsiteX43" fmla="*/ 3406830 w 10575647"/>
                <a:gd name="connsiteY43" fmla="*/ 359885 h 1701544"/>
                <a:gd name="connsiteX44" fmla="*/ 3231965 w 10575647"/>
                <a:gd name="connsiteY44" fmla="*/ 415877 h 1701544"/>
                <a:gd name="connsiteX45" fmla="*/ 3187194 w 10575647"/>
                <a:gd name="connsiteY45" fmla="*/ 462091 h 1701544"/>
                <a:gd name="connsiteX46" fmla="*/ 3187194 w 10575647"/>
                <a:gd name="connsiteY46" fmla="*/ 380187 h 1701544"/>
                <a:gd name="connsiteX47" fmla="*/ 3006395 w 10575647"/>
                <a:gd name="connsiteY47" fmla="*/ 380187 h 1701544"/>
                <a:gd name="connsiteX48" fmla="*/ 3006395 w 10575647"/>
                <a:gd name="connsiteY48" fmla="*/ 1271563 h 1701544"/>
                <a:gd name="connsiteX49" fmla="*/ 3187194 w 10575647"/>
                <a:gd name="connsiteY49" fmla="*/ 1271563 h 1701544"/>
                <a:gd name="connsiteX50" fmla="*/ 3187194 w 10575647"/>
                <a:gd name="connsiteY50" fmla="*/ 819411 h 1701544"/>
                <a:gd name="connsiteX51" fmla="*/ 3233517 w 10575647"/>
                <a:gd name="connsiteY51" fmla="*/ 629638 h 1701544"/>
                <a:gd name="connsiteX52" fmla="*/ 3401277 w 10575647"/>
                <a:gd name="connsiteY52" fmla="*/ 540683 h 1701544"/>
                <a:gd name="connsiteX53" fmla="*/ 3437445 w 10575647"/>
                <a:gd name="connsiteY53" fmla="*/ 542393 h 1701544"/>
                <a:gd name="connsiteX54" fmla="*/ 4250980 w 10575647"/>
                <a:gd name="connsiteY54" fmla="*/ 826838 h 1701544"/>
                <a:gd name="connsiteX55" fmla="*/ 3983364 w 10575647"/>
                <a:gd name="connsiteY55" fmla="*/ 1122077 h 1701544"/>
                <a:gd name="connsiteX56" fmla="*/ 3713875 w 10575647"/>
                <a:gd name="connsiteY56" fmla="*/ 826838 h 1701544"/>
                <a:gd name="connsiteX57" fmla="*/ 3985180 w 10575647"/>
                <a:gd name="connsiteY57" fmla="*/ 529677 h 1701544"/>
                <a:gd name="connsiteX58" fmla="*/ 4250980 w 10575647"/>
                <a:gd name="connsiteY58" fmla="*/ 826838 h 1701544"/>
                <a:gd name="connsiteX59" fmla="*/ 4435464 w 10575647"/>
                <a:gd name="connsiteY59" fmla="*/ 828654 h 1701544"/>
                <a:gd name="connsiteX60" fmla="*/ 3985180 w 10575647"/>
                <a:gd name="connsiteY60" fmla="*/ 359885 h 1701544"/>
                <a:gd name="connsiteX61" fmla="*/ 3529338 w 10575647"/>
                <a:gd name="connsiteY61" fmla="*/ 824916 h 1701544"/>
                <a:gd name="connsiteX62" fmla="*/ 3979622 w 10575647"/>
                <a:gd name="connsiteY62" fmla="*/ 1291865 h 1701544"/>
                <a:gd name="connsiteX63" fmla="*/ 4435464 w 10575647"/>
                <a:gd name="connsiteY63" fmla="*/ 828654 h 1701544"/>
                <a:gd name="connsiteX64" fmla="*/ 5261608 w 10575647"/>
                <a:gd name="connsiteY64" fmla="*/ 828654 h 1701544"/>
                <a:gd name="connsiteX65" fmla="*/ 5205508 w 10575647"/>
                <a:gd name="connsiteY65" fmla="*/ 1025854 h 1701544"/>
                <a:gd name="connsiteX66" fmla="*/ 5005052 w 10575647"/>
                <a:gd name="connsiteY66" fmla="*/ 1122077 h 1701544"/>
                <a:gd name="connsiteX67" fmla="*/ 4746675 w 10575647"/>
                <a:gd name="connsiteY67" fmla="*/ 823153 h 1701544"/>
                <a:gd name="connsiteX68" fmla="*/ 5008683 w 10575647"/>
                <a:gd name="connsiteY68" fmla="*/ 529677 h 1701544"/>
                <a:gd name="connsiteX69" fmla="*/ 5200378 w 10575647"/>
                <a:gd name="connsiteY69" fmla="*/ 617081 h 1701544"/>
                <a:gd name="connsiteX70" fmla="*/ 5261608 w 10575647"/>
                <a:gd name="connsiteY70" fmla="*/ 828654 h 1701544"/>
                <a:gd name="connsiteX71" fmla="*/ 5327264 w 10575647"/>
                <a:gd name="connsiteY71" fmla="*/ 1583314 h 1701544"/>
                <a:gd name="connsiteX72" fmla="*/ 5446113 w 10575647"/>
                <a:gd name="connsiteY72" fmla="*/ 1256819 h 1701544"/>
                <a:gd name="connsiteX73" fmla="*/ 5446113 w 10575647"/>
                <a:gd name="connsiteY73" fmla="*/ 380187 h 1701544"/>
                <a:gd name="connsiteX74" fmla="*/ 5265239 w 10575647"/>
                <a:gd name="connsiteY74" fmla="*/ 380187 h 1701544"/>
                <a:gd name="connsiteX75" fmla="*/ 5265239 w 10575647"/>
                <a:gd name="connsiteY75" fmla="*/ 488537 h 1701544"/>
                <a:gd name="connsiteX76" fmla="*/ 4982875 w 10575647"/>
                <a:gd name="connsiteY76" fmla="*/ 359885 h 1701544"/>
                <a:gd name="connsiteX77" fmla="*/ 4699394 w 10575647"/>
                <a:gd name="connsiteY77" fmla="*/ 465190 h 1701544"/>
                <a:gd name="connsiteX78" fmla="*/ 4558400 w 10575647"/>
                <a:gd name="connsiteY78" fmla="*/ 828654 h 1701544"/>
                <a:gd name="connsiteX79" fmla="*/ 4971816 w 10575647"/>
                <a:gd name="connsiteY79" fmla="*/ 1291865 h 1701544"/>
                <a:gd name="connsiteX80" fmla="*/ 5265239 w 10575647"/>
                <a:gd name="connsiteY80" fmla="*/ 1150553 h 1701544"/>
                <a:gd name="connsiteX81" fmla="*/ 5265239 w 10575647"/>
                <a:gd name="connsiteY81" fmla="*/ 1267931 h 1701544"/>
                <a:gd name="connsiteX82" fmla="*/ 5206095 w 10575647"/>
                <a:gd name="connsiteY82" fmla="*/ 1457116 h 1701544"/>
                <a:gd name="connsiteX83" fmla="*/ 4999546 w 10575647"/>
                <a:gd name="connsiteY83" fmla="*/ 1533625 h 1701544"/>
                <a:gd name="connsiteX84" fmla="*/ 4811695 w 10575647"/>
                <a:gd name="connsiteY84" fmla="*/ 1487409 h 1701544"/>
                <a:gd name="connsiteX85" fmla="*/ 4733588 w 10575647"/>
                <a:gd name="connsiteY85" fmla="*/ 1416300 h 1701544"/>
                <a:gd name="connsiteX86" fmla="*/ 4719215 w 10575647"/>
                <a:gd name="connsiteY86" fmla="*/ 1401339 h 1701544"/>
                <a:gd name="connsiteX87" fmla="*/ 4595103 w 10575647"/>
                <a:gd name="connsiteY87" fmla="*/ 1525451 h 1701544"/>
                <a:gd name="connsiteX88" fmla="*/ 4607819 w 10575647"/>
                <a:gd name="connsiteY88" fmla="*/ 1539824 h 1701544"/>
                <a:gd name="connsiteX89" fmla="*/ 4999546 w 10575647"/>
                <a:gd name="connsiteY89" fmla="*/ 1701544 h 1701544"/>
                <a:gd name="connsiteX90" fmla="*/ 5327264 w 10575647"/>
                <a:gd name="connsiteY90" fmla="*/ 1583314 h 1701544"/>
                <a:gd name="connsiteX91" fmla="*/ 6317923 w 10575647"/>
                <a:gd name="connsiteY91" fmla="*/ 747497 h 1701544"/>
                <a:gd name="connsiteX92" fmla="*/ 5805203 w 10575647"/>
                <a:gd name="connsiteY92" fmla="*/ 747497 h 1701544"/>
                <a:gd name="connsiteX93" fmla="*/ 5845913 w 10575647"/>
                <a:gd name="connsiteY93" fmla="*/ 635144 h 1701544"/>
                <a:gd name="connsiteX94" fmla="*/ 6057989 w 10575647"/>
                <a:gd name="connsiteY94" fmla="*/ 525990 h 1701544"/>
                <a:gd name="connsiteX95" fmla="*/ 6275730 w 10575647"/>
                <a:gd name="connsiteY95" fmla="*/ 633487 h 1701544"/>
                <a:gd name="connsiteX96" fmla="*/ 6317923 w 10575647"/>
                <a:gd name="connsiteY96" fmla="*/ 747497 h 1701544"/>
                <a:gd name="connsiteX97" fmla="*/ 6508188 w 10575647"/>
                <a:gd name="connsiteY97" fmla="*/ 872890 h 1701544"/>
                <a:gd name="connsiteX98" fmla="*/ 6510094 w 10575647"/>
                <a:gd name="connsiteY98" fmla="*/ 815779 h 1701544"/>
                <a:gd name="connsiteX99" fmla="*/ 6057989 w 10575647"/>
                <a:gd name="connsiteY99" fmla="*/ 359885 h 1701544"/>
                <a:gd name="connsiteX100" fmla="*/ 5609538 w 10575647"/>
                <a:gd name="connsiteY100" fmla="*/ 828654 h 1701544"/>
                <a:gd name="connsiteX101" fmla="*/ 6063495 w 10575647"/>
                <a:gd name="connsiteY101" fmla="*/ 1291865 h 1701544"/>
                <a:gd name="connsiteX102" fmla="*/ 6460066 w 10575647"/>
                <a:gd name="connsiteY102" fmla="*/ 1051710 h 1701544"/>
                <a:gd name="connsiteX103" fmla="*/ 6469966 w 10575647"/>
                <a:gd name="connsiteY103" fmla="*/ 1031572 h 1701544"/>
                <a:gd name="connsiteX104" fmla="*/ 6308923 w 10575647"/>
                <a:gd name="connsiteY104" fmla="*/ 971517 h 1701544"/>
                <a:gd name="connsiteX105" fmla="*/ 6300559 w 10575647"/>
                <a:gd name="connsiteY105" fmla="*/ 986689 h 1701544"/>
                <a:gd name="connsiteX106" fmla="*/ 6063495 w 10575647"/>
                <a:gd name="connsiteY106" fmla="*/ 1122077 h 1701544"/>
                <a:gd name="connsiteX107" fmla="*/ 5850784 w 10575647"/>
                <a:gd name="connsiteY107" fmla="*/ 1013832 h 1701544"/>
                <a:gd name="connsiteX108" fmla="*/ 5802132 w 10575647"/>
                <a:gd name="connsiteY108" fmla="*/ 891377 h 1701544"/>
                <a:gd name="connsiteX109" fmla="*/ 6506547 w 10575647"/>
                <a:gd name="connsiteY109" fmla="*/ 891377 h 1701544"/>
                <a:gd name="connsiteX110" fmla="*/ 6508188 w 10575647"/>
                <a:gd name="connsiteY110" fmla="*/ 872890 h 1701544"/>
                <a:gd name="connsiteX111" fmla="*/ 7205139 w 10575647"/>
                <a:gd name="connsiteY111" fmla="*/ 1271563 h 1701544"/>
                <a:gd name="connsiteX112" fmla="*/ 7385928 w 10575647"/>
                <a:gd name="connsiteY112" fmla="*/ 1271563 h 1701544"/>
                <a:gd name="connsiteX113" fmla="*/ 7385928 w 10575647"/>
                <a:gd name="connsiteY113" fmla="*/ 677294 h 1701544"/>
                <a:gd name="connsiteX114" fmla="*/ 7307154 w 10575647"/>
                <a:gd name="connsiteY114" fmla="*/ 435163 h 1701544"/>
                <a:gd name="connsiteX115" fmla="*/ 7096189 w 10575647"/>
                <a:gd name="connsiteY115" fmla="*/ 359885 h 1701544"/>
                <a:gd name="connsiteX116" fmla="*/ 6863625 w 10575647"/>
                <a:gd name="connsiteY116" fmla="*/ 463694 h 1701544"/>
                <a:gd name="connsiteX117" fmla="*/ 6863625 w 10575647"/>
                <a:gd name="connsiteY117" fmla="*/ 380187 h 1701544"/>
                <a:gd name="connsiteX118" fmla="*/ 6682836 w 10575647"/>
                <a:gd name="connsiteY118" fmla="*/ 380187 h 1701544"/>
                <a:gd name="connsiteX119" fmla="*/ 6682836 w 10575647"/>
                <a:gd name="connsiteY119" fmla="*/ 1271563 h 1701544"/>
                <a:gd name="connsiteX120" fmla="*/ 6863625 w 10575647"/>
                <a:gd name="connsiteY120" fmla="*/ 1271563 h 1701544"/>
                <a:gd name="connsiteX121" fmla="*/ 6863625 w 10575647"/>
                <a:gd name="connsiteY121" fmla="*/ 732701 h 1701544"/>
                <a:gd name="connsiteX122" fmla="*/ 6913971 w 10575647"/>
                <a:gd name="connsiteY122" fmla="*/ 591066 h 1701544"/>
                <a:gd name="connsiteX123" fmla="*/ 7061143 w 10575647"/>
                <a:gd name="connsiteY123" fmla="*/ 525990 h 1701544"/>
                <a:gd name="connsiteX124" fmla="*/ 7177769 w 10575647"/>
                <a:gd name="connsiteY124" fmla="*/ 575089 h 1701544"/>
                <a:gd name="connsiteX125" fmla="*/ 7205139 w 10575647"/>
                <a:gd name="connsiteY125" fmla="*/ 708709 h 1701544"/>
                <a:gd name="connsiteX126" fmla="*/ 7205139 w 10575647"/>
                <a:gd name="connsiteY126" fmla="*/ 1271563 h 1701544"/>
                <a:gd name="connsiteX127" fmla="*/ 7822309 w 10575647"/>
                <a:gd name="connsiteY127" fmla="*/ 162418 h 1701544"/>
                <a:gd name="connsiteX128" fmla="*/ 7713412 w 10575647"/>
                <a:gd name="connsiteY128" fmla="*/ 49847 h 1701544"/>
                <a:gd name="connsiteX129" fmla="*/ 7602662 w 10575647"/>
                <a:gd name="connsiteY129" fmla="*/ 160549 h 1701544"/>
                <a:gd name="connsiteX130" fmla="*/ 7711560 w 10575647"/>
                <a:gd name="connsiteY130" fmla="*/ 271303 h 1701544"/>
                <a:gd name="connsiteX131" fmla="*/ 7822309 w 10575647"/>
                <a:gd name="connsiteY131" fmla="*/ 162418 h 1701544"/>
                <a:gd name="connsiteX132" fmla="*/ 8704760 w 10575647"/>
                <a:gd name="connsiteY132" fmla="*/ 826838 h 1701544"/>
                <a:gd name="connsiteX133" fmla="*/ 8437150 w 10575647"/>
                <a:gd name="connsiteY133" fmla="*/ 1122077 h 1701544"/>
                <a:gd name="connsiteX134" fmla="*/ 8167740 w 10575647"/>
                <a:gd name="connsiteY134" fmla="*/ 826838 h 1701544"/>
                <a:gd name="connsiteX135" fmla="*/ 8439003 w 10575647"/>
                <a:gd name="connsiteY135" fmla="*/ 529677 h 1701544"/>
                <a:gd name="connsiteX136" fmla="*/ 8704760 w 10575647"/>
                <a:gd name="connsiteY136" fmla="*/ 826838 h 1701544"/>
                <a:gd name="connsiteX137" fmla="*/ 8889307 w 10575647"/>
                <a:gd name="connsiteY137" fmla="*/ 828654 h 1701544"/>
                <a:gd name="connsiteX138" fmla="*/ 8439003 w 10575647"/>
                <a:gd name="connsiteY138" fmla="*/ 359885 h 1701544"/>
                <a:gd name="connsiteX139" fmla="*/ 7983193 w 10575647"/>
                <a:gd name="connsiteY139" fmla="*/ 824916 h 1701544"/>
                <a:gd name="connsiteX140" fmla="*/ 8433444 w 10575647"/>
                <a:gd name="connsiteY140" fmla="*/ 1291865 h 1701544"/>
                <a:gd name="connsiteX141" fmla="*/ 8889307 w 10575647"/>
                <a:gd name="connsiteY141" fmla="*/ 828654 h 1701544"/>
                <a:gd name="connsiteX142" fmla="*/ 9658150 w 10575647"/>
                <a:gd name="connsiteY142" fmla="*/ 1197940 h 1701544"/>
                <a:gd name="connsiteX143" fmla="*/ 9749630 w 10575647"/>
                <a:gd name="connsiteY143" fmla="*/ 944968 h 1701544"/>
                <a:gd name="connsiteX144" fmla="*/ 9749630 w 10575647"/>
                <a:gd name="connsiteY144" fmla="*/ 380187 h 1701544"/>
                <a:gd name="connsiteX145" fmla="*/ 9566988 w 10575647"/>
                <a:gd name="connsiteY145" fmla="*/ 380187 h 1701544"/>
                <a:gd name="connsiteX146" fmla="*/ 9566988 w 10575647"/>
                <a:gd name="connsiteY146" fmla="*/ 944968 h 1701544"/>
                <a:gd name="connsiteX147" fmla="*/ 9535012 w 10575647"/>
                <a:gd name="connsiteY147" fmla="*/ 1068222 h 1701544"/>
                <a:gd name="connsiteX148" fmla="*/ 9399010 w 10575647"/>
                <a:gd name="connsiteY148" fmla="*/ 1125815 h 1701544"/>
                <a:gd name="connsiteX149" fmla="*/ 9229233 w 10575647"/>
                <a:gd name="connsiteY149" fmla="*/ 941225 h 1701544"/>
                <a:gd name="connsiteX150" fmla="*/ 9229233 w 10575647"/>
                <a:gd name="connsiteY150" fmla="*/ 380187 h 1701544"/>
                <a:gd name="connsiteX151" fmla="*/ 9048391 w 10575647"/>
                <a:gd name="connsiteY151" fmla="*/ 380187 h 1701544"/>
                <a:gd name="connsiteX152" fmla="*/ 9048391 w 10575647"/>
                <a:gd name="connsiteY152" fmla="*/ 944968 h 1701544"/>
                <a:gd name="connsiteX153" fmla="*/ 9139659 w 10575647"/>
                <a:gd name="connsiteY153" fmla="*/ 1195965 h 1701544"/>
                <a:gd name="connsiteX154" fmla="*/ 9399010 w 10575647"/>
                <a:gd name="connsiteY154" fmla="*/ 1291865 h 1701544"/>
                <a:gd name="connsiteX155" fmla="*/ 9658150 w 10575647"/>
                <a:gd name="connsiteY155" fmla="*/ 1197945 h 1701544"/>
                <a:gd name="connsiteX156" fmla="*/ 10385594 w 10575647"/>
                <a:gd name="connsiteY156" fmla="*/ 653307 h 1701544"/>
                <a:gd name="connsiteX157" fmla="*/ 10567335 w 10575647"/>
                <a:gd name="connsiteY157" fmla="*/ 653307 h 1701544"/>
                <a:gd name="connsiteX158" fmla="*/ 10566383 w 10575647"/>
                <a:gd name="connsiteY158" fmla="*/ 632041 h 1701544"/>
                <a:gd name="connsiteX159" fmla="*/ 10249009 w 10575647"/>
                <a:gd name="connsiteY159" fmla="*/ 359885 h 1701544"/>
                <a:gd name="connsiteX160" fmla="*/ 9929730 w 10575647"/>
                <a:gd name="connsiteY160" fmla="*/ 627446 h 1701544"/>
                <a:gd name="connsiteX161" fmla="*/ 10212587 w 10575647"/>
                <a:gd name="connsiteY161" fmla="*/ 903611 h 1701544"/>
                <a:gd name="connsiteX162" fmla="*/ 10391099 w 10575647"/>
                <a:gd name="connsiteY162" fmla="*/ 1031625 h 1701544"/>
                <a:gd name="connsiteX163" fmla="*/ 10252715 w 10575647"/>
                <a:gd name="connsiteY163" fmla="*/ 1136874 h 1701544"/>
                <a:gd name="connsiteX164" fmla="*/ 10093843 w 10575647"/>
                <a:gd name="connsiteY164" fmla="*/ 1007579 h 1701544"/>
                <a:gd name="connsiteX165" fmla="*/ 10092096 w 10575647"/>
                <a:gd name="connsiteY165" fmla="*/ 989257 h 1701544"/>
                <a:gd name="connsiteX166" fmla="*/ 9913054 w 10575647"/>
                <a:gd name="connsiteY166" fmla="*/ 989257 h 1701544"/>
                <a:gd name="connsiteX167" fmla="*/ 9915066 w 10575647"/>
                <a:gd name="connsiteY167" fmla="*/ 1011216 h 1701544"/>
                <a:gd name="connsiteX168" fmla="*/ 10252715 w 10575647"/>
                <a:gd name="connsiteY168" fmla="*/ 1291865 h 1701544"/>
                <a:gd name="connsiteX169" fmla="*/ 10575647 w 10575647"/>
                <a:gd name="connsiteY169" fmla="*/ 1024303 h 1701544"/>
                <a:gd name="connsiteX170" fmla="*/ 10501426 w 10575647"/>
                <a:gd name="connsiteY170" fmla="*/ 843879 h 1701544"/>
                <a:gd name="connsiteX171" fmla="*/ 10285750 w 10575647"/>
                <a:gd name="connsiteY171" fmla="*/ 740769 h 1701544"/>
                <a:gd name="connsiteX172" fmla="*/ 10110519 w 10575647"/>
                <a:gd name="connsiteY172" fmla="*/ 616440 h 1701544"/>
                <a:gd name="connsiteX173" fmla="*/ 10243398 w 10575647"/>
                <a:gd name="connsiteY173" fmla="*/ 514877 h 1701544"/>
                <a:gd name="connsiteX174" fmla="*/ 10385594 w 10575647"/>
                <a:gd name="connsiteY174" fmla="*/ 623762 h 1701544"/>
                <a:gd name="connsiteX175" fmla="*/ 10385594 w 10575647"/>
                <a:gd name="connsiteY175" fmla="*/ 653307 h 170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10575647" h="1701544">
                  <a:moveTo>
                    <a:pt x="7802033" y="380187"/>
                  </a:moveTo>
                  <a:lnTo>
                    <a:pt x="7621138" y="380187"/>
                  </a:lnTo>
                  <a:lnTo>
                    <a:pt x="7621138" y="1271563"/>
                  </a:lnTo>
                  <a:lnTo>
                    <a:pt x="7802033" y="1271563"/>
                  </a:lnTo>
                  <a:lnTo>
                    <a:pt x="7802033" y="380187"/>
                  </a:lnTo>
                  <a:close/>
                  <a:moveTo>
                    <a:pt x="706522" y="1271563"/>
                  </a:moveTo>
                  <a:lnTo>
                    <a:pt x="902065" y="1271563"/>
                  </a:lnTo>
                  <a:lnTo>
                    <a:pt x="902065" y="0"/>
                  </a:lnTo>
                  <a:lnTo>
                    <a:pt x="706522" y="0"/>
                  </a:lnTo>
                  <a:lnTo>
                    <a:pt x="706522" y="553717"/>
                  </a:lnTo>
                  <a:lnTo>
                    <a:pt x="195543" y="553717"/>
                  </a:lnTo>
                  <a:lnTo>
                    <a:pt x="195543" y="0"/>
                  </a:lnTo>
                  <a:lnTo>
                    <a:pt x="0" y="0"/>
                  </a:lnTo>
                  <a:lnTo>
                    <a:pt x="0" y="1271563"/>
                  </a:lnTo>
                  <a:lnTo>
                    <a:pt x="195543" y="1271563"/>
                  </a:lnTo>
                  <a:lnTo>
                    <a:pt x="195543" y="727142"/>
                  </a:lnTo>
                  <a:lnTo>
                    <a:pt x="706522" y="727142"/>
                  </a:lnTo>
                  <a:lnTo>
                    <a:pt x="706522" y="1271563"/>
                  </a:lnTo>
                  <a:close/>
                  <a:moveTo>
                    <a:pt x="1306185" y="1690649"/>
                  </a:moveTo>
                  <a:lnTo>
                    <a:pt x="1654904" y="1036061"/>
                  </a:lnTo>
                  <a:lnTo>
                    <a:pt x="1306185" y="381469"/>
                  </a:lnTo>
                  <a:lnTo>
                    <a:pt x="1090234" y="381469"/>
                  </a:lnTo>
                  <a:lnTo>
                    <a:pt x="1438900" y="1036061"/>
                  </a:lnTo>
                  <a:lnTo>
                    <a:pt x="1090234" y="1690649"/>
                  </a:lnTo>
                  <a:lnTo>
                    <a:pt x="1306185" y="1690649"/>
                  </a:lnTo>
                  <a:close/>
                  <a:moveTo>
                    <a:pt x="2581808" y="828654"/>
                  </a:moveTo>
                  <a:cubicBezTo>
                    <a:pt x="2581808" y="1002989"/>
                    <a:pt x="2470789" y="1129505"/>
                    <a:pt x="2317883" y="1129505"/>
                  </a:cubicBezTo>
                  <a:cubicBezTo>
                    <a:pt x="2168980" y="1129505"/>
                    <a:pt x="2065011" y="1007262"/>
                    <a:pt x="2065011" y="832338"/>
                  </a:cubicBezTo>
                  <a:cubicBezTo>
                    <a:pt x="2065011" y="649088"/>
                    <a:pt x="2170314" y="525990"/>
                    <a:pt x="2327068" y="525990"/>
                  </a:cubicBezTo>
                  <a:cubicBezTo>
                    <a:pt x="2479444" y="525990"/>
                    <a:pt x="2581808" y="647590"/>
                    <a:pt x="2581808" y="828654"/>
                  </a:cubicBezTo>
                  <a:moveTo>
                    <a:pt x="2581808" y="1271563"/>
                  </a:moveTo>
                  <a:lnTo>
                    <a:pt x="2762608" y="1271563"/>
                  </a:lnTo>
                  <a:lnTo>
                    <a:pt x="2762608" y="0"/>
                  </a:lnTo>
                  <a:lnTo>
                    <a:pt x="2581808" y="0"/>
                  </a:lnTo>
                  <a:lnTo>
                    <a:pt x="2581808" y="476356"/>
                  </a:lnTo>
                  <a:cubicBezTo>
                    <a:pt x="2503431" y="397017"/>
                    <a:pt x="2412449" y="359885"/>
                    <a:pt x="2297581" y="359885"/>
                  </a:cubicBezTo>
                  <a:cubicBezTo>
                    <a:pt x="2057690" y="359885"/>
                    <a:pt x="1876785" y="562214"/>
                    <a:pt x="1876785" y="830470"/>
                  </a:cubicBezTo>
                  <a:cubicBezTo>
                    <a:pt x="1876785" y="1102145"/>
                    <a:pt x="2049839" y="1291865"/>
                    <a:pt x="2297581" y="1291865"/>
                  </a:cubicBezTo>
                  <a:cubicBezTo>
                    <a:pt x="2414371" y="1291865"/>
                    <a:pt x="2503061" y="1251959"/>
                    <a:pt x="2581808" y="1163217"/>
                  </a:cubicBezTo>
                  <a:lnTo>
                    <a:pt x="2581808" y="1271563"/>
                  </a:lnTo>
                  <a:close/>
                  <a:moveTo>
                    <a:pt x="3437445" y="542393"/>
                  </a:moveTo>
                  <a:lnTo>
                    <a:pt x="3460310" y="545331"/>
                  </a:lnTo>
                  <a:lnTo>
                    <a:pt x="3460310" y="359885"/>
                  </a:lnTo>
                  <a:lnTo>
                    <a:pt x="3406830" y="359885"/>
                  </a:lnTo>
                  <a:cubicBezTo>
                    <a:pt x="3341169" y="359885"/>
                    <a:pt x="3277430" y="380294"/>
                    <a:pt x="3231965" y="415877"/>
                  </a:cubicBezTo>
                  <a:cubicBezTo>
                    <a:pt x="3213690" y="430035"/>
                    <a:pt x="3199693" y="444353"/>
                    <a:pt x="3187194" y="462091"/>
                  </a:cubicBezTo>
                  <a:lnTo>
                    <a:pt x="3187194" y="380187"/>
                  </a:lnTo>
                  <a:lnTo>
                    <a:pt x="3006395" y="380187"/>
                  </a:lnTo>
                  <a:lnTo>
                    <a:pt x="3006395" y="1271563"/>
                  </a:lnTo>
                  <a:lnTo>
                    <a:pt x="3187194" y="1271563"/>
                  </a:lnTo>
                  <a:lnTo>
                    <a:pt x="3187194" y="819411"/>
                  </a:lnTo>
                  <a:cubicBezTo>
                    <a:pt x="3187194" y="727783"/>
                    <a:pt x="3198894" y="679915"/>
                    <a:pt x="3233517" y="629638"/>
                  </a:cubicBezTo>
                  <a:cubicBezTo>
                    <a:pt x="3272300" y="572310"/>
                    <a:pt x="3331926" y="540683"/>
                    <a:pt x="3401277" y="540683"/>
                  </a:cubicBezTo>
                  <a:cubicBezTo>
                    <a:pt x="3410356" y="540683"/>
                    <a:pt x="3423983" y="540683"/>
                    <a:pt x="3437445" y="542393"/>
                  </a:cubicBezTo>
                  <a:moveTo>
                    <a:pt x="4250980" y="826838"/>
                  </a:moveTo>
                  <a:cubicBezTo>
                    <a:pt x="4250980" y="1000692"/>
                    <a:pt x="4140918" y="1122077"/>
                    <a:pt x="3983364" y="1122077"/>
                  </a:cubicBezTo>
                  <a:cubicBezTo>
                    <a:pt x="3822174" y="1122077"/>
                    <a:pt x="3713875" y="1003466"/>
                    <a:pt x="3713875" y="826838"/>
                  </a:cubicBezTo>
                  <a:cubicBezTo>
                    <a:pt x="3713875" y="649088"/>
                    <a:pt x="3822920" y="529677"/>
                    <a:pt x="3985180" y="529677"/>
                  </a:cubicBezTo>
                  <a:cubicBezTo>
                    <a:pt x="4144179" y="529677"/>
                    <a:pt x="4250980" y="649088"/>
                    <a:pt x="4250980" y="826838"/>
                  </a:cubicBezTo>
                  <a:moveTo>
                    <a:pt x="4435464" y="828654"/>
                  </a:moveTo>
                  <a:cubicBezTo>
                    <a:pt x="4435464" y="557084"/>
                    <a:pt x="4246120" y="359885"/>
                    <a:pt x="3985180" y="359885"/>
                  </a:cubicBezTo>
                  <a:cubicBezTo>
                    <a:pt x="3716818" y="359885"/>
                    <a:pt x="3529338" y="551155"/>
                    <a:pt x="3529338" y="824916"/>
                  </a:cubicBezTo>
                  <a:cubicBezTo>
                    <a:pt x="3529338" y="1099848"/>
                    <a:pt x="3714521" y="1291865"/>
                    <a:pt x="3979622" y="1291865"/>
                  </a:cubicBezTo>
                  <a:cubicBezTo>
                    <a:pt x="4235272" y="1291865"/>
                    <a:pt x="4435464" y="1088418"/>
                    <a:pt x="4435464" y="828654"/>
                  </a:cubicBezTo>
                  <a:moveTo>
                    <a:pt x="5261608" y="828654"/>
                  </a:moveTo>
                  <a:cubicBezTo>
                    <a:pt x="5261608" y="909382"/>
                    <a:pt x="5239596" y="986748"/>
                    <a:pt x="5205508" y="1025854"/>
                  </a:cubicBezTo>
                  <a:cubicBezTo>
                    <a:pt x="5153150" y="1087026"/>
                    <a:pt x="5080062" y="1122077"/>
                    <a:pt x="5005052" y="1122077"/>
                  </a:cubicBezTo>
                  <a:cubicBezTo>
                    <a:pt x="4855296" y="1122077"/>
                    <a:pt x="4746675" y="996361"/>
                    <a:pt x="4746675" y="823153"/>
                  </a:cubicBezTo>
                  <a:cubicBezTo>
                    <a:pt x="4746675" y="650316"/>
                    <a:pt x="4854386" y="529677"/>
                    <a:pt x="5008683" y="529677"/>
                  </a:cubicBezTo>
                  <a:cubicBezTo>
                    <a:pt x="5078193" y="529677"/>
                    <a:pt x="5151652" y="563177"/>
                    <a:pt x="5200378" y="617081"/>
                  </a:cubicBezTo>
                  <a:cubicBezTo>
                    <a:pt x="5246112" y="667892"/>
                    <a:pt x="5261608" y="721266"/>
                    <a:pt x="5261608" y="828654"/>
                  </a:cubicBezTo>
                  <a:moveTo>
                    <a:pt x="5327264" y="1583314"/>
                  </a:moveTo>
                  <a:cubicBezTo>
                    <a:pt x="5409426" y="1504990"/>
                    <a:pt x="5446113" y="1404277"/>
                    <a:pt x="5446113" y="1256819"/>
                  </a:cubicBezTo>
                  <a:lnTo>
                    <a:pt x="5446113" y="380187"/>
                  </a:lnTo>
                  <a:lnTo>
                    <a:pt x="5265239" y="380187"/>
                  </a:lnTo>
                  <a:lnTo>
                    <a:pt x="5265239" y="488537"/>
                  </a:lnTo>
                  <a:cubicBezTo>
                    <a:pt x="5186005" y="398673"/>
                    <a:pt x="5100153" y="359885"/>
                    <a:pt x="4982875" y="359885"/>
                  </a:cubicBezTo>
                  <a:cubicBezTo>
                    <a:pt x="4866567" y="359885"/>
                    <a:pt x="4771201" y="395361"/>
                    <a:pt x="4699394" y="465190"/>
                  </a:cubicBezTo>
                  <a:cubicBezTo>
                    <a:pt x="4611080" y="549710"/>
                    <a:pt x="4558400" y="685574"/>
                    <a:pt x="4558400" y="828654"/>
                  </a:cubicBezTo>
                  <a:cubicBezTo>
                    <a:pt x="4558400" y="1092743"/>
                    <a:pt x="4736097" y="1291865"/>
                    <a:pt x="4971816" y="1291865"/>
                  </a:cubicBezTo>
                  <a:cubicBezTo>
                    <a:pt x="5092032" y="1291865"/>
                    <a:pt x="5185952" y="1246830"/>
                    <a:pt x="5265239" y="1150553"/>
                  </a:cubicBezTo>
                  <a:lnTo>
                    <a:pt x="5265239" y="1267931"/>
                  </a:lnTo>
                  <a:cubicBezTo>
                    <a:pt x="5265239" y="1350745"/>
                    <a:pt x="5245313" y="1414431"/>
                    <a:pt x="5206095" y="1457116"/>
                  </a:cubicBezTo>
                  <a:cubicBezTo>
                    <a:pt x="5162288" y="1504291"/>
                    <a:pt x="5083159" y="1533625"/>
                    <a:pt x="4999546" y="1533625"/>
                  </a:cubicBezTo>
                  <a:cubicBezTo>
                    <a:pt x="4932122" y="1533625"/>
                    <a:pt x="4856471" y="1514979"/>
                    <a:pt x="4811695" y="1487409"/>
                  </a:cubicBezTo>
                  <a:cubicBezTo>
                    <a:pt x="4788777" y="1471596"/>
                    <a:pt x="4771254" y="1455624"/>
                    <a:pt x="4733588" y="1416300"/>
                  </a:cubicBezTo>
                  <a:lnTo>
                    <a:pt x="4719215" y="1401339"/>
                  </a:lnTo>
                  <a:lnTo>
                    <a:pt x="4595103" y="1525451"/>
                  </a:lnTo>
                  <a:lnTo>
                    <a:pt x="4607819" y="1539824"/>
                  </a:lnTo>
                  <a:cubicBezTo>
                    <a:pt x="4703719" y="1647106"/>
                    <a:pt x="4835528" y="1701544"/>
                    <a:pt x="4999546" y="1701544"/>
                  </a:cubicBezTo>
                  <a:cubicBezTo>
                    <a:pt x="5134664" y="1701544"/>
                    <a:pt x="5247981" y="1660675"/>
                    <a:pt x="5327264" y="1583314"/>
                  </a:cubicBezTo>
                  <a:moveTo>
                    <a:pt x="6317923" y="747497"/>
                  </a:moveTo>
                  <a:lnTo>
                    <a:pt x="5805203" y="747497"/>
                  </a:lnTo>
                  <a:cubicBezTo>
                    <a:pt x="5814785" y="696051"/>
                    <a:pt x="5825267" y="667627"/>
                    <a:pt x="5845913" y="635144"/>
                  </a:cubicBezTo>
                  <a:cubicBezTo>
                    <a:pt x="5892024" y="566756"/>
                    <a:pt x="5971327" y="525990"/>
                    <a:pt x="6057989" y="525990"/>
                  </a:cubicBezTo>
                  <a:cubicBezTo>
                    <a:pt x="6144228" y="525990"/>
                    <a:pt x="6225702" y="566274"/>
                    <a:pt x="6275730" y="633487"/>
                  </a:cubicBezTo>
                  <a:cubicBezTo>
                    <a:pt x="6300453" y="669067"/>
                    <a:pt x="6312047" y="699841"/>
                    <a:pt x="6317923" y="747497"/>
                  </a:cubicBezTo>
                  <a:moveTo>
                    <a:pt x="6508188" y="872890"/>
                  </a:moveTo>
                  <a:cubicBezTo>
                    <a:pt x="6510094" y="851683"/>
                    <a:pt x="6510094" y="827426"/>
                    <a:pt x="6510094" y="815779"/>
                  </a:cubicBezTo>
                  <a:cubicBezTo>
                    <a:pt x="6510094" y="555909"/>
                    <a:pt x="6315700" y="359885"/>
                    <a:pt x="6057989" y="359885"/>
                  </a:cubicBezTo>
                  <a:cubicBezTo>
                    <a:pt x="5798109" y="359885"/>
                    <a:pt x="5609538" y="557084"/>
                    <a:pt x="5609538" y="828654"/>
                  </a:cubicBezTo>
                  <a:cubicBezTo>
                    <a:pt x="5609538" y="1097074"/>
                    <a:pt x="5800491" y="1291865"/>
                    <a:pt x="6063495" y="1291865"/>
                  </a:cubicBezTo>
                  <a:cubicBezTo>
                    <a:pt x="6235020" y="1291865"/>
                    <a:pt x="6386956" y="1199867"/>
                    <a:pt x="6460066" y="1051710"/>
                  </a:cubicBezTo>
                  <a:lnTo>
                    <a:pt x="6469966" y="1031572"/>
                  </a:lnTo>
                  <a:lnTo>
                    <a:pt x="6308923" y="971517"/>
                  </a:lnTo>
                  <a:lnTo>
                    <a:pt x="6300559" y="986689"/>
                  </a:lnTo>
                  <a:cubicBezTo>
                    <a:pt x="6254237" y="1068968"/>
                    <a:pt x="6161169" y="1122077"/>
                    <a:pt x="6063495" y="1122077"/>
                  </a:cubicBezTo>
                  <a:cubicBezTo>
                    <a:pt x="5977415" y="1122077"/>
                    <a:pt x="5901923" y="1083664"/>
                    <a:pt x="5850784" y="1013832"/>
                  </a:cubicBezTo>
                  <a:cubicBezTo>
                    <a:pt x="5821932" y="975900"/>
                    <a:pt x="5809438" y="945021"/>
                    <a:pt x="5802132" y="891377"/>
                  </a:cubicBezTo>
                  <a:lnTo>
                    <a:pt x="6506547" y="891377"/>
                  </a:lnTo>
                  <a:lnTo>
                    <a:pt x="6508188" y="872890"/>
                  </a:lnTo>
                  <a:close/>
                  <a:moveTo>
                    <a:pt x="7205139" y="1271563"/>
                  </a:moveTo>
                  <a:lnTo>
                    <a:pt x="7385928" y="1271563"/>
                  </a:lnTo>
                  <a:lnTo>
                    <a:pt x="7385928" y="677294"/>
                  </a:lnTo>
                  <a:cubicBezTo>
                    <a:pt x="7385928" y="554734"/>
                    <a:pt x="7365387" y="491422"/>
                    <a:pt x="7307154" y="435163"/>
                  </a:cubicBezTo>
                  <a:cubicBezTo>
                    <a:pt x="7252520" y="386599"/>
                    <a:pt x="7177557" y="359885"/>
                    <a:pt x="7096189" y="359885"/>
                  </a:cubicBezTo>
                  <a:cubicBezTo>
                    <a:pt x="7000739" y="359885"/>
                    <a:pt x="6929853" y="391193"/>
                    <a:pt x="6863625" y="463694"/>
                  </a:cubicBezTo>
                  <a:lnTo>
                    <a:pt x="6863625" y="380187"/>
                  </a:lnTo>
                  <a:lnTo>
                    <a:pt x="6682836" y="380187"/>
                  </a:lnTo>
                  <a:lnTo>
                    <a:pt x="6682836" y="1271563"/>
                  </a:lnTo>
                  <a:lnTo>
                    <a:pt x="6863625" y="1271563"/>
                  </a:lnTo>
                  <a:lnTo>
                    <a:pt x="6863625" y="732701"/>
                  </a:lnTo>
                  <a:cubicBezTo>
                    <a:pt x="6863625" y="667839"/>
                    <a:pt x="6876278" y="632147"/>
                    <a:pt x="6913971" y="591066"/>
                  </a:cubicBezTo>
                  <a:cubicBezTo>
                    <a:pt x="6951505" y="548481"/>
                    <a:pt x="7002433" y="525990"/>
                    <a:pt x="7061143" y="525990"/>
                  </a:cubicBezTo>
                  <a:cubicBezTo>
                    <a:pt x="7110748" y="525990"/>
                    <a:pt x="7155428" y="544744"/>
                    <a:pt x="7177769" y="575089"/>
                  </a:cubicBezTo>
                  <a:cubicBezTo>
                    <a:pt x="7197410" y="601215"/>
                    <a:pt x="7205139" y="638722"/>
                    <a:pt x="7205139" y="708709"/>
                  </a:cubicBezTo>
                  <a:lnTo>
                    <a:pt x="7205139" y="1271563"/>
                  </a:lnTo>
                  <a:close/>
                  <a:moveTo>
                    <a:pt x="7822309" y="162418"/>
                  </a:moveTo>
                  <a:cubicBezTo>
                    <a:pt x="7822309" y="99268"/>
                    <a:pt x="7774452" y="49847"/>
                    <a:pt x="7713412" y="49847"/>
                  </a:cubicBezTo>
                  <a:cubicBezTo>
                    <a:pt x="7650255" y="49847"/>
                    <a:pt x="7602662" y="97451"/>
                    <a:pt x="7602662" y="160549"/>
                  </a:cubicBezTo>
                  <a:cubicBezTo>
                    <a:pt x="7602662" y="223699"/>
                    <a:pt x="7649514" y="271303"/>
                    <a:pt x="7711560" y="271303"/>
                  </a:cubicBezTo>
                  <a:cubicBezTo>
                    <a:pt x="7773711" y="271303"/>
                    <a:pt x="7822309" y="223432"/>
                    <a:pt x="7822309" y="162418"/>
                  </a:cubicBezTo>
                  <a:moveTo>
                    <a:pt x="8704760" y="826838"/>
                  </a:moveTo>
                  <a:cubicBezTo>
                    <a:pt x="8704760" y="1000692"/>
                    <a:pt x="8594751" y="1122077"/>
                    <a:pt x="8437150" y="1122077"/>
                  </a:cubicBezTo>
                  <a:cubicBezTo>
                    <a:pt x="8276002" y="1122077"/>
                    <a:pt x="8167740" y="1003466"/>
                    <a:pt x="8167740" y="826838"/>
                  </a:cubicBezTo>
                  <a:cubicBezTo>
                    <a:pt x="8167740" y="649088"/>
                    <a:pt x="8276743" y="529677"/>
                    <a:pt x="8439003" y="529677"/>
                  </a:cubicBezTo>
                  <a:cubicBezTo>
                    <a:pt x="8597980" y="529677"/>
                    <a:pt x="8704760" y="649088"/>
                    <a:pt x="8704760" y="826838"/>
                  </a:cubicBezTo>
                  <a:moveTo>
                    <a:pt x="8889307" y="828654"/>
                  </a:moveTo>
                  <a:cubicBezTo>
                    <a:pt x="8889307" y="557084"/>
                    <a:pt x="8699942" y="359885"/>
                    <a:pt x="8439003" y="359885"/>
                  </a:cubicBezTo>
                  <a:cubicBezTo>
                    <a:pt x="8170652" y="359885"/>
                    <a:pt x="7983193" y="551155"/>
                    <a:pt x="7983193" y="824916"/>
                  </a:cubicBezTo>
                  <a:cubicBezTo>
                    <a:pt x="7983193" y="1099848"/>
                    <a:pt x="8168375" y="1291865"/>
                    <a:pt x="8433444" y="1291865"/>
                  </a:cubicBezTo>
                  <a:cubicBezTo>
                    <a:pt x="8689089" y="1291865"/>
                    <a:pt x="8889307" y="1088418"/>
                    <a:pt x="8889307" y="828654"/>
                  </a:cubicBezTo>
                  <a:moveTo>
                    <a:pt x="9658150" y="1197940"/>
                  </a:moveTo>
                  <a:cubicBezTo>
                    <a:pt x="9724854" y="1137144"/>
                    <a:pt x="9749630" y="1068539"/>
                    <a:pt x="9749630" y="944968"/>
                  </a:cubicBezTo>
                  <a:lnTo>
                    <a:pt x="9749630" y="380187"/>
                  </a:lnTo>
                  <a:lnTo>
                    <a:pt x="9566988" y="380187"/>
                  </a:lnTo>
                  <a:lnTo>
                    <a:pt x="9566988" y="944968"/>
                  </a:lnTo>
                  <a:cubicBezTo>
                    <a:pt x="9566988" y="1008437"/>
                    <a:pt x="9558835" y="1039587"/>
                    <a:pt x="9535012" y="1068222"/>
                  </a:cubicBezTo>
                  <a:cubicBezTo>
                    <a:pt x="9503831" y="1104284"/>
                    <a:pt x="9453009" y="1125815"/>
                    <a:pt x="9399010" y="1125815"/>
                  </a:cubicBezTo>
                  <a:cubicBezTo>
                    <a:pt x="9299060" y="1125815"/>
                    <a:pt x="9229233" y="1049947"/>
                    <a:pt x="9229233" y="941225"/>
                  </a:cubicBezTo>
                  <a:lnTo>
                    <a:pt x="9229233" y="380187"/>
                  </a:lnTo>
                  <a:lnTo>
                    <a:pt x="9048391" y="380187"/>
                  </a:lnTo>
                  <a:lnTo>
                    <a:pt x="9048391" y="944968"/>
                  </a:lnTo>
                  <a:cubicBezTo>
                    <a:pt x="9048391" y="1054330"/>
                    <a:pt x="9078249" y="1136392"/>
                    <a:pt x="9139659" y="1195965"/>
                  </a:cubicBezTo>
                  <a:cubicBezTo>
                    <a:pt x="9204563" y="1256925"/>
                    <a:pt x="9299113" y="1291865"/>
                    <a:pt x="9399010" y="1291865"/>
                  </a:cubicBezTo>
                  <a:cubicBezTo>
                    <a:pt x="9499701" y="1291865"/>
                    <a:pt x="9591763" y="1258529"/>
                    <a:pt x="9658150" y="1197945"/>
                  </a:cubicBezTo>
                  <a:moveTo>
                    <a:pt x="10385594" y="653307"/>
                  </a:moveTo>
                  <a:lnTo>
                    <a:pt x="10567335" y="653307"/>
                  </a:lnTo>
                  <a:lnTo>
                    <a:pt x="10566383" y="632041"/>
                  </a:lnTo>
                  <a:cubicBezTo>
                    <a:pt x="10558442" y="459099"/>
                    <a:pt x="10442768" y="359885"/>
                    <a:pt x="10249009" y="359885"/>
                  </a:cubicBezTo>
                  <a:cubicBezTo>
                    <a:pt x="10058003" y="359885"/>
                    <a:pt x="9929730" y="467434"/>
                    <a:pt x="9929730" y="627446"/>
                  </a:cubicBezTo>
                  <a:cubicBezTo>
                    <a:pt x="9929730" y="765666"/>
                    <a:pt x="10016922" y="850825"/>
                    <a:pt x="10212587" y="903611"/>
                  </a:cubicBezTo>
                  <a:cubicBezTo>
                    <a:pt x="10347689" y="937858"/>
                    <a:pt x="10391099" y="968955"/>
                    <a:pt x="10391099" y="1031625"/>
                  </a:cubicBezTo>
                  <a:cubicBezTo>
                    <a:pt x="10391099" y="1095576"/>
                    <a:pt x="10336730" y="1136874"/>
                    <a:pt x="10252715" y="1136874"/>
                  </a:cubicBezTo>
                  <a:cubicBezTo>
                    <a:pt x="10155517" y="1136874"/>
                    <a:pt x="10102102" y="1093384"/>
                    <a:pt x="10093843" y="1007579"/>
                  </a:cubicBezTo>
                  <a:lnTo>
                    <a:pt x="10092096" y="989257"/>
                  </a:lnTo>
                  <a:lnTo>
                    <a:pt x="9913054" y="989257"/>
                  </a:lnTo>
                  <a:lnTo>
                    <a:pt x="9915066" y="1011216"/>
                  </a:lnTo>
                  <a:cubicBezTo>
                    <a:pt x="9930789" y="1194843"/>
                    <a:pt x="10047626" y="1291865"/>
                    <a:pt x="10252715" y="1291865"/>
                  </a:cubicBezTo>
                  <a:cubicBezTo>
                    <a:pt x="10445839" y="1291865"/>
                    <a:pt x="10575647" y="1184371"/>
                    <a:pt x="10575647" y="1024303"/>
                  </a:cubicBezTo>
                  <a:cubicBezTo>
                    <a:pt x="10575647" y="956667"/>
                    <a:pt x="10548542" y="890948"/>
                    <a:pt x="10501426" y="843879"/>
                  </a:cubicBezTo>
                  <a:cubicBezTo>
                    <a:pt x="10457485" y="799913"/>
                    <a:pt x="10397028" y="770955"/>
                    <a:pt x="10285750" y="740769"/>
                  </a:cubicBezTo>
                  <a:cubicBezTo>
                    <a:pt x="10125660" y="696474"/>
                    <a:pt x="10110519" y="671471"/>
                    <a:pt x="10110519" y="616440"/>
                  </a:cubicBezTo>
                  <a:cubicBezTo>
                    <a:pt x="10110519" y="553823"/>
                    <a:pt x="10161447" y="514877"/>
                    <a:pt x="10243398" y="514877"/>
                  </a:cubicBezTo>
                  <a:cubicBezTo>
                    <a:pt x="10329795" y="514877"/>
                    <a:pt x="10385594" y="557672"/>
                    <a:pt x="10385594" y="623762"/>
                  </a:cubicBezTo>
                  <a:lnTo>
                    <a:pt x="10385594" y="653307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</p:grp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DF03C39F-962F-327C-72D5-FDE607D279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3" y="843892"/>
            <a:ext cx="4778373" cy="5511338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817FA91E-CFF5-5A36-9F75-D3028B7688A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8D52A86-D1B8-496B-34A9-E2D05373A6FE}"/>
              </a:ext>
            </a:extLst>
          </p:cNvPr>
          <p:cNvGrpSpPr/>
          <p:nvPr userDrawn="1"/>
        </p:nvGrpSpPr>
        <p:grpSpPr>
          <a:xfrm rot="5400000">
            <a:off x="-3617983" y="3323777"/>
            <a:ext cx="6854690" cy="213756"/>
            <a:chOff x="-1" y="-286346"/>
            <a:chExt cx="5820565" cy="181508"/>
          </a:xfrm>
        </p:grpSpPr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8B0CD1C2-C442-7F31-023C-85C4A6F05FC5}"/>
                </a:ext>
              </a:extLst>
            </p:cNvPr>
            <p:cNvGrpSpPr/>
            <p:nvPr userDrawn="1"/>
          </p:nvGrpSpPr>
          <p:grpSpPr>
            <a:xfrm rot="16200000">
              <a:off x="363007" y="-649354"/>
              <a:ext cx="181503" cy="907520"/>
              <a:chOff x="1319213" y="-1663170"/>
              <a:chExt cx="181503" cy="907520"/>
            </a:xfrm>
          </p:grpSpPr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4189C6CA-40EC-79CF-44BE-842149736C80}"/>
                  </a:ext>
                </a:extLst>
              </p:cNvPr>
              <p:cNvSpPr/>
              <p:nvPr/>
            </p:nvSpPr>
            <p:spPr>
              <a:xfrm>
                <a:off x="1319213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44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DB27C81C-6360-1619-C0FA-25811905EA50}"/>
                  </a:ext>
                </a:extLst>
              </p:cNvPr>
              <p:cNvSpPr/>
              <p:nvPr/>
            </p:nvSpPr>
            <p:spPr>
              <a:xfrm>
                <a:off x="1319213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69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AB61F002-C5C6-EF8A-838D-C8DB1FD0E246}"/>
                  </a:ext>
                </a:extLst>
              </p:cNvPr>
              <p:cNvSpPr/>
              <p:nvPr/>
            </p:nvSpPr>
            <p:spPr>
              <a:xfrm>
                <a:off x="1319213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FE8F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5D42F7AD-D35D-5C87-EB9E-1C6ABE8F91F6}"/>
                  </a:ext>
                </a:extLst>
              </p:cNvPr>
              <p:cNvSpPr/>
              <p:nvPr/>
            </p:nvSpPr>
            <p:spPr>
              <a:xfrm>
                <a:off x="1319213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B4B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2F936AD0-5BE2-C57C-D07A-4E583292888E}"/>
                  </a:ext>
                </a:extLst>
              </p:cNvPr>
              <p:cNvSpPr/>
              <p:nvPr/>
            </p:nvSpPr>
            <p:spPr>
              <a:xfrm>
                <a:off x="1319213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D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31057891-BCF3-8835-5469-F62B514AEA55}"/>
                </a:ext>
              </a:extLst>
            </p:cNvPr>
            <p:cNvGrpSpPr/>
            <p:nvPr userDrawn="1"/>
          </p:nvGrpSpPr>
          <p:grpSpPr>
            <a:xfrm rot="16200000">
              <a:off x="1345616" y="-649354"/>
              <a:ext cx="181503" cy="907520"/>
              <a:chOff x="1319213" y="-664912"/>
              <a:chExt cx="181503" cy="907520"/>
            </a:xfrm>
          </p:grpSpPr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9DAD5047-9613-E8A6-8DEF-9558286F890F}"/>
                  </a:ext>
                </a:extLst>
              </p:cNvPr>
              <p:cNvSpPr/>
              <p:nvPr/>
            </p:nvSpPr>
            <p:spPr>
              <a:xfrm>
                <a:off x="1319213" y="-66491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6400A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9342C6DB-D235-8CF5-1560-BDE042F1702F}"/>
                  </a:ext>
                </a:extLst>
              </p:cNvPr>
              <p:cNvSpPr/>
              <p:nvPr/>
            </p:nvSpPr>
            <p:spPr>
              <a:xfrm>
                <a:off x="1319213" y="-483404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33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195E5AEB-558E-4127-6EAE-57644ACDC3DE}"/>
                  </a:ext>
                </a:extLst>
              </p:cNvPr>
              <p:cNvSpPr/>
              <p:nvPr/>
            </p:nvSpPr>
            <p:spPr>
              <a:xfrm>
                <a:off x="1319213" y="-30189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266C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60E3F6AF-D759-0955-A079-040037D5D70C}"/>
                  </a:ext>
                </a:extLst>
              </p:cNvPr>
              <p:cNvSpPr/>
              <p:nvPr/>
            </p:nvSpPr>
            <p:spPr>
              <a:xfrm>
                <a:off x="1319213" y="-120387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199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38DF9C10-A3E7-1FCF-C15B-707B77B813D1}"/>
                  </a:ext>
                </a:extLst>
              </p:cNvPr>
              <p:cNvSpPr/>
              <p:nvPr/>
            </p:nvSpPr>
            <p:spPr>
              <a:xfrm>
                <a:off x="1319213" y="6110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0CC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2DAEB9C3-9C87-EA6D-180A-A67BCD692004}"/>
                </a:ext>
              </a:extLst>
            </p:cNvPr>
            <p:cNvGrpSpPr/>
            <p:nvPr userDrawn="1"/>
          </p:nvGrpSpPr>
          <p:grpSpPr>
            <a:xfrm rot="16200000">
              <a:off x="2328223" y="-649352"/>
              <a:ext cx="181508" cy="907520"/>
              <a:chOff x="1682219" y="-1663170"/>
              <a:chExt cx="181508" cy="907520"/>
            </a:xfrm>
          </p:grpSpPr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210900BF-77B2-7613-7F87-837856621240}"/>
                  </a:ext>
                </a:extLst>
              </p:cNvPr>
              <p:cNvSpPr/>
              <p:nvPr/>
            </p:nvSpPr>
            <p:spPr>
              <a:xfrm>
                <a:off x="1682219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CC8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A2CFF541-4D8D-9403-25ED-403F9575EE5E}"/>
                  </a:ext>
                </a:extLst>
              </p:cNvPr>
              <p:cNvSpPr/>
              <p:nvPr/>
            </p:nvSpPr>
            <p:spPr>
              <a:xfrm>
                <a:off x="1682224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3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A8023178-0C84-F65D-D530-90DAF8CA7F97}"/>
                  </a:ext>
                </a:extLst>
              </p:cNvPr>
              <p:cNvSpPr/>
              <p:nvPr/>
            </p:nvSpPr>
            <p:spPr>
              <a:xfrm>
                <a:off x="1682224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ADE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18A34DA8-8B24-1CF0-E068-0E54F530936B}"/>
                  </a:ext>
                </a:extLst>
              </p:cNvPr>
              <p:cNvSpPr/>
              <p:nvPr/>
            </p:nvSpPr>
            <p:spPr>
              <a:xfrm>
                <a:off x="1682224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E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6880F6EB-20D0-764D-54FC-AD2378E251D4}"/>
                  </a:ext>
                </a:extLst>
              </p:cNvPr>
              <p:cNvSpPr/>
              <p:nvPr/>
            </p:nvSpPr>
            <p:spPr>
              <a:xfrm>
                <a:off x="1682219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8F4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20DBD092-30A9-2997-A6A2-6E405F2897D1}"/>
                </a:ext>
              </a:extLst>
            </p:cNvPr>
            <p:cNvGrpSpPr/>
            <p:nvPr userDrawn="1"/>
          </p:nvGrpSpPr>
          <p:grpSpPr>
            <a:xfrm rot="16200000">
              <a:off x="5276052" y="-649354"/>
              <a:ext cx="181503" cy="907520"/>
              <a:chOff x="2226738" y="-1663170"/>
              <a:chExt cx="181503" cy="907520"/>
            </a:xfrm>
          </p:grpSpPr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4B6158C0-0C64-9CF2-F1D2-0F2A9E6A4892}"/>
                  </a:ext>
                </a:extLst>
              </p:cNvPr>
              <p:cNvSpPr/>
              <p:nvPr/>
            </p:nvSpPr>
            <p:spPr>
              <a:xfrm>
                <a:off x="2226738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B9E48B58-A1B3-9AD3-7519-B159AE63DBE1}"/>
                  </a:ext>
                </a:extLst>
              </p:cNvPr>
              <p:cNvSpPr/>
              <p:nvPr/>
            </p:nvSpPr>
            <p:spPr>
              <a:xfrm>
                <a:off x="2226738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5757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B958F2BD-0711-4B0E-780E-784FD7B84FB6}"/>
                  </a:ext>
                </a:extLst>
              </p:cNvPr>
              <p:cNvSpPr/>
              <p:nvPr/>
            </p:nvSpPr>
            <p:spPr>
              <a:xfrm>
                <a:off x="2226738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8787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51A08A7D-CDF4-FD08-A71B-9610D8D35876}"/>
                  </a:ext>
                </a:extLst>
              </p:cNvPr>
              <p:cNvSpPr/>
              <p:nvPr/>
            </p:nvSpPr>
            <p:spPr>
              <a:xfrm>
                <a:off x="2226738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2B2B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2183FFE5-1460-F052-C1BE-926ED80A465C}"/>
                  </a:ext>
                </a:extLst>
              </p:cNvPr>
              <p:cNvSpPr/>
              <p:nvPr/>
            </p:nvSpPr>
            <p:spPr>
              <a:xfrm>
                <a:off x="2226738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DA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D99E9029-F2FC-2529-5551-85132E2A8499}"/>
                </a:ext>
              </a:extLst>
            </p:cNvPr>
            <p:cNvGrpSpPr/>
            <p:nvPr userDrawn="1"/>
          </p:nvGrpSpPr>
          <p:grpSpPr>
            <a:xfrm rot="16200000">
              <a:off x="3310834" y="-649354"/>
              <a:ext cx="181503" cy="907520"/>
              <a:chOff x="1863727" y="-1663170"/>
              <a:chExt cx="181503" cy="907520"/>
            </a:xfrm>
          </p:grpSpPr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9084BB4B-F719-9C86-7498-052FBEF92CE5}"/>
                  </a:ext>
                </a:extLst>
              </p:cNvPr>
              <p:cNvSpPr/>
              <p:nvPr/>
            </p:nvSpPr>
            <p:spPr>
              <a:xfrm>
                <a:off x="1863727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2A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31A1E984-45BE-8B7E-E08B-BEF4B5FFC785}"/>
                  </a:ext>
                </a:extLst>
              </p:cNvPr>
              <p:cNvSpPr/>
              <p:nvPr/>
            </p:nvSpPr>
            <p:spPr>
              <a:xfrm>
                <a:off x="1863727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5DB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27B4E5BE-3947-FCED-FB86-89EC888A22A6}"/>
                  </a:ext>
                </a:extLst>
              </p:cNvPr>
              <p:cNvSpPr/>
              <p:nvPr/>
            </p:nvSpPr>
            <p:spPr>
              <a:xfrm>
                <a:off x="1863727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8E4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4FB23033-C6F9-D116-7BB7-49F9FC454083}"/>
                  </a:ext>
                </a:extLst>
              </p:cNvPr>
              <p:cNvSpPr/>
              <p:nvPr/>
            </p:nvSpPr>
            <p:spPr>
              <a:xfrm>
                <a:off x="1863727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ED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29A7D2CB-79F7-282F-8896-CEEBC9B2F26A}"/>
                  </a:ext>
                </a:extLst>
              </p:cNvPr>
              <p:cNvSpPr/>
              <p:nvPr/>
            </p:nvSpPr>
            <p:spPr>
              <a:xfrm>
                <a:off x="1863727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DF6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8F7196E-576E-0917-35D1-85DDDA4DF9FA}"/>
                </a:ext>
              </a:extLst>
            </p:cNvPr>
            <p:cNvGrpSpPr/>
            <p:nvPr userDrawn="1"/>
          </p:nvGrpSpPr>
          <p:grpSpPr>
            <a:xfrm rot="16200000">
              <a:off x="4293441" y="-649352"/>
              <a:ext cx="181508" cy="907520"/>
              <a:chOff x="2045230" y="-1663170"/>
              <a:chExt cx="181508" cy="907520"/>
            </a:xfrm>
          </p:grpSpPr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BEAA7B62-2C43-FA70-8DA9-166669118CF5}"/>
                  </a:ext>
                </a:extLst>
              </p:cNvPr>
              <p:cNvSpPr/>
              <p:nvPr/>
            </p:nvSpPr>
            <p:spPr>
              <a:xfrm>
                <a:off x="2045230" y="-937158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9F7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F8A36294-42F6-3BA1-1622-3DE1FA2DC6D8}"/>
                  </a:ext>
                </a:extLst>
              </p:cNvPr>
              <p:cNvSpPr/>
              <p:nvPr/>
            </p:nvSpPr>
            <p:spPr>
              <a:xfrm>
                <a:off x="2045230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FED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45E18421-25D5-427A-0C83-1435A6A29A0C}"/>
                  </a:ext>
                </a:extLst>
              </p:cNvPr>
              <p:cNvSpPr/>
              <p:nvPr/>
            </p:nvSpPr>
            <p:spPr>
              <a:xfrm>
                <a:off x="2045230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5E3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33AE5B9F-94E7-27E1-3B04-4D12417CE6CD}"/>
                  </a:ext>
                </a:extLst>
              </p:cNvPr>
              <p:cNvSpPr/>
              <p:nvPr/>
            </p:nvSpPr>
            <p:spPr>
              <a:xfrm>
                <a:off x="2045230" y="-1663170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CFC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B78BE13C-81C3-4BFD-9BC2-15F7EBABA7BC}"/>
                  </a:ext>
                </a:extLst>
              </p:cNvPr>
              <p:cNvSpPr/>
              <p:nvPr/>
            </p:nvSpPr>
            <p:spPr>
              <a:xfrm>
                <a:off x="2045230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BD9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1192875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 (red) and Text 1/2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Grafik 48">
            <a:extLst>
              <a:ext uri="{FF2B5EF4-FFF2-40B4-BE49-F238E27FC236}">
                <a16:creationId xmlns:a16="http://schemas.microsoft.com/office/drawing/2014/main" id="{A287FED4-B9E2-C8CD-49D3-0590038650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0"/>
            <a:ext cx="6096000" cy="6857999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54812" y="843891"/>
            <a:ext cx="4778374" cy="55106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964FA6FD-B18C-64CF-40CD-9C782D91C43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415668" y="503483"/>
            <a:ext cx="1289916" cy="180000"/>
            <a:chOff x="-161925" y="-1630732"/>
            <a:chExt cx="12193587" cy="1701544"/>
          </a:xfrm>
          <a:solidFill>
            <a:schemeClr val="bg1"/>
          </a:solidFill>
        </p:grpSpPr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0BAA8276-ECA1-E336-BCFB-04B3EC51B77A}"/>
                </a:ext>
              </a:extLst>
            </p:cNvPr>
            <p:cNvSpPr/>
            <p:nvPr/>
          </p:nvSpPr>
          <p:spPr>
            <a:xfrm>
              <a:off x="10774928" y="-1247713"/>
              <a:ext cx="1256734" cy="356304"/>
            </a:xfrm>
            <a:custGeom>
              <a:avLst/>
              <a:gdLst>
                <a:gd name="connsiteX0" fmla="*/ 1226823 w 1256734"/>
                <a:gd name="connsiteY0" fmla="*/ 269166 h 356304"/>
                <a:gd name="connsiteX1" fmla="*/ 1133491 w 1256734"/>
                <a:gd name="connsiteY1" fmla="*/ 316610 h 356304"/>
                <a:gd name="connsiteX2" fmla="*/ 1010248 w 1256734"/>
                <a:gd name="connsiteY2" fmla="*/ 178448 h 356304"/>
                <a:gd name="connsiteX3" fmla="*/ 1131426 w 1256734"/>
                <a:gd name="connsiteY3" fmla="*/ 39696 h 356304"/>
                <a:gd name="connsiteX4" fmla="*/ 1226823 w 1256734"/>
                <a:gd name="connsiteY4" fmla="*/ 86659 h 356304"/>
                <a:gd name="connsiteX5" fmla="*/ 1256735 w 1256734"/>
                <a:gd name="connsiteY5" fmla="*/ 58823 h 356304"/>
                <a:gd name="connsiteX6" fmla="*/ 1216553 w 1256734"/>
                <a:gd name="connsiteY6" fmla="*/ 23241 h 356304"/>
                <a:gd name="connsiteX7" fmla="*/ 1130420 w 1256734"/>
                <a:gd name="connsiteY7" fmla="*/ 0 h 356304"/>
                <a:gd name="connsiteX8" fmla="*/ 965885 w 1256734"/>
                <a:gd name="connsiteY8" fmla="*/ 178448 h 356304"/>
                <a:gd name="connsiteX9" fmla="*/ 1011783 w 1256734"/>
                <a:gd name="connsiteY9" fmla="*/ 305763 h 356304"/>
                <a:gd name="connsiteX10" fmla="*/ 1129892 w 1256734"/>
                <a:gd name="connsiteY10" fmla="*/ 356305 h 356304"/>
                <a:gd name="connsiteX11" fmla="*/ 1255676 w 1256734"/>
                <a:gd name="connsiteY11" fmla="*/ 298071 h 356304"/>
                <a:gd name="connsiteX12" fmla="*/ 1226823 w 1256734"/>
                <a:gd name="connsiteY12" fmla="*/ 269166 h 356304"/>
                <a:gd name="connsiteX13" fmla="*/ 679216 w 1256734"/>
                <a:gd name="connsiteY13" fmla="*/ 197999 h 356304"/>
                <a:gd name="connsiteX14" fmla="*/ 846824 w 1256734"/>
                <a:gd name="connsiteY14" fmla="*/ 197999 h 356304"/>
                <a:gd name="connsiteX15" fmla="*/ 846824 w 1256734"/>
                <a:gd name="connsiteY15" fmla="*/ 350105 h 356304"/>
                <a:gd name="connsiteX16" fmla="*/ 890075 w 1256734"/>
                <a:gd name="connsiteY16" fmla="*/ 350105 h 356304"/>
                <a:gd name="connsiteX17" fmla="*/ 890075 w 1256734"/>
                <a:gd name="connsiteY17" fmla="*/ 6198 h 356304"/>
                <a:gd name="connsiteX18" fmla="*/ 846824 w 1256734"/>
                <a:gd name="connsiteY18" fmla="*/ 6198 h 356304"/>
                <a:gd name="connsiteX19" fmla="*/ 846824 w 1256734"/>
                <a:gd name="connsiteY19" fmla="*/ 160920 h 356304"/>
                <a:gd name="connsiteX20" fmla="*/ 679216 w 1256734"/>
                <a:gd name="connsiteY20" fmla="*/ 160920 h 356304"/>
                <a:gd name="connsiteX21" fmla="*/ 679216 w 1256734"/>
                <a:gd name="connsiteY21" fmla="*/ 6198 h 356304"/>
                <a:gd name="connsiteX22" fmla="*/ 635912 w 1256734"/>
                <a:gd name="connsiteY22" fmla="*/ 6198 h 356304"/>
                <a:gd name="connsiteX23" fmla="*/ 635912 w 1256734"/>
                <a:gd name="connsiteY23" fmla="*/ 350105 h 356304"/>
                <a:gd name="connsiteX24" fmla="*/ 679216 w 1256734"/>
                <a:gd name="connsiteY24" fmla="*/ 350105 h 356304"/>
                <a:gd name="connsiteX25" fmla="*/ 679216 w 1256734"/>
                <a:gd name="connsiteY25" fmla="*/ 197999 h 356304"/>
                <a:gd name="connsiteX26" fmla="*/ 392018 w 1256734"/>
                <a:gd name="connsiteY26" fmla="*/ 40230 h 356304"/>
                <a:gd name="connsiteX27" fmla="*/ 476563 w 1256734"/>
                <a:gd name="connsiteY27" fmla="*/ 75813 h 356304"/>
                <a:gd name="connsiteX28" fmla="*/ 515792 w 1256734"/>
                <a:gd name="connsiteY28" fmla="*/ 181011 h 356304"/>
                <a:gd name="connsiteX29" fmla="*/ 482758 w 1256734"/>
                <a:gd name="connsiteY29" fmla="*/ 275365 h 356304"/>
                <a:gd name="connsiteX30" fmla="*/ 390960 w 1256734"/>
                <a:gd name="connsiteY30" fmla="*/ 316610 h 356304"/>
                <a:gd name="connsiteX31" fmla="*/ 267239 w 1256734"/>
                <a:gd name="connsiteY31" fmla="*/ 178448 h 356304"/>
                <a:gd name="connsiteX32" fmla="*/ 392018 w 1256734"/>
                <a:gd name="connsiteY32" fmla="*/ 40230 h 356304"/>
                <a:gd name="connsiteX33" fmla="*/ 393077 w 1256734"/>
                <a:gd name="connsiteY33" fmla="*/ 0 h 356304"/>
                <a:gd name="connsiteX34" fmla="*/ 222876 w 1256734"/>
                <a:gd name="connsiteY34" fmla="*/ 179994 h 356304"/>
                <a:gd name="connsiteX35" fmla="*/ 258982 w 1256734"/>
                <a:gd name="connsiteY35" fmla="*/ 291872 h 356304"/>
                <a:gd name="connsiteX36" fmla="*/ 392018 w 1256734"/>
                <a:gd name="connsiteY36" fmla="*/ 356305 h 356304"/>
                <a:gd name="connsiteX37" fmla="*/ 501868 w 1256734"/>
                <a:gd name="connsiteY37" fmla="*/ 315059 h 356304"/>
                <a:gd name="connsiteX38" fmla="*/ 560155 w 1256734"/>
                <a:gd name="connsiteY38" fmla="*/ 181545 h 356304"/>
                <a:gd name="connsiteX39" fmla="*/ 519921 w 1256734"/>
                <a:gd name="connsiteY39" fmla="*/ 59304 h 356304"/>
                <a:gd name="connsiteX40" fmla="*/ 393077 w 1256734"/>
                <a:gd name="connsiteY40" fmla="*/ 0 h 356304"/>
                <a:gd name="connsiteX41" fmla="*/ 43306 w 1256734"/>
                <a:gd name="connsiteY41" fmla="*/ 310946 h 356304"/>
                <a:gd name="connsiteX42" fmla="*/ 43306 w 1256734"/>
                <a:gd name="connsiteY42" fmla="*/ 6198 h 356304"/>
                <a:gd name="connsiteX43" fmla="*/ 0 w 1256734"/>
                <a:gd name="connsiteY43" fmla="*/ 6198 h 356304"/>
                <a:gd name="connsiteX44" fmla="*/ 0 w 1256734"/>
                <a:gd name="connsiteY44" fmla="*/ 350105 h 356304"/>
                <a:gd name="connsiteX45" fmla="*/ 194237 w 1256734"/>
                <a:gd name="connsiteY45" fmla="*/ 350105 h 356304"/>
                <a:gd name="connsiteX46" fmla="*/ 194237 w 1256734"/>
                <a:gd name="connsiteY46" fmla="*/ 310946 h 356304"/>
                <a:gd name="connsiteX47" fmla="*/ 43306 w 1256734"/>
                <a:gd name="connsiteY47" fmla="*/ 310946 h 35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256734" h="356304">
                  <a:moveTo>
                    <a:pt x="1226823" y="269166"/>
                  </a:moveTo>
                  <a:cubicBezTo>
                    <a:pt x="1200037" y="301650"/>
                    <a:pt x="1171131" y="316610"/>
                    <a:pt x="1133491" y="316610"/>
                  </a:cubicBezTo>
                  <a:cubicBezTo>
                    <a:pt x="1062341" y="316610"/>
                    <a:pt x="1010248" y="258371"/>
                    <a:pt x="1010248" y="178448"/>
                  </a:cubicBezTo>
                  <a:cubicBezTo>
                    <a:pt x="1010248" y="97985"/>
                    <a:pt x="1061334" y="39696"/>
                    <a:pt x="1131426" y="39696"/>
                  </a:cubicBezTo>
                  <a:cubicBezTo>
                    <a:pt x="1168008" y="39696"/>
                    <a:pt x="1193313" y="52092"/>
                    <a:pt x="1226823" y="86659"/>
                  </a:cubicBezTo>
                  <a:lnTo>
                    <a:pt x="1256735" y="58823"/>
                  </a:lnTo>
                  <a:cubicBezTo>
                    <a:pt x="1239742" y="40230"/>
                    <a:pt x="1230424" y="32003"/>
                    <a:pt x="1216553" y="23241"/>
                  </a:cubicBezTo>
                  <a:cubicBezTo>
                    <a:pt x="1191725" y="8281"/>
                    <a:pt x="1161338" y="0"/>
                    <a:pt x="1130420" y="0"/>
                  </a:cubicBezTo>
                  <a:cubicBezTo>
                    <a:pt x="1035500" y="0"/>
                    <a:pt x="965885" y="75279"/>
                    <a:pt x="965885" y="178448"/>
                  </a:cubicBezTo>
                  <a:cubicBezTo>
                    <a:pt x="965885" y="226369"/>
                    <a:pt x="982931" y="273279"/>
                    <a:pt x="1011783" y="305763"/>
                  </a:cubicBezTo>
                  <a:cubicBezTo>
                    <a:pt x="1041165" y="338782"/>
                    <a:pt x="1081928" y="356305"/>
                    <a:pt x="1129892" y="356305"/>
                  </a:cubicBezTo>
                  <a:cubicBezTo>
                    <a:pt x="1182990" y="356305"/>
                    <a:pt x="1221107" y="338782"/>
                    <a:pt x="1255676" y="298071"/>
                  </a:cubicBezTo>
                  <a:lnTo>
                    <a:pt x="1226823" y="269166"/>
                  </a:lnTo>
                  <a:close/>
                  <a:moveTo>
                    <a:pt x="679216" y="197999"/>
                  </a:moveTo>
                  <a:lnTo>
                    <a:pt x="846824" y="197999"/>
                  </a:lnTo>
                  <a:lnTo>
                    <a:pt x="846824" y="350105"/>
                  </a:lnTo>
                  <a:lnTo>
                    <a:pt x="890075" y="350105"/>
                  </a:lnTo>
                  <a:lnTo>
                    <a:pt x="890075" y="6198"/>
                  </a:lnTo>
                  <a:lnTo>
                    <a:pt x="846824" y="6198"/>
                  </a:lnTo>
                  <a:lnTo>
                    <a:pt x="846824" y="160920"/>
                  </a:lnTo>
                  <a:lnTo>
                    <a:pt x="679216" y="160920"/>
                  </a:lnTo>
                  <a:lnTo>
                    <a:pt x="679216" y="6198"/>
                  </a:lnTo>
                  <a:lnTo>
                    <a:pt x="635912" y="6198"/>
                  </a:lnTo>
                  <a:lnTo>
                    <a:pt x="635912" y="350105"/>
                  </a:lnTo>
                  <a:lnTo>
                    <a:pt x="679216" y="350105"/>
                  </a:lnTo>
                  <a:lnTo>
                    <a:pt x="679216" y="197999"/>
                  </a:lnTo>
                  <a:close/>
                  <a:moveTo>
                    <a:pt x="392018" y="40230"/>
                  </a:moveTo>
                  <a:cubicBezTo>
                    <a:pt x="422459" y="40230"/>
                    <a:pt x="453904" y="53641"/>
                    <a:pt x="476563" y="75813"/>
                  </a:cubicBezTo>
                  <a:cubicBezTo>
                    <a:pt x="503404" y="101618"/>
                    <a:pt x="515792" y="135117"/>
                    <a:pt x="515792" y="181011"/>
                  </a:cubicBezTo>
                  <a:cubicBezTo>
                    <a:pt x="515792" y="216057"/>
                    <a:pt x="502874" y="253189"/>
                    <a:pt x="482758" y="275365"/>
                  </a:cubicBezTo>
                  <a:cubicBezTo>
                    <a:pt x="459569" y="301650"/>
                    <a:pt x="425530" y="316610"/>
                    <a:pt x="390960" y="316610"/>
                  </a:cubicBezTo>
                  <a:cubicBezTo>
                    <a:pt x="319809" y="316610"/>
                    <a:pt x="267239" y="258371"/>
                    <a:pt x="267239" y="178448"/>
                  </a:cubicBezTo>
                  <a:cubicBezTo>
                    <a:pt x="267239" y="99000"/>
                    <a:pt x="320338" y="40230"/>
                    <a:pt x="392018" y="40230"/>
                  </a:cubicBezTo>
                  <a:moveTo>
                    <a:pt x="393077" y="0"/>
                  </a:moveTo>
                  <a:cubicBezTo>
                    <a:pt x="295615" y="0"/>
                    <a:pt x="222876" y="77362"/>
                    <a:pt x="222876" y="179994"/>
                  </a:cubicBezTo>
                  <a:cubicBezTo>
                    <a:pt x="222876" y="223273"/>
                    <a:pt x="235318" y="261956"/>
                    <a:pt x="258982" y="291872"/>
                  </a:cubicBezTo>
                  <a:cubicBezTo>
                    <a:pt x="290957" y="332101"/>
                    <a:pt x="340985" y="356305"/>
                    <a:pt x="392018" y="356305"/>
                  </a:cubicBezTo>
                  <a:cubicBezTo>
                    <a:pt x="431723" y="356305"/>
                    <a:pt x="470899" y="341879"/>
                    <a:pt x="501868" y="315059"/>
                  </a:cubicBezTo>
                  <a:cubicBezTo>
                    <a:pt x="539509" y="283110"/>
                    <a:pt x="560155" y="235131"/>
                    <a:pt x="560155" y="181545"/>
                  </a:cubicBezTo>
                  <a:cubicBezTo>
                    <a:pt x="560155" y="129935"/>
                    <a:pt x="547715" y="91788"/>
                    <a:pt x="519921" y="59304"/>
                  </a:cubicBezTo>
                  <a:cubicBezTo>
                    <a:pt x="486886" y="21691"/>
                    <a:pt x="440988" y="0"/>
                    <a:pt x="393077" y="0"/>
                  </a:cubicBezTo>
                  <a:moveTo>
                    <a:pt x="43306" y="310946"/>
                  </a:moveTo>
                  <a:lnTo>
                    <a:pt x="43306" y="6198"/>
                  </a:lnTo>
                  <a:lnTo>
                    <a:pt x="0" y="6198"/>
                  </a:lnTo>
                  <a:lnTo>
                    <a:pt x="0" y="350105"/>
                  </a:lnTo>
                  <a:lnTo>
                    <a:pt x="194237" y="350105"/>
                  </a:lnTo>
                  <a:lnTo>
                    <a:pt x="194237" y="310946"/>
                  </a:lnTo>
                  <a:lnTo>
                    <a:pt x="43306" y="310946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B77DA9CA-81E3-9C95-68A3-BFADB2CD7E3C}"/>
                </a:ext>
              </a:extLst>
            </p:cNvPr>
            <p:cNvSpPr/>
            <p:nvPr/>
          </p:nvSpPr>
          <p:spPr>
            <a:xfrm>
              <a:off x="-161925" y="-1630732"/>
              <a:ext cx="10575647" cy="1701544"/>
            </a:xfrm>
            <a:custGeom>
              <a:avLst/>
              <a:gdLst>
                <a:gd name="connsiteX0" fmla="*/ 7802033 w 10575647"/>
                <a:gd name="connsiteY0" fmla="*/ 380187 h 1701544"/>
                <a:gd name="connsiteX1" fmla="*/ 7621138 w 10575647"/>
                <a:gd name="connsiteY1" fmla="*/ 380187 h 1701544"/>
                <a:gd name="connsiteX2" fmla="*/ 7621138 w 10575647"/>
                <a:gd name="connsiteY2" fmla="*/ 1271563 h 1701544"/>
                <a:gd name="connsiteX3" fmla="*/ 7802033 w 10575647"/>
                <a:gd name="connsiteY3" fmla="*/ 1271563 h 1701544"/>
                <a:gd name="connsiteX4" fmla="*/ 7802033 w 10575647"/>
                <a:gd name="connsiteY4" fmla="*/ 380187 h 1701544"/>
                <a:gd name="connsiteX5" fmla="*/ 706522 w 10575647"/>
                <a:gd name="connsiteY5" fmla="*/ 1271563 h 1701544"/>
                <a:gd name="connsiteX6" fmla="*/ 902065 w 10575647"/>
                <a:gd name="connsiteY6" fmla="*/ 1271563 h 1701544"/>
                <a:gd name="connsiteX7" fmla="*/ 902065 w 10575647"/>
                <a:gd name="connsiteY7" fmla="*/ 0 h 1701544"/>
                <a:gd name="connsiteX8" fmla="*/ 706522 w 10575647"/>
                <a:gd name="connsiteY8" fmla="*/ 0 h 1701544"/>
                <a:gd name="connsiteX9" fmla="*/ 706522 w 10575647"/>
                <a:gd name="connsiteY9" fmla="*/ 553717 h 1701544"/>
                <a:gd name="connsiteX10" fmla="*/ 195543 w 10575647"/>
                <a:gd name="connsiteY10" fmla="*/ 553717 h 1701544"/>
                <a:gd name="connsiteX11" fmla="*/ 195543 w 10575647"/>
                <a:gd name="connsiteY11" fmla="*/ 0 h 1701544"/>
                <a:gd name="connsiteX12" fmla="*/ 0 w 10575647"/>
                <a:gd name="connsiteY12" fmla="*/ 0 h 1701544"/>
                <a:gd name="connsiteX13" fmla="*/ 0 w 10575647"/>
                <a:gd name="connsiteY13" fmla="*/ 1271563 h 1701544"/>
                <a:gd name="connsiteX14" fmla="*/ 195543 w 10575647"/>
                <a:gd name="connsiteY14" fmla="*/ 1271563 h 1701544"/>
                <a:gd name="connsiteX15" fmla="*/ 195543 w 10575647"/>
                <a:gd name="connsiteY15" fmla="*/ 727142 h 1701544"/>
                <a:gd name="connsiteX16" fmla="*/ 706522 w 10575647"/>
                <a:gd name="connsiteY16" fmla="*/ 727142 h 1701544"/>
                <a:gd name="connsiteX17" fmla="*/ 706522 w 10575647"/>
                <a:gd name="connsiteY17" fmla="*/ 1271563 h 1701544"/>
                <a:gd name="connsiteX18" fmla="*/ 1306185 w 10575647"/>
                <a:gd name="connsiteY18" fmla="*/ 1690649 h 1701544"/>
                <a:gd name="connsiteX19" fmla="*/ 1654904 w 10575647"/>
                <a:gd name="connsiteY19" fmla="*/ 1036061 h 1701544"/>
                <a:gd name="connsiteX20" fmla="*/ 1306185 w 10575647"/>
                <a:gd name="connsiteY20" fmla="*/ 381469 h 1701544"/>
                <a:gd name="connsiteX21" fmla="*/ 1090234 w 10575647"/>
                <a:gd name="connsiteY21" fmla="*/ 381469 h 1701544"/>
                <a:gd name="connsiteX22" fmla="*/ 1438900 w 10575647"/>
                <a:gd name="connsiteY22" fmla="*/ 1036061 h 1701544"/>
                <a:gd name="connsiteX23" fmla="*/ 1090234 w 10575647"/>
                <a:gd name="connsiteY23" fmla="*/ 1690649 h 1701544"/>
                <a:gd name="connsiteX24" fmla="*/ 1306185 w 10575647"/>
                <a:gd name="connsiteY24" fmla="*/ 1690649 h 1701544"/>
                <a:gd name="connsiteX25" fmla="*/ 2581808 w 10575647"/>
                <a:gd name="connsiteY25" fmla="*/ 828654 h 1701544"/>
                <a:gd name="connsiteX26" fmla="*/ 2317883 w 10575647"/>
                <a:gd name="connsiteY26" fmla="*/ 1129505 h 1701544"/>
                <a:gd name="connsiteX27" fmla="*/ 2065011 w 10575647"/>
                <a:gd name="connsiteY27" fmla="*/ 832338 h 1701544"/>
                <a:gd name="connsiteX28" fmla="*/ 2327068 w 10575647"/>
                <a:gd name="connsiteY28" fmla="*/ 525990 h 1701544"/>
                <a:gd name="connsiteX29" fmla="*/ 2581808 w 10575647"/>
                <a:gd name="connsiteY29" fmla="*/ 828654 h 1701544"/>
                <a:gd name="connsiteX30" fmla="*/ 2581808 w 10575647"/>
                <a:gd name="connsiteY30" fmla="*/ 1271563 h 1701544"/>
                <a:gd name="connsiteX31" fmla="*/ 2762608 w 10575647"/>
                <a:gd name="connsiteY31" fmla="*/ 1271563 h 1701544"/>
                <a:gd name="connsiteX32" fmla="*/ 2762608 w 10575647"/>
                <a:gd name="connsiteY32" fmla="*/ 0 h 1701544"/>
                <a:gd name="connsiteX33" fmla="*/ 2581808 w 10575647"/>
                <a:gd name="connsiteY33" fmla="*/ 0 h 1701544"/>
                <a:gd name="connsiteX34" fmla="*/ 2581808 w 10575647"/>
                <a:gd name="connsiteY34" fmla="*/ 476356 h 1701544"/>
                <a:gd name="connsiteX35" fmla="*/ 2297581 w 10575647"/>
                <a:gd name="connsiteY35" fmla="*/ 359885 h 1701544"/>
                <a:gd name="connsiteX36" fmla="*/ 1876785 w 10575647"/>
                <a:gd name="connsiteY36" fmla="*/ 830470 h 1701544"/>
                <a:gd name="connsiteX37" fmla="*/ 2297581 w 10575647"/>
                <a:gd name="connsiteY37" fmla="*/ 1291865 h 1701544"/>
                <a:gd name="connsiteX38" fmla="*/ 2581808 w 10575647"/>
                <a:gd name="connsiteY38" fmla="*/ 1163217 h 1701544"/>
                <a:gd name="connsiteX39" fmla="*/ 2581808 w 10575647"/>
                <a:gd name="connsiteY39" fmla="*/ 1271563 h 1701544"/>
                <a:gd name="connsiteX40" fmla="*/ 3437445 w 10575647"/>
                <a:gd name="connsiteY40" fmla="*/ 542393 h 1701544"/>
                <a:gd name="connsiteX41" fmla="*/ 3460310 w 10575647"/>
                <a:gd name="connsiteY41" fmla="*/ 545331 h 1701544"/>
                <a:gd name="connsiteX42" fmla="*/ 3460310 w 10575647"/>
                <a:gd name="connsiteY42" fmla="*/ 359885 h 1701544"/>
                <a:gd name="connsiteX43" fmla="*/ 3406830 w 10575647"/>
                <a:gd name="connsiteY43" fmla="*/ 359885 h 1701544"/>
                <a:gd name="connsiteX44" fmla="*/ 3231965 w 10575647"/>
                <a:gd name="connsiteY44" fmla="*/ 415877 h 1701544"/>
                <a:gd name="connsiteX45" fmla="*/ 3187194 w 10575647"/>
                <a:gd name="connsiteY45" fmla="*/ 462091 h 1701544"/>
                <a:gd name="connsiteX46" fmla="*/ 3187194 w 10575647"/>
                <a:gd name="connsiteY46" fmla="*/ 380187 h 1701544"/>
                <a:gd name="connsiteX47" fmla="*/ 3006395 w 10575647"/>
                <a:gd name="connsiteY47" fmla="*/ 380187 h 1701544"/>
                <a:gd name="connsiteX48" fmla="*/ 3006395 w 10575647"/>
                <a:gd name="connsiteY48" fmla="*/ 1271563 h 1701544"/>
                <a:gd name="connsiteX49" fmla="*/ 3187194 w 10575647"/>
                <a:gd name="connsiteY49" fmla="*/ 1271563 h 1701544"/>
                <a:gd name="connsiteX50" fmla="*/ 3187194 w 10575647"/>
                <a:gd name="connsiteY50" fmla="*/ 819411 h 1701544"/>
                <a:gd name="connsiteX51" fmla="*/ 3233517 w 10575647"/>
                <a:gd name="connsiteY51" fmla="*/ 629638 h 1701544"/>
                <a:gd name="connsiteX52" fmla="*/ 3401277 w 10575647"/>
                <a:gd name="connsiteY52" fmla="*/ 540683 h 1701544"/>
                <a:gd name="connsiteX53" fmla="*/ 3437445 w 10575647"/>
                <a:gd name="connsiteY53" fmla="*/ 542393 h 1701544"/>
                <a:gd name="connsiteX54" fmla="*/ 4250980 w 10575647"/>
                <a:gd name="connsiteY54" fmla="*/ 826838 h 1701544"/>
                <a:gd name="connsiteX55" fmla="*/ 3983364 w 10575647"/>
                <a:gd name="connsiteY55" fmla="*/ 1122077 h 1701544"/>
                <a:gd name="connsiteX56" fmla="*/ 3713875 w 10575647"/>
                <a:gd name="connsiteY56" fmla="*/ 826838 h 1701544"/>
                <a:gd name="connsiteX57" fmla="*/ 3985180 w 10575647"/>
                <a:gd name="connsiteY57" fmla="*/ 529677 h 1701544"/>
                <a:gd name="connsiteX58" fmla="*/ 4250980 w 10575647"/>
                <a:gd name="connsiteY58" fmla="*/ 826838 h 1701544"/>
                <a:gd name="connsiteX59" fmla="*/ 4435464 w 10575647"/>
                <a:gd name="connsiteY59" fmla="*/ 828654 h 1701544"/>
                <a:gd name="connsiteX60" fmla="*/ 3985180 w 10575647"/>
                <a:gd name="connsiteY60" fmla="*/ 359885 h 1701544"/>
                <a:gd name="connsiteX61" fmla="*/ 3529338 w 10575647"/>
                <a:gd name="connsiteY61" fmla="*/ 824916 h 1701544"/>
                <a:gd name="connsiteX62" fmla="*/ 3979622 w 10575647"/>
                <a:gd name="connsiteY62" fmla="*/ 1291865 h 1701544"/>
                <a:gd name="connsiteX63" fmla="*/ 4435464 w 10575647"/>
                <a:gd name="connsiteY63" fmla="*/ 828654 h 1701544"/>
                <a:gd name="connsiteX64" fmla="*/ 5261608 w 10575647"/>
                <a:gd name="connsiteY64" fmla="*/ 828654 h 1701544"/>
                <a:gd name="connsiteX65" fmla="*/ 5205508 w 10575647"/>
                <a:gd name="connsiteY65" fmla="*/ 1025854 h 1701544"/>
                <a:gd name="connsiteX66" fmla="*/ 5005052 w 10575647"/>
                <a:gd name="connsiteY66" fmla="*/ 1122077 h 1701544"/>
                <a:gd name="connsiteX67" fmla="*/ 4746675 w 10575647"/>
                <a:gd name="connsiteY67" fmla="*/ 823153 h 1701544"/>
                <a:gd name="connsiteX68" fmla="*/ 5008683 w 10575647"/>
                <a:gd name="connsiteY68" fmla="*/ 529677 h 1701544"/>
                <a:gd name="connsiteX69" fmla="*/ 5200378 w 10575647"/>
                <a:gd name="connsiteY69" fmla="*/ 617081 h 1701544"/>
                <a:gd name="connsiteX70" fmla="*/ 5261608 w 10575647"/>
                <a:gd name="connsiteY70" fmla="*/ 828654 h 1701544"/>
                <a:gd name="connsiteX71" fmla="*/ 5327264 w 10575647"/>
                <a:gd name="connsiteY71" fmla="*/ 1583314 h 1701544"/>
                <a:gd name="connsiteX72" fmla="*/ 5446113 w 10575647"/>
                <a:gd name="connsiteY72" fmla="*/ 1256819 h 1701544"/>
                <a:gd name="connsiteX73" fmla="*/ 5446113 w 10575647"/>
                <a:gd name="connsiteY73" fmla="*/ 380187 h 1701544"/>
                <a:gd name="connsiteX74" fmla="*/ 5265239 w 10575647"/>
                <a:gd name="connsiteY74" fmla="*/ 380187 h 1701544"/>
                <a:gd name="connsiteX75" fmla="*/ 5265239 w 10575647"/>
                <a:gd name="connsiteY75" fmla="*/ 488537 h 1701544"/>
                <a:gd name="connsiteX76" fmla="*/ 4982875 w 10575647"/>
                <a:gd name="connsiteY76" fmla="*/ 359885 h 1701544"/>
                <a:gd name="connsiteX77" fmla="*/ 4699394 w 10575647"/>
                <a:gd name="connsiteY77" fmla="*/ 465190 h 1701544"/>
                <a:gd name="connsiteX78" fmla="*/ 4558400 w 10575647"/>
                <a:gd name="connsiteY78" fmla="*/ 828654 h 1701544"/>
                <a:gd name="connsiteX79" fmla="*/ 4971816 w 10575647"/>
                <a:gd name="connsiteY79" fmla="*/ 1291865 h 1701544"/>
                <a:gd name="connsiteX80" fmla="*/ 5265239 w 10575647"/>
                <a:gd name="connsiteY80" fmla="*/ 1150553 h 1701544"/>
                <a:gd name="connsiteX81" fmla="*/ 5265239 w 10575647"/>
                <a:gd name="connsiteY81" fmla="*/ 1267931 h 1701544"/>
                <a:gd name="connsiteX82" fmla="*/ 5206095 w 10575647"/>
                <a:gd name="connsiteY82" fmla="*/ 1457116 h 1701544"/>
                <a:gd name="connsiteX83" fmla="*/ 4999546 w 10575647"/>
                <a:gd name="connsiteY83" fmla="*/ 1533625 h 1701544"/>
                <a:gd name="connsiteX84" fmla="*/ 4811695 w 10575647"/>
                <a:gd name="connsiteY84" fmla="*/ 1487409 h 1701544"/>
                <a:gd name="connsiteX85" fmla="*/ 4733588 w 10575647"/>
                <a:gd name="connsiteY85" fmla="*/ 1416300 h 1701544"/>
                <a:gd name="connsiteX86" fmla="*/ 4719215 w 10575647"/>
                <a:gd name="connsiteY86" fmla="*/ 1401339 h 1701544"/>
                <a:gd name="connsiteX87" fmla="*/ 4595103 w 10575647"/>
                <a:gd name="connsiteY87" fmla="*/ 1525451 h 1701544"/>
                <a:gd name="connsiteX88" fmla="*/ 4607819 w 10575647"/>
                <a:gd name="connsiteY88" fmla="*/ 1539824 h 1701544"/>
                <a:gd name="connsiteX89" fmla="*/ 4999546 w 10575647"/>
                <a:gd name="connsiteY89" fmla="*/ 1701544 h 1701544"/>
                <a:gd name="connsiteX90" fmla="*/ 5327264 w 10575647"/>
                <a:gd name="connsiteY90" fmla="*/ 1583314 h 1701544"/>
                <a:gd name="connsiteX91" fmla="*/ 6317923 w 10575647"/>
                <a:gd name="connsiteY91" fmla="*/ 747497 h 1701544"/>
                <a:gd name="connsiteX92" fmla="*/ 5805203 w 10575647"/>
                <a:gd name="connsiteY92" fmla="*/ 747497 h 1701544"/>
                <a:gd name="connsiteX93" fmla="*/ 5845913 w 10575647"/>
                <a:gd name="connsiteY93" fmla="*/ 635144 h 1701544"/>
                <a:gd name="connsiteX94" fmla="*/ 6057989 w 10575647"/>
                <a:gd name="connsiteY94" fmla="*/ 525990 h 1701544"/>
                <a:gd name="connsiteX95" fmla="*/ 6275730 w 10575647"/>
                <a:gd name="connsiteY95" fmla="*/ 633487 h 1701544"/>
                <a:gd name="connsiteX96" fmla="*/ 6317923 w 10575647"/>
                <a:gd name="connsiteY96" fmla="*/ 747497 h 1701544"/>
                <a:gd name="connsiteX97" fmla="*/ 6508188 w 10575647"/>
                <a:gd name="connsiteY97" fmla="*/ 872890 h 1701544"/>
                <a:gd name="connsiteX98" fmla="*/ 6510094 w 10575647"/>
                <a:gd name="connsiteY98" fmla="*/ 815779 h 1701544"/>
                <a:gd name="connsiteX99" fmla="*/ 6057989 w 10575647"/>
                <a:gd name="connsiteY99" fmla="*/ 359885 h 1701544"/>
                <a:gd name="connsiteX100" fmla="*/ 5609538 w 10575647"/>
                <a:gd name="connsiteY100" fmla="*/ 828654 h 1701544"/>
                <a:gd name="connsiteX101" fmla="*/ 6063495 w 10575647"/>
                <a:gd name="connsiteY101" fmla="*/ 1291865 h 1701544"/>
                <a:gd name="connsiteX102" fmla="*/ 6460066 w 10575647"/>
                <a:gd name="connsiteY102" fmla="*/ 1051710 h 1701544"/>
                <a:gd name="connsiteX103" fmla="*/ 6469966 w 10575647"/>
                <a:gd name="connsiteY103" fmla="*/ 1031572 h 1701544"/>
                <a:gd name="connsiteX104" fmla="*/ 6308923 w 10575647"/>
                <a:gd name="connsiteY104" fmla="*/ 971517 h 1701544"/>
                <a:gd name="connsiteX105" fmla="*/ 6300559 w 10575647"/>
                <a:gd name="connsiteY105" fmla="*/ 986689 h 1701544"/>
                <a:gd name="connsiteX106" fmla="*/ 6063495 w 10575647"/>
                <a:gd name="connsiteY106" fmla="*/ 1122077 h 1701544"/>
                <a:gd name="connsiteX107" fmla="*/ 5850784 w 10575647"/>
                <a:gd name="connsiteY107" fmla="*/ 1013832 h 1701544"/>
                <a:gd name="connsiteX108" fmla="*/ 5802132 w 10575647"/>
                <a:gd name="connsiteY108" fmla="*/ 891377 h 1701544"/>
                <a:gd name="connsiteX109" fmla="*/ 6506547 w 10575647"/>
                <a:gd name="connsiteY109" fmla="*/ 891377 h 1701544"/>
                <a:gd name="connsiteX110" fmla="*/ 6508188 w 10575647"/>
                <a:gd name="connsiteY110" fmla="*/ 872890 h 1701544"/>
                <a:gd name="connsiteX111" fmla="*/ 7205139 w 10575647"/>
                <a:gd name="connsiteY111" fmla="*/ 1271563 h 1701544"/>
                <a:gd name="connsiteX112" fmla="*/ 7385928 w 10575647"/>
                <a:gd name="connsiteY112" fmla="*/ 1271563 h 1701544"/>
                <a:gd name="connsiteX113" fmla="*/ 7385928 w 10575647"/>
                <a:gd name="connsiteY113" fmla="*/ 677294 h 1701544"/>
                <a:gd name="connsiteX114" fmla="*/ 7307154 w 10575647"/>
                <a:gd name="connsiteY114" fmla="*/ 435163 h 1701544"/>
                <a:gd name="connsiteX115" fmla="*/ 7096189 w 10575647"/>
                <a:gd name="connsiteY115" fmla="*/ 359885 h 1701544"/>
                <a:gd name="connsiteX116" fmla="*/ 6863625 w 10575647"/>
                <a:gd name="connsiteY116" fmla="*/ 463694 h 1701544"/>
                <a:gd name="connsiteX117" fmla="*/ 6863625 w 10575647"/>
                <a:gd name="connsiteY117" fmla="*/ 380187 h 1701544"/>
                <a:gd name="connsiteX118" fmla="*/ 6682836 w 10575647"/>
                <a:gd name="connsiteY118" fmla="*/ 380187 h 1701544"/>
                <a:gd name="connsiteX119" fmla="*/ 6682836 w 10575647"/>
                <a:gd name="connsiteY119" fmla="*/ 1271563 h 1701544"/>
                <a:gd name="connsiteX120" fmla="*/ 6863625 w 10575647"/>
                <a:gd name="connsiteY120" fmla="*/ 1271563 h 1701544"/>
                <a:gd name="connsiteX121" fmla="*/ 6863625 w 10575647"/>
                <a:gd name="connsiteY121" fmla="*/ 732701 h 1701544"/>
                <a:gd name="connsiteX122" fmla="*/ 6913971 w 10575647"/>
                <a:gd name="connsiteY122" fmla="*/ 591066 h 1701544"/>
                <a:gd name="connsiteX123" fmla="*/ 7061143 w 10575647"/>
                <a:gd name="connsiteY123" fmla="*/ 525990 h 1701544"/>
                <a:gd name="connsiteX124" fmla="*/ 7177769 w 10575647"/>
                <a:gd name="connsiteY124" fmla="*/ 575089 h 1701544"/>
                <a:gd name="connsiteX125" fmla="*/ 7205139 w 10575647"/>
                <a:gd name="connsiteY125" fmla="*/ 708709 h 1701544"/>
                <a:gd name="connsiteX126" fmla="*/ 7205139 w 10575647"/>
                <a:gd name="connsiteY126" fmla="*/ 1271563 h 1701544"/>
                <a:gd name="connsiteX127" fmla="*/ 7822309 w 10575647"/>
                <a:gd name="connsiteY127" fmla="*/ 162418 h 1701544"/>
                <a:gd name="connsiteX128" fmla="*/ 7713412 w 10575647"/>
                <a:gd name="connsiteY128" fmla="*/ 49847 h 1701544"/>
                <a:gd name="connsiteX129" fmla="*/ 7602662 w 10575647"/>
                <a:gd name="connsiteY129" fmla="*/ 160549 h 1701544"/>
                <a:gd name="connsiteX130" fmla="*/ 7711560 w 10575647"/>
                <a:gd name="connsiteY130" fmla="*/ 271303 h 1701544"/>
                <a:gd name="connsiteX131" fmla="*/ 7822309 w 10575647"/>
                <a:gd name="connsiteY131" fmla="*/ 162418 h 1701544"/>
                <a:gd name="connsiteX132" fmla="*/ 8704760 w 10575647"/>
                <a:gd name="connsiteY132" fmla="*/ 826838 h 1701544"/>
                <a:gd name="connsiteX133" fmla="*/ 8437150 w 10575647"/>
                <a:gd name="connsiteY133" fmla="*/ 1122077 h 1701544"/>
                <a:gd name="connsiteX134" fmla="*/ 8167740 w 10575647"/>
                <a:gd name="connsiteY134" fmla="*/ 826838 h 1701544"/>
                <a:gd name="connsiteX135" fmla="*/ 8439003 w 10575647"/>
                <a:gd name="connsiteY135" fmla="*/ 529677 h 1701544"/>
                <a:gd name="connsiteX136" fmla="*/ 8704760 w 10575647"/>
                <a:gd name="connsiteY136" fmla="*/ 826838 h 1701544"/>
                <a:gd name="connsiteX137" fmla="*/ 8889307 w 10575647"/>
                <a:gd name="connsiteY137" fmla="*/ 828654 h 1701544"/>
                <a:gd name="connsiteX138" fmla="*/ 8439003 w 10575647"/>
                <a:gd name="connsiteY138" fmla="*/ 359885 h 1701544"/>
                <a:gd name="connsiteX139" fmla="*/ 7983193 w 10575647"/>
                <a:gd name="connsiteY139" fmla="*/ 824916 h 1701544"/>
                <a:gd name="connsiteX140" fmla="*/ 8433444 w 10575647"/>
                <a:gd name="connsiteY140" fmla="*/ 1291865 h 1701544"/>
                <a:gd name="connsiteX141" fmla="*/ 8889307 w 10575647"/>
                <a:gd name="connsiteY141" fmla="*/ 828654 h 1701544"/>
                <a:gd name="connsiteX142" fmla="*/ 9658150 w 10575647"/>
                <a:gd name="connsiteY142" fmla="*/ 1197940 h 1701544"/>
                <a:gd name="connsiteX143" fmla="*/ 9749630 w 10575647"/>
                <a:gd name="connsiteY143" fmla="*/ 944968 h 1701544"/>
                <a:gd name="connsiteX144" fmla="*/ 9749630 w 10575647"/>
                <a:gd name="connsiteY144" fmla="*/ 380187 h 1701544"/>
                <a:gd name="connsiteX145" fmla="*/ 9566988 w 10575647"/>
                <a:gd name="connsiteY145" fmla="*/ 380187 h 1701544"/>
                <a:gd name="connsiteX146" fmla="*/ 9566988 w 10575647"/>
                <a:gd name="connsiteY146" fmla="*/ 944968 h 1701544"/>
                <a:gd name="connsiteX147" fmla="*/ 9535012 w 10575647"/>
                <a:gd name="connsiteY147" fmla="*/ 1068222 h 1701544"/>
                <a:gd name="connsiteX148" fmla="*/ 9399010 w 10575647"/>
                <a:gd name="connsiteY148" fmla="*/ 1125815 h 1701544"/>
                <a:gd name="connsiteX149" fmla="*/ 9229233 w 10575647"/>
                <a:gd name="connsiteY149" fmla="*/ 941225 h 1701544"/>
                <a:gd name="connsiteX150" fmla="*/ 9229233 w 10575647"/>
                <a:gd name="connsiteY150" fmla="*/ 380187 h 1701544"/>
                <a:gd name="connsiteX151" fmla="*/ 9048391 w 10575647"/>
                <a:gd name="connsiteY151" fmla="*/ 380187 h 1701544"/>
                <a:gd name="connsiteX152" fmla="*/ 9048391 w 10575647"/>
                <a:gd name="connsiteY152" fmla="*/ 944968 h 1701544"/>
                <a:gd name="connsiteX153" fmla="*/ 9139659 w 10575647"/>
                <a:gd name="connsiteY153" fmla="*/ 1195965 h 1701544"/>
                <a:gd name="connsiteX154" fmla="*/ 9399010 w 10575647"/>
                <a:gd name="connsiteY154" fmla="*/ 1291865 h 1701544"/>
                <a:gd name="connsiteX155" fmla="*/ 9658150 w 10575647"/>
                <a:gd name="connsiteY155" fmla="*/ 1197945 h 1701544"/>
                <a:gd name="connsiteX156" fmla="*/ 10385594 w 10575647"/>
                <a:gd name="connsiteY156" fmla="*/ 653307 h 1701544"/>
                <a:gd name="connsiteX157" fmla="*/ 10567335 w 10575647"/>
                <a:gd name="connsiteY157" fmla="*/ 653307 h 1701544"/>
                <a:gd name="connsiteX158" fmla="*/ 10566383 w 10575647"/>
                <a:gd name="connsiteY158" fmla="*/ 632041 h 1701544"/>
                <a:gd name="connsiteX159" fmla="*/ 10249009 w 10575647"/>
                <a:gd name="connsiteY159" fmla="*/ 359885 h 1701544"/>
                <a:gd name="connsiteX160" fmla="*/ 9929730 w 10575647"/>
                <a:gd name="connsiteY160" fmla="*/ 627446 h 1701544"/>
                <a:gd name="connsiteX161" fmla="*/ 10212587 w 10575647"/>
                <a:gd name="connsiteY161" fmla="*/ 903611 h 1701544"/>
                <a:gd name="connsiteX162" fmla="*/ 10391099 w 10575647"/>
                <a:gd name="connsiteY162" fmla="*/ 1031625 h 1701544"/>
                <a:gd name="connsiteX163" fmla="*/ 10252715 w 10575647"/>
                <a:gd name="connsiteY163" fmla="*/ 1136874 h 1701544"/>
                <a:gd name="connsiteX164" fmla="*/ 10093843 w 10575647"/>
                <a:gd name="connsiteY164" fmla="*/ 1007579 h 1701544"/>
                <a:gd name="connsiteX165" fmla="*/ 10092096 w 10575647"/>
                <a:gd name="connsiteY165" fmla="*/ 989257 h 1701544"/>
                <a:gd name="connsiteX166" fmla="*/ 9913054 w 10575647"/>
                <a:gd name="connsiteY166" fmla="*/ 989257 h 1701544"/>
                <a:gd name="connsiteX167" fmla="*/ 9915066 w 10575647"/>
                <a:gd name="connsiteY167" fmla="*/ 1011216 h 1701544"/>
                <a:gd name="connsiteX168" fmla="*/ 10252715 w 10575647"/>
                <a:gd name="connsiteY168" fmla="*/ 1291865 h 1701544"/>
                <a:gd name="connsiteX169" fmla="*/ 10575647 w 10575647"/>
                <a:gd name="connsiteY169" fmla="*/ 1024303 h 1701544"/>
                <a:gd name="connsiteX170" fmla="*/ 10501426 w 10575647"/>
                <a:gd name="connsiteY170" fmla="*/ 843879 h 1701544"/>
                <a:gd name="connsiteX171" fmla="*/ 10285750 w 10575647"/>
                <a:gd name="connsiteY171" fmla="*/ 740769 h 1701544"/>
                <a:gd name="connsiteX172" fmla="*/ 10110519 w 10575647"/>
                <a:gd name="connsiteY172" fmla="*/ 616440 h 1701544"/>
                <a:gd name="connsiteX173" fmla="*/ 10243398 w 10575647"/>
                <a:gd name="connsiteY173" fmla="*/ 514877 h 1701544"/>
                <a:gd name="connsiteX174" fmla="*/ 10385594 w 10575647"/>
                <a:gd name="connsiteY174" fmla="*/ 623762 h 1701544"/>
                <a:gd name="connsiteX175" fmla="*/ 10385594 w 10575647"/>
                <a:gd name="connsiteY175" fmla="*/ 653307 h 170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10575647" h="1701544">
                  <a:moveTo>
                    <a:pt x="7802033" y="380187"/>
                  </a:moveTo>
                  <a:lnTo>
                    <a:pt x="7621138" y="380187"/>
                  </a:lnTo>
                  <a:lnTo>
                    <a:pt x="7621138" y="1271563"/>
                  </a:lnTo>
                  <a:lnTo>
                    <a:pt x="7802033" y="1271563"/>
                  </a:lnTo>
                  <a:lnTo>
                    <a:pt x="7802033" y="380187"/>
                  </a:lnTo>
                  <a:close/>
                  <a:moveTo>
                    <a:pt x="706522" y="1271563"/>
                  </a:moveTo>
                  <a:lnTo>
                    <a:pt x="902065" y="1271563"/>
                  </a:lnTo>
                  <a:lnTo>
                    <a:pt x="902065" y="0"/>
                  </a:lnTo>
                  <a:lnTo>
                    <a:pt x="706522" y="0"/>
                  </a:lnTo>
                  <a:lnTo>
                    <a:pt x="706522" y="553717"/>
                  </a:lnTo>
                  <a:lnTo>
                    <a:pt x="195543" y="553717"/>
                  </a:lnTo>
                  <a:lnTo>
                    <a:pt x="195543" y="0"/>
                  </a:lnTo>
                  <a:lnTo>
                    <a:pt x="0" y="0"/>
                  </a:lnTo>
                  <a:lnTo>
                    <a:pt x="0" y="1271563"/>
                  </a:lnTo>
                  <a:lnTo>
                    <a:pt x="195543" y="1271563"/>
                  </a:lnTo>
                  <a:lnTo>
                    <a:pt x="195543" y="727142"/>
                  </a:lnTo>
                  <a:lnTo>
                    <a:pt x="706522" y="727142"/>
                  </a:lnTo>
                  <a:lnTo>
                    <a:pt x="706522" y="1271563"/>
                  </a:lnTo>
                  <a:close/>
                  <a:moveTo>
                    <a:pt x="1306185" y="1690649"/>
                  </a:moveTo>
                  <a:lnTo>
                    <a:pt x="1654904" y="1036061"/>
                  </a:lnTo>
                  <a:lnTo>
                    <a:pt x="1306185" y="381469"/>
                  </a:lnTo>
                  <a:lnTo>
                    <a:pt x="1090234" y="381469"/>
                  </a:lnTo>
                  <a:lnTo>
                    <a:pt x="1438900" y="1036061"/>
                  </a:lnTo>
                  <a:lnTo>
                    <a:pt x="1090234" y="1690649"/>
                  </a:lnTo>
                  <a:lnTo>
                    <a:pt x="1306185" y="1690649"/>
                  </a:lnTo>
                  <a:close/>
                  <a:moveTo>
                    <a:pt x="2581808" y="828654"/>
                  </a:moveTo>
                  <a:cubicBezTo>
                    <a:pt x="2581808" y="1002989"/>
                    <a:pt x="2470789" y="1129505"/>
                    <a:pt x="2317883" y="1129505"/>
                  </a:cubicBezTo>
                  <a:cubicBezTo>
                    <a:pt x="2168980" y="1129505"/>
                    <a:pt x="2065011" y="1007262"/>
                    <a:pt x="2065011" y="832338"/>
                  </a:cubicBezTo>
                  <a:cubicBezTo>
                    <a:pt x="2065011" y="649088"/>
                    <a:pt x="2170314" y="525990"/>
                    <a:pt x="2327068" y="525990"/>
                  </a:cubicBezTo>
                  <a:cubicBezTo>
                    <a:pt x="2479444" y="525990"/>
                    <a:pt x="2581808" y="647590"/>
                    <a:pt x="2581808" y="828654"/>
                  </a:cubicBezTo>
                  <a:moveTo>
                    <a:pt x="2581808" y="1271563"/>
                  </a:moveTo>
                  <a:lnTo>
                    <a:pt x="2762608" y="1271563"/>
                  </a:lnTo>
                  <a:lnTo>
                    <a:pt x="2762608" y="0"/>
                  </a:lnTo>
                  <a:lnTo>
                    <a:pt x="2581808" y="0"/>
                  </a:lnTo>
                  <a:lnTo>
                    <a:pt x="2581808" y="476356"/>
                  </a:lnTo>
                  <a:cubicBezTo>
                    <a:pt x="2503431" y="397017"/>
                    <a:pt x="2412449" y="359885"/>
                    <a:pt x="2297581" y="359885"/>
                  </a:cubicBezTo>
                  <a:cubicBezTo>
                    <a:pt x="2057690" y="359885"/>
                    <a:pt x="1876785" y="562214"/>
                    <a:pt x="1876785" y="830470"/>
                  </a:cubicBezTo>
                  <a:cubicBezTo>
                    <a:pt x="1876785" y="1102145"/>
                    <a:pt x="2049839" y="1291865"/>
                    <a:pt x="2297581" y="1291865"/>
                  </a:cubicBezTo>
                  <a:cubicBezTo>
                    <a:pt x="2414371" y="1291865"/>
                    <a:pt x="2503061" y="1251959"/>
                    <a:pt x="2581808" y="1163217"/>
                  </a:cubicBezTo>
                  <a:lnTo>
                    <a:pt x="2581808" y="1271563"/>
                  </a:lnTo>
                  <a:close/>
                  <a:moveTo>
                    <a:pt x="3437445" y="542393"/>
                  </a:moveTo>
                  <a:lnTo>
                    <a:pt x="3460310" y="545331"/>
                  </a:lnTo>
                  <a:lnTo>
                    <a:pt x="3460310" y="359885"/>
                  </a:lnTo>
                  <a:lnTo>
                    <a:pt x="3406830" y="359885"/>
                  </a:lnTo>
                  <a:cubicBezTo>
                    <a:pt x="3341169" y="359885"/>
                    <a:pt x="3277430" y="380294"/>
                    <a:pt x="3231965" y="415877"/>
                  </a:cubicBezTo>
                  <a:cubicBezTo>
                    <a:pt x="3213690" y="430035"/>
                    <a:pt x="3199693" y="444353"/>
                    <a:pt x="3187194" y="462091"/>
                  </a:cubicBezTo>
                  <a:lnTo>
                    <a:pt x="3187194" y="380187"/>
                  </a:lnTo>
                  <a:lnTo>
                    <a:pt x="3006395" y="380187"/>
                  </a:lnTo>
                  <a:lnTo>
                    <a:pt x="3006395" y="1271563"/>
                  </a:lnTo>
                  <a:lnTo>
                    <a:pt x="3187194" y="1271563"/>
                  </a:lnTo>
                  <a:lnTo>
                    <a:pt x="3187194" y="819411"/>
                  </a:lnTo>
                  <a:cubicBezTo>
                    <a:pt x="3187194" y="727783"/>
                    <a:pt x="3198894" y="679915"/>
                    <a:pt x="3233517" y="629638"/>
                  </a:cubicBezTo>
                  <a:cubicBezTo>
                    <a:pt x="3272300" y="572310"/>
                    <a:pt x="3331926" y="540683"/>
                    <a:pt x="3401277" y="540683"/>
                  </a:cubicBezTo>
                  <a:cubicBezTo>
                    <a:pt x="3410356" y="540683"/>
                    <a:pt x="3423983" y="540683"/>
                    <a:pt x="3437445" y="542393"/>
                  </a:cubicBezTo>
                  <a:moveTo>
                    <a:pt x="4250980" y="826838"/>
                  </a:moveTo>
                  <a:cubicBezTo>
                    <a:pt x="4250980" y="1000692"/>
                    <a:pt x="4140918" y="1122077"/>
                    <a:pt x="3983364" y="1122077"/>
                  </a:cubicBezTo>
                  <a:cubicBezTo>
                    <a:pt x="3822174" y="1122077"/>
                    <a:pt x="3713875" y="1003466"/>
                    <a:pt x="3713875" y="826838"/>
                  </a:cubicBezTo>
                  <a:cubicBezTo>
                    <a:pt x="3713875" y="649088"/>
                    <a:pt x="3822920" y="529677"/>
                    <a:pt x="3985180" y="529677"/>
                  </a:cubicBezTo>
                  <a:cubicBezTo>
                    <a:pt x="4144179" y="529677"/>
                    <a:pt x="4250980" y="649088"/>
                    <a:pt x="4250980" y="826838"/>
                  </a:cubicBezTo>
                  <a:moveTo>
                    <a:pt x="4435464" y="828654"/>
                  </a:moveTo>
                  <a:cubicBezTo>
                    <a:pt x="4435464" y="557084"/>
                    <a:pt x="4246120" y="359885"/>
                    <a:pt x="3985180" y="359885"/>
                  </a:cubicBezTo>
                  <a:cubicBezTo>
                    <a:pt x="3716818" y="359885"/>
                    <a:pt x="3529338" y="551155"/>
                    <a:pt x="3529338" y="824916"/>
                  </a:cubicBezTo>
                  <a:cubicBezTo>
                    <a:pt x="3529338" y="1099848"/>
                    <a:pt x="3714521" y="1291865"/>
                    <a:pt x="3979622" y="1291865"/>
                  </a:cubicBezTo>
                  <a:cubicBezTo>
                    <a:pt x="4235272" y="1291865"/>
                    <a:pt x="4435464" y="1088418"/>
                    <a:pt x="4435464" y="828654"/>
                  </a:cubicBezTo>
                  <a:moveTo>
                    <a:pt x="5261608" y="828654"/>
                  </a:moveTo>
                  <a:cubicBezTo>
                    <a:pt x="5261608" y="909382"/>
                    <a:pt x="5239596" y="986748"/>
                    <a:pt x="5205508" y="1025854"/>
                  </a:cubicBezTo>
                  <a:cubicBezTo>
                    <a:pt x="5153150" y="1087026"/>
                    <a:pt x="5080062" y="1122077"/>
                    <a:pt x="5005052" y="1122077"/>
                  </a:cubicBezTo>
                  <a:cubicBezTo>
                    <a:pt x="4855296" y="1122077"/>
                    <a:pt x="4746675" y="996361"/>
                    <a:pt x="4746675" y="823153"/>
                  </a:cubicBezTo>
                  <a:cubicBezTo>
                    <a:pt x="4746675" y="650316"/>
                    <a:pt x="4854386" y="529677"/>
                    <a:pt x="5008683" y="529677"/>
                  </a:cubicBezTo>
                  <a:cubicBezTo>
                    <a:pt x="5078193" y="529677"/>
                    <a:pt x="5151652" y="563177"/>
                    <a:pt x="5200378" y="617081"/>
                  </a:cubicBezTo>
                  <a:cubicBezTo>
                    <a:pt x="5246112" y="667892"/>
                    <a:pt x="5261608" y="721266"/>
                    <a:pt x="5261608" y="828654"/>
                  </a:cubicBezTo>
                  <a:moveTo>
                    <a:pt x="5327264" y="1583314"/>
                  </a:moveTo>
                  <a:cubicBezTo>
                    <a:pt x="5409426" y="1504990"/>
                    <a:pt x="5446113" y="1404277"/>
                    <a:pt x="5446113" y="1256819"/>
                  </a:cubicBezTo>
                  <a:lnTo>
                    <a:pt x="5446113" y="380187"/>
                  </a:lnTo>
                  <a:lnTo>
                    <a:pt x="5265239" y="380187"/>
                  </a:lnTo>
                  <a:lnTo>
                    <a:pt x="5265239" y="488537"/>
                  </a:lnTo>
                  <a:cubicBezTo>
                    <a:pt x="5186005" y="398673"/>
                    <a:pt x="5100153" y="359885"/>
                    <a:pt x="4982875" y="359885"/>
                  </a:cubicBezTo>
                  <a:cubicBezTo>
                    <a:pt x="4866567" y="359885"/>
                    <a:pt x="4771201" y="395361"/>
                    <a:pt x="4699394" y="465190"/>
                  </a:cubicBezTo>
                  <a:cubicBezTo>
                    <a:pt x="4611080" y="549710"/>
                    <a:pt x="4558400" y="685574"/>
                    <a:pt x="4558400" y="828654"/>
                  </a:cubicBezTo>
                  <a:cubicBezTo>
                    <a:pt x="4558400" y="1092743"/>
                    <a:pt x="4736097" y="1291865"/>
                    <a:pt x="4971816" y="1291865"/>
                  </a:cubicBezTo>
                  <a:cubicBezTo>
                    <a:pt x="5092032" y="1291865"/>
                    <a:pt x="5185952" y="1246830"/>
                    <a:pt x="5265239" y="1150553"/>
                  </a:cubicBezTo>
                  <a:lnTo>
                    <a:pt x="5265239" y="1267931"/>
                  </a:lnTo>
                  <a:cubicBezTo>
                    <a:pt x="5265239" y="1350745"/>
                    <a:pt x="5245313" y="1414431"/>
                    <a:pt x="5206095" y="1457116"/>
                  </a:cubicBezTo>
                  <a:cubicBezTo>
                    <a:pt x="5162288" y="1504291"/>
                    <a:pt x="5083159" y="1533625"/>
                    <a:pt x="4999546" y="1533625"/>
                  </a:cubicBezTo>
                  <a:cubicBezTo>
                    <a:pt x="4932122" y="1533625"/>
                    <a:pt x="4856471" y="1514979"/>
                    <a:pt x="4811695" y="1487409"/>
                  </a:cubicBezTo>
                  <a:cubicBezTo>
                    <a:pt x="4788777" y="1471596"/>
                    <a:pt x="4771254" y="1455624"/>
                    <a:pt x="4733588" y="1416300"/>
                  </a:cubicBezTo>
                  <a:lnTo>
                    <a:pt x="4719215" y="1401339"/>
                  </a:lnTo>
                  <a:lnTo>
                    <a:pt x="4595103" y="1525451"/>
                  </a:lnTo>
                  <a:lnTo>
                    <a:pt x="4607819" y="1539824"/>
                  </a:lnTo>
                  <a:cubicBezTo>
                    <a:pt x="4703719" y="1647106"/>
                    <a:pt x="4835528" y="1701544"/>
                    <a:pt x="4999546" y="1701544"/>
                  </a:cubicBezTo>
                  <a:cubicBezTo>
                    <a:pt x="5134664" y="1701544"/>
                    <a:pt x="5247981" y="1660675"/>
                    <a:pt x="5327264" y="1583314"/>
                  </a:cubicBezTo>
                  <a:moveTo>
                    <a:pt x="6317923" y="747497"/>
                  </a:moveTo>
                  <a:lnTo>
                    <a:pt x="5805203" y="747497"/>
                  </a:lnTo>
                  <a:cubicBezTo>
                    <a:pt x="5814785" y="696051"/>
                    <a:pt x="5825267" y="667627"/>
                    <a:pt x="5845913" y="635144"/>
                  </a:cubicBezTo>
                  <a:cubicBezTo>
                    <a:pt x="5892024" y="566756"/>
                    <a:pt x="5971327" y="525990"/>
                    <a:pt x="6057989" y="525990"/>
                  </a:cubicBezTo>
                  <a:cubicBezTo>
                    <a:pt x="6144228" y="525990"/>
                    <a:pt x="6225702" y="566274"/>
                    <a:pt x="6275730" y="633487"/>
                  </a:cubicBezTo>
                  <a:cubicBezTo>
                    <a:pt x="6300453" y="669067"/>
                    <a:pt x="6312047" y="699841"/>
                    <a:pt x="6317923" y="747497"/>
                  </a:cubicBezTo>
                  <a:moveTo>
                    <a:pt x="6508188" y="872890"/>
                  </a:moveTo>
                  <a:cubicBezTo>
                    <a:pt x="6510094" y="851683"/>
                    <a:pt x="6510094" y="827426"/>
                    <a:pt x="6510094" y="815779"/>
                  </a:cubicBezTo>
                  <a:cubicBezTo>
                    <a:pt x="6510094" y="555909"/>
                    <a:pt x="6315700" y="359885"/>
                    <a:pt x="6057989" y="359885"/>
                  </a:cubicBezTo>
                  <a:cubicBezTo>
                    <a:pt x="5798109" y="359885"/>
                    <a:pt x="5609538" y="557084"/>
                    <a:pt x="5609538" y="828654"/>
                  </a:cubicBezTo>
                  <a:cubicBezTo>
                    <a:pt x="5609538" y="1097074"/>
                    <a:pt x="5800491" y="1291865"/>
                    <a:pt x="6063495" y="1291865"/>
                  </a:cubicBezTo>
                  <a:cubicBezTo>
                    <a:pt x="6235020" y="1291865"/>
                    <a:pt x="6386956" y="1199867"/>
                    <a:pt x="6460066" y="1051710"/>
                  </a:cubicBezTo>
                  <a:lnTo>
                    <a:pt x="6469966" y="1031572"/>
                  </a:lnTo>
                  <a:lnTo>
                    <a:pt x="6308923" y="971517"/>
                  </a:lnTo>
                  <a:lnTo>
                    <a:pt x="6300559" y="986689"/>
                  </a:lnTo>
                  <a:cubicBezTo>
                    <a:pt x="6254237" y="1068968"/>
                    <a:pt x="6161169" y="1122077"/>
                    <a:pt x="6063495" y="1122077"/>
                  </a:cubicBezTo>
                  <a:cubicBezTo>
                    <a:pt x="5977415" y="1122077"/>
                    <a:pt x="5901923" y="1083664"/>
                    <a:pt x="5850784" y="1013832"/>
                  </a:cubicBezTo>
                  <a:cubicBezTo>
                    <a:pt x="5821932" y="975900"/>
                    <a:pt x="5809438" y="945021"/>
                    <a:pt x="5802132" y="891377"/>
                  </a:cubicBezTo>
                  <a:lnTo>
                    <a:pt x="6506547" y="891377"/>
                  </a:lnTo>
                  <a:lnTo>
                    <a:pt x="6508188" y="872890"/>
                  </a:lnTo>
                  <a:close/>
                  <a:moveTo>
                    <a:pt x="7205139" y="1271563"/>
                  </a:moveTo>
                  <a:lnTo>
                    <a:pt x="7385928" y="1271563"/>
                  </a:lnTo>
                  <a:lnTo>
                    <a:pt x="7385928" y="677294"/>
                  </a:lnTo>
                  <a:cubicBezTo>
                    <a:pt x="7385928" y="554734"/>
                    <a:pt x="7365387" y="491422"/>
                    <a:pt x="7307154" y="435163"/>
                  </a:cubicBezTo>
                  <a:cubicBezTo>
                    <a:pt x="7252520" y="386599"/>
                    <a:pt x="7177557" y="359885"/>
                    <a:pt x="7096189" y="359885"/>
                  </a:cubicBezTo>
                  <a:cubicBezTo>
                    <a:pt x="7000739" y="359885"/>
                    <a:pt x="6929853" y="391193"/>
                    <a:pt x="6863625" y="463694"/>
                  </a:cubicBezTo>
                  <a:lnTo>
                    <a:pt x="6863625" y="380187"/>
                  </a:lnTo>
                  <a:lnTo>
                    <a:pt x="6682836" y="380187"/>
                  </a:lnTo>
                  <a:lnTo>
                    <a:pt x="6682836" y="1271563"/>
                  </a:lnTo>
                  <a:lnTo>
                    <a:pt x="6863625" y="1271563"/>
                  </a:lnTo>
                  <a:lnTo>
                    <a:pt x="6863625" y="732701"/>
                  </a:lnTo>
                  <a:cubicBezTo>
                    <a:pt x="6863625" y="667839"/>
                    <a:pt x="6876278" y="632147"/>
                    <a:pt x="6913971" y="591066"/>
                  </a:cubicBezTo>
                  <a:cubicBezTo>
                    <a:pt x="6951505" y="548481"/>
                    <a:pt x="7002433" y="525990"/>
                    <a:pt x="7061143" y="525990"/>
                  </a:cubicBezTo>
                  <a:cubicBezTo>
                    <a:pt x="7110748" y="525990"/>
                    <a:pt x="7155428" y="544744"/>
                    <a:pt x="7177769" y="575089"/>
                  </a:cubicBezTo>
                  <a:cubicBezTo>
                    <a:pt x="7197410" y="601215"/>
                    <a:pt x="7205139" y="638722"/>
                    <a:pt x="7205139" y="708709"/>
                  </a:cubicBezTo>
                  <a:lnTo>
                    <a:pt x="7205139" y="1271563"/>
                  </a:lnTo>
                  <a:close/>
                  <a:moveTo>
                    <a:pt x="7822309" y="162418"/>
                  </a:moveTo>
                  <a:cubicBezTo>
                    <a:pt x="7822309" y="99268"/>
                    <a:pt x="7774452" y="49847"/>
                    <a:pt x="7713412" y="49847"/>
                  </a:cubicBezTo>
                  <a:cubicBezTo>
                    <a:pt x="7650255" y="49847"/>
                    <a:pt x="7602662" y="97451"/>
                    <a:pt x="7602662" y="160549"/>
                  </a:cubicBezTo>
                  <a:cubicBezTo>
                    <a:pt x="7602662" y="223699"/>
                    <a:pt x="7649514" y="271303"/>
                    <a:pt x="7711560" y="271303"/>
                  </a:cubicBezTo>
                  <a:cubicBezTo>
                    <a:pt x="7773711" y="271303"/>
                    <a:pt x="7822309" y="223432"/>
                    <a:pt x="7822309" y="162418"/>
                  </a:cubicBezTo>
                  <a:moveTo>
                    <a:pt x="8704760" y="826838"/>
                  </a:moveTo>
                  <a:cubicBezTo>
                    <a:pt x="8704760" y="1000692"/>
                    <a:pt x="8594751" y="1122077"/>
                    <a:pt x="8437150" y="1122077"/>
                  </a:cubicBezTo>
                  <a:cubicBezTo>
                    <a:pt x="8276002" y="1122077"/>
                    <a:pt x="8167740" y="1003466"/>
                    <a:pt x="8167740" y="826838"/>
                  </a:cubicBezTo>
                  <a:cubicBezTo>
                    <a:pt x="8167740" y="649088"/>
                    <a:pt x="8276743" y="529677"/>
                    <a:pt x="8439003" y="529677"/>
                  </a:cubicBezTo>
                  <a:cubicBezTo>
                    <a:pt x="8597980" y="529677"/>
                    <a:pt x="8704760" y="649088"/>
                    <a:pt x="8704760" y="826838"/>
                  </a:cubicBezTo>
                  <a:moveTo>
                    <a:pt x="8889307" y="828654"/>
                  </a:moveTo>
                  <a:cubicBezTo>
                    <a:pt x="8889307" y="557084"/>
                    <a:pt x="8699942" y="359885"/>
                    <a:pt x="8439003" y="359885"/>
                  </a:cubicBezTo>
                  <a:cubicBezTo>
                    <a:pt x="8170652" y="359885"/>
                    <a:pt x="7983193" y="551155"/>
                    <a:pt x="7983193" y="824916"/>
                  </a:cubicBezTo>
                  <a:cubicBezTo>
                    <a:pt x="7983193" y="1099848"/>
                    <a:pt x="8168375" y="1291865"/>
                    <a:pt x="8433444" y="1291865"/>
                  </a:cubicBezTo>
                  <a:cubicBezTo>
                    <a:pt x="8689089" y="1291865"/>
                    <a:pt x="8889307" y="1088418"/>
                    <a:pt x="8889307" y="828654"/>
                  </a:cubicBezTo>
                  <a:moveTo>
                    <a:pt x="9658150" y="1197940"/>
                  </a:moveTo>
                  <a:cubicBezTo>
                    <a:pt x="9724854" y="1137144"/>
                    <a:pt x="9749630" y="1068539"/>
                    <a:pt x="9749630" y="944968"/>
                  </a:cubicBezTo>
                  <a:lnTo>
                    <a:pt x="9749630" y="380187"/>
                  </a:lnTo>
                  <a:lnTo>
                    <a:pt x="9566988" y="380187"/>
                  </a:lnTo>
                  <a:lnTo>
                    <a:pt x="9566988" y="944968"/>
                  </a:lnTo>
                  <a:cubicBezTo>
                    <a:pt x="9566988" y="1008437"/>
                    <a:pt x="9558835" y="1039587"/>
                    <a:pt x="9535012" y="1068222"/>
                  </a:cubicBezTo>
                  <a:cubicBezTo>
                    <a:pt x="9503831" y="1104284"/>
                    <a:pt x="9453009" y="1125815"/>
                    <a:pt x="9399010" y="1125815"/>
                  </a:cubicBezTo>
                  <a:cubicBezTo>
                    <a:pt x="9299060" y="1125815"/>
                    <a:pt x="9229233" y="1049947"/>
                    <a:pt x="9229233" y="941225"/>
                  </a:cubicBezTo>
                  <a:lnTo>
                    <a:pt x="9229233" y="380187"/>
                  </a:lnTo>
                  <a:lnTo>
                    <a:pt x="9048391" y="380187"/>
                  </a:lnTo>
                  <a:lnTo>
                    <a:pt x="9048391" y="944968"/>
                  </a:lnTo>
                  <a:cubicBezTo>
                    <a:pt x="9048391" y="1054330"/>
                    <a:pt x="9078249" y="1136392"/>
                    <a:pt x="9139659" y="1195965"/>
                  </a:cubicBezTo>
                  <a:cubicBezTo>
                    <a:pt x="9204563" y="1256925"/>
                    <a:pt x="9299113" y="1291865"/>
                    <a:pt x="9399010" y="1291865"/>
                  </a:cubicBezTo>
                  <a:cubicBezTo>
                    <a:pt x="9499701" y="1291865"/>
                    <a:pt x="9591763" y="1258529"/>
                    <a:pt x="9658150" y="1197945"/>
                  </a:cubicBezTo>
                  <a:moveTo>
                    <a:pt x="10385594" y="653307"/>
                  </a:moveTo>
                  <a:lnTo>
                    <a:pt x="10567335" y="653307"/>
                  </a:lnTo>
                  <a:lnTo>
                    <a:pt x="10566383" y="632041"/>
                  </a:lnTo>
                  <a:cubicBezTo>
                    <a:pt x="10558442" y="459099"/>
                    <a:pt x="10442768" y="359885"/>
                    <a:pt x="10249009" y="359885"/>
                  </a:cubicBezTo>
                  <a:cubicBezTo>
                    <a:pt x="10058003" y="359885"/>
                    <a:pt x="9929730" y="467434"/>
                    <a:pt x="9929730" y="627446"/>
                  </a:cubicBezTo>
                  <a:cubicBezTo>
                    <a:pt x="9929730" y="765666"/>
                    <a:pt x="10016922" y="850825"/>
                    <a:pt x="10212587" y="903611"/>
                  </a:cubicBezTo>
                  <a:cubicBezTo>
                    <a:pt x="10347689" y="937858"/>
                    <a:pt x="10391099" y="968955"/>
                    <a:pt x="10391099" y="1031625"/>
                  </a:cubicBezTo>
                  <a:cubicBezTo>
                    <a:pt x="10391099" y="1095576"/>
                    <a:pt x="10336730" y="1136874"/>
                    <a:pt x="10252715" y="1136874"/>
                  </a:cubicBezTo>
                  <a:cubicBezTo>
                    <a:pt x="10155517" y="1136874"/>
                    <a:pt x="10102102" y="1093384"/>
                    <a:pt x="10093843" y="1007579"/>
                  </a:cubicBezTo>
                  <a:lnTo>
                    <a:pt x="10092096" y="989257"/>
                  </a:lnTo>
                  <a:lnTo>
                    <a:pt x="9913054" y="989257"/>
                  </a:lnTo>
                  <a:lnTo>
                    <a:pt x="9915066" y="1011216"/>
                  </a:lnTo>
                  <a:cubicBezTo>
                    <a:pt x="9930789" y="1194843"/>
                    <a:pt x="10047626" y="1291865"/>
                    <a:pt x="10252715" y="1291865"/>
                  </a:cubicBezTo>
                  <a:cubicBezTo>
                    <a:pt x="10445839" y="1291865"/>
                    <a:pt x="10575647" y="1184371"/>
                    <a:pt x="10575647" y="1024303"/>
                  </a:cubicBezTo>
                  <a:cubicBezTo>
                    <a:pt x="10575647" y="956667"/>
                    <a:pt x="10548542" y="890948"/>
                    <a:pt x="10501426" y="843879"/>
                  </a:cubicBezTo>
                  <a:cubicBezTo>
                    <a:pt x="10457485" y="799913"/>
                    <a:pt x="10397028" y="770955"/>
                    <a:pt x="10285750" y="740769"/>
                  </a:cubicBezTo>
                  <a:cubicBezTo>
                    <a:pt x="10125660" y="696474"/>
                    <a:pt x="10110519" y="671471"/>
                    <a:pt x="10110519" y="616440"/>
                  </a:cubicBezTo>
                  <a:cubicBezTo>
                    <a:pt x="10110519" y="553823"/>
                    <a:pt x="10161447" y="514877"/>
                    <a:pt x="10243398" y="514877"/>
                  </a:cubicBezTo>
                  <a:cubicBezTo>
                    <a:pt x="10329795" y="514877"/>
                    <a:pt x="10385594" y="557672"/>
                    <a:pt x="10385594" y="623762"/>
                  </a:cubicBezTo>
                  <a:lnTo>
                    <a:pt x="10385594" y="653307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</p:grp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DF03C39F-962F-327C-72D5-FDE607D279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3" y="843892"/>
            <a:ext cx="4778373" cy="5511338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817FA91E-CFF5-5A36-9F75-D3028B7688A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8D52A86-D1B8-496B-34A9-E2D05373A6FE}"/>
              </a:ext>
            </a:extLst>
          </p:cNvPr>
          <p:cNvGrpSpPr/>
          <p:nvPr userDrawn="1"/>
        </p:nvGrpSpPr>
        <p:grpSpPr>
          <a:xfrm rot="5400000">
            <a:off x="-3617983" y="3323777"/>
            <a:ext cx="6854690" cy="213756"/>
            <a:chOff x="-1" y="-286346"/>
            <a:chExt cx="5820565" cy="181508"/>
          </a:xfrm>
        </p:grpSpPr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8B0CD1C2-C442-7F31-023C-85C4A6F05FC5}"/>
                </a:ext>
              </a:extLst>
            </p:cNvPr>
            <p:cNvGrpSpPr/>
            <p:nvPr userDrawn="1"/>
          </p:nvGrpSpPr>
          <p:grpSpPr>
            <a:xfrm rot="16200000">
              <a:off x="363007" y="-649354"/>
              <a:ext cx="181503" cy="907520"/>
              <a:chOff x="1319213" y="-1663170"/>
              <a:chExt cx="181503" cy="907520"/>
            </a:xfrm>
          </p:grpSpPr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4189C6CA-40EC-79CF-44BE-842149736C80}"/>
                  </a:ext>
                </a:extLst>
              </p:cNvPr>
              <p:cNvSpPr/>
              <p:nvPr/>
            </p:nvSpPr>
            <p:spPr>
              <a:xfrm>
                <a:off x="1319213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44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DB27C81C-6360-1619-C0FA-25811905EA50}"/>
                  </a:ext>
                </a:extLst>
              </p:cNvPr>
              <p:cNvSpPr/>
              <p:nvPr/>
            </p:nvSpPr>
            <p:spPr>
              <a:xfrm>
                <a:off x="1319213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69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AB61F002-C5C6-EF8A-838D-C8DB1FD0E246}"/>
                  </a:ext>
                </a:extLst>
              </p:cNvPr>
              <p:cNvSpPr/>
              <p:nvPr/>
            </p:nvSpPr>
            <p:spPr>
              <a:xfrm>
                <a:off x="1319213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FE8F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5D42F7AD-D35D-5C87-EB9E-1C6ABE8F91F6}"/>
                  </a:ext>
                </a:extLst>
              </p:cNvPr>
              <p:cNvSpPr/>
              <p:nvPr/>
            </p:nvSpPr>
            <p:spPr>
              <a:xfrm>
                <a:off x="1319213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B4B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2F936AD0-5BE2-C57C-D07A-4E583292888E}"/>
                  </a:ext>
                </a:extLst>
              </p:cNvPr>
              <p:cNvSpPr/>
              <p:nvPr/>
            </p:nvSpPr>
            <p:spPr>
              <a:xfrm>
                <a:off x="1319213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D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31057891-BCF3-8835-5469-F62B514AEA55}"/>
                </a:ext>
              </a:extLst>
            </p:cNvPr>
            <p:cNvGrpSpPr/>
            <p:nvPr userDrawn="1"/>
          </p:nvGrpSpPr>
          <p:grpSpPr>
            <a:xfrm rot="16200000">
              <a:off x="1345616" y="-649354"/>
              <a:ext cx="181503" cy="907520"/>
              <a:chOff x="1319213" y="-664912"/>
              <a:chExt cx="181503" cy="907520"/>
            </a:xfrm>
          </p:grpSpPr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9DAD5047-9613-E8A6-8DEF-9558286F890F}"/>
                  </a:ext>
                </a:extLst>
              </p:cNvPr>
              <p:cNvSpPr/>
              <p:nvPr/>
            </p:nvSpPr>
            <p:spPr>
              <a:xfrm>
                <a:off x="1319213" y="-66491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6400A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9342C6DB-D235-8CF5-1560-BDE042F1702F}"/>
                  </a:ext>
                </a:extLst>
              </p:cNvPr>
              <p:cNvSpPr/>
              <p:nvPr/>
            </p:nvSpPr>
            <p:spPr>
              <a:xfrm>
                <a:off x="1319213" y="-483404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33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195E5AEB-558E-4127-6EAE-57644ACDC3DE}"/>
                  </a:ext>
                </a:extLst>
              </p:cNvPr>
              <p:cNvSpPr/>
              <p:nvPr/>
            </p:nvSpPr>
            <p:spPr>
              <a:xfrm>
                <a:off x="1319213" y="-30189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266C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60E3F6AF-D759-0955-A079-040037D5D70C}"/>
                  </a:ext>
                </a:extLst>
              </p:cNvPr>
              <p:cNvSpPr/>
              <p:nvPr/>
            </p:nvSpPr>
            <p:spPr>
              <a:xfrm>
                <a:off x="1319213" y="-120387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199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38DF9C10-A3E7-1FCF-C15B-707B77B813D1}"/>
                  </a:ext>
                </a:extLst>
              </p:cNvPr>
              <p:cNvSpPr/>
              <p:nvPr/>
            </p:nvSpPr>
            <p:spPr>
              <a:xfrm>
                <a:off x="1319213" y="6110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0CC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2DAEB9C3-9C87-EA6D-180A-A67BCD692004}"/>
                </a:ext>
              </a:extLst>
            </p:cNvPr>
            <p:cNvGrpSpPr/>
            <p:nvPr userDrawn="1"/>
          </p:nvGrpSpPr>
          <p:grpSpPr>
            <a:xfrm rot="16200000">
              <a:off x="2328223" y="-649352"/>
              <a:ext cx="181508" cy="907520"/>
              <a:chOff x="1682219" y="-1663170"/>
              <a:chExt cx="181508" cy="907520"/>
            </a:xfrm>
          </p:grpSpPr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210900BF-77B2-7613-7F87-837856621240}"/>
                  </a:ext>
                </a:extLst>
              </p:cNvPr>
              <p:cNvSpPr/>
              <p:nvPr/>
            </p:nvSpPr>
            <p:spPr>
              <a:xfrm>
                <a:off x="1682219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CC8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A2CFF541-4D8D-9403-25ED-403F9575EE5E}"/>
                  </a:ext>
                </a:extLst>
              </p:cNvPr>
              <p:cNvSpPr/>
              <p:nvPr/>
            </p:nvSpPr>
            <p:spPr>
              <a:xfrm>
                <a:off x="1682224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3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A8023178-0C84-F65D-D530-90DAF8CA7F97}"/>
                  </a:ext>
                </a:extLst>
              </p:cNvPr>
              <p:cNvSpPr/>
              <p:nvPr/>
            </p:nvSpPr>
            <p:spPr>
              <a:xfrm>
                <a:off x="1682224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ADE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18A34DA8-8B24-1CF0-E068-0E54F530936B}"/>
                  </a:ext>
                </a:extLst>
              </p:cNvPr>
              <p:cNvSpPr/>
              <p:nvPr/>
            </p:nvSpPr>
            <p:spPr>
              <a:xfrm>
                <a:off x="1682224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E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6880F6EB-20D0-764D-54FC-AD2378E251D4}"/>
                  </a:ext>
                </a:extLst>
              </p:cNvPr>
              <p:cNvSpPr/>
              <p:nvPr/>
            </p:nvSpPr>
            <p:spPr>
              <a:xfrm>
                <a:off x="1682219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8F4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20DBD092-30A9-2997-A6A2-6E405F2897D1}"/>
                </a:ext>
              </a:extLst>
            </p:cNvPr>
            <p:cNvGrpSpPr/>
            <p:nvPr userDrawn="1"/>
          </p:nvGrpSpPr>
          <p:grpSpPr>
            <a:xfrm rot="16200000">
              <a:off x="5276052" y="-649354"/>
              <a:ext cx="181503" cy="907520"/>
              <a:chOff x="2226738" y="-1663170"/>
              <a:chExt cx="181503" cy="907520"/>
            </a:xfrm>
          </p:grpSpPr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4B6158C0-0C64-9CF2-F1D2-0F2A9E6A4892}"/>
                  </a:ext>
                </a:extLst>
              </p:cNvPr>
              <p:cNvSpPr/>
              <p:nvPr/>
            </p:nvSpPr>
            <p:spPr>
              <a:xfrm>
                <a:off x="2226738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B9E48B58-A1B3-9AD3-7519-B159AE63DBE1}"/>
                  </a:ext>
                </a:extLst>
              </p:cNvPr>
              <p:cNvSpPr/>
              <p:nvPr/>
            </p:nvSpPr>
            <p:spPr>
              <a:xfrm>
                <a:off x="2226738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5757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B958F2BD-0711-4B0E-780E-784FD7B84FB6}"/>
                  </a:ext>
                </a:extLst>
              </p:cNvPr>
              <p:cNvSpPr/>
              <p:nvPr/>
            </p:nvSpPr>
            <p:spPr>
              <a:xfrm>
                <a:off x="2226738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8787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51A08A7D-CDF4-FD08-A71B-9610D8D35876}"/>
                  </a:ext>
                </a:extLst>
              </p:cNvPr>
              <p:cNvSpPr/>
              <p:nvPr/>
            </p:nvSpPr>
            <p:spPr>
              <a:xfrm>
                <a:off x="2226738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2B2B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2183FFE5-1460-F052-C1BE-926ED80A465C}"/>
                  </a:ext>
                </a:extLst>
              </p:cNvPr>
              <p:cNvSpPr/>
              <p:nvPr/>
            </p:nvSpPr>
            <p:spPr>
              <a:xfrm>
                <a:off x="2226738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DA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D99E9029-F2FC-2529-5551-85132E2A8499}"/>
                </a:ext>
              </a:extLst>
            </p:cNvPr>
            <p:cNvGrpSpPr/>
            <p:nvPr userDrawn="1"/>
          </p:nvGrpSpPr>
          <p:grpSpPr>
            <a:xfrm rot="16200000">
              <a:off x="3310834" y="-649354"/>
              <a:ext cx="181503" cy="907520"/>
              <a:chOff x="1863727" y="-1663170"/>
              <a:chExt cx="181503" cy="907520"/>
            </a:xfrm>
          </p:grpSpPr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9084BB4B-F719-9C86-7498-052FBEF92CE5}"/>
                  </a:ext>
                </a:extLst>
              </p:cNvPr>
              <p:cNvSpPr/>
              <p:nvPr/>
            </p:nvSpPr>
            <p:spPr>
              <a:xfrm>
                <a:off x="1863727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2A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31A1E984-45BE-8B7E-E08B-BEF4B5FFC785}"/>
                  </a:ext>
                </a:extLst>
              </p:cNvPr>
              <p:cNvSpPr/>
              <p:nvPr/>
            </p:nvSpPr>
            <p:spPr>
              <a:xfrm>
                <a:off x="1863727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5DB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27B4E5BE-3947-FCED-FB86-89EC888A22A6}"/>
                  </a:ext>
                </a:extLst>
              </p:cNvPr>
              <p:cNvSpPr/>
              <p:nvPr/>
            </p:nvSpPr>
            <p:spPr>
              <a:xfrm>
                <a:off x="1863727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8E4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4FB23033-C6F9-D116-7BB7-49F9FC454083}"/>
                  </a:ext>
                </a:extLst>
              </p:cNvPr>
              <p:cNvSpPr/>
              <p:nvPr/>
            </p:nvSpPr>
            <p:spPr>
              <a:xfrm>
                <a:off x="1863727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ED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29A7D2CB-79F7-282F-8896-CEEBC9B2F26A}"/>
                  </a:ext>
                </a:extLst>
              </p:cNvPr>
              <p:cNvSpPr/>
              <p:nvPr/>
            </p:nvSpPr>
            <p:spPr>
              <a:xfrm>
                <a:off x="1863727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DF6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8F7196E-576E-0917-35D1-85DDDA4DF9FA}"/>
                </a:ext>
              </a:extLst>
            </p:cNvPr>
            <p:cNvGrpSpPr/>
            <p:nvPr userDrawn="1"/>
          </p:nvGrpSpPr>
          <p:grpSpPr>
            <a:xfrm rot="16200000">
              <a:off x="4293441" y="-649352"/>
              <a:ext cx="181508" cy="907520"/>
              <a:chOff x="2045230" y="-1663170"/>
              <a:chExt cx="181508" cy="907520"/>
            </a:xfrm>
          </p:grpSpPr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BEAA7B62-2C43-FA70-8DA9-166669118CF5}"/>
                  </a:ext>
                </a:extLst>
              </p:cNvPr>
              <p:cNvSpPr/>
              <p:nvPr/>
            </p:nvSpPr>
            <p:spPr>
              <a:xfrm>
                <a:off x="2045230" y="-937158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9F7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F8A36294-42F6-3BA1-1622-3DE1FA2DC6D8}"/>
                  </a:ext>
                </a:extLst>
              </p:cNvPr>
              <p:cNvSpPr/>
              <p:nvPr/>
            </p:nvSpPr>
            <p:spPr>
              <a:xfrm>
                <a:off x="2045230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FED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45E18421-25D5-427A-0C83-1435A6A29A0C}"/>
                  </a:ext>
                </a:extLst>
              </p:cNvPr>
              <p:cNvSpPr/>
              <p:nvPr/>
            </p:nvSpPr>
            <p:spPr>
              <a:xfrm>
                <a:off x="2045230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5E3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33AE5B9F-94E7-27E1-3B04-4D12417CE6CD}"/>
                  </a:ext>
                </a:extLst>
              </p:cNvPr>
              <p:cNvSpPr/>
              <p:nvPr/>
            </p:nvSpPr>
            <p:spPr>
              <a:xfrm>
                <a:off x="2045230" y="-1663170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CFC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B78BE13C-81C3-4BFD-9BC2-15F7EBABA7BC}"/>
                  </a:ext>
                </a:extLst>
              </p:cNvPr>
              <p:cNvSpPr/>
              <p:nvPr/>
            </p:nvSpPr>
            <p:spPr>
              <a:xfrm>
                <a:off x="2045230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BD9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3697009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(sand) and Text 1/2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73236799-8186-158A-F3A4-9E2D432B77EB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54812" y="843891"/>
            <a:ext cx="4778374" cy="55106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DF03C39F-962F-327C-72D5-FDE607D279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3" y="843892"/>
            <a:ext cx="4778373" cy="5511338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817FA91E-CFF5-5A36-9F75-D3028B7688A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E63B9C6-9F91-5819-76A9-F226215879EE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0415668" y="503483"/>
            <a:ext cx="1289916" cy="180000"/>
            <a:chOff x="-161925" y="-1630732"/>
            <a:chExt cx="12193587" cy="1701544"/>
          </a:xfrm>
          <a:solidFill>
            <a:schemeClr val="accent2"/>
          </a:solidFill>
        </p:grpSpPr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6CCA6ABD-6B52-9541-14B0-C3A5DD4DC325}"/>
                </a:ext>
              </a:extLst>
            </p:cNvPr>
            <p:cNvSpPr/>
            <p:nvPr/>
          </p:nvSpPr>
          <p:spPr bwMode="gray">
            <a:xfrm>
              <a:off x="10774928" y="-1247713"/>
              <a:ext cx="1256734" cy="356304"/>
            </a:xfrm>
            <a:custGeom>
              <a:avLst/>
              <a:gdLst>
                <a:gd name="connsiteX0" fmla="*/ 1226823 w 1256734"/>
                <a:gd name="connsiteY0" fmla="*/ 269166 h 356304"/>
                <a:gd name="connsiteX1" fmla="*/ 1133491 w 1256734"/>
                <a:gd name="connsiteY1" fmla="*/ 316610 h 356304"/>
                <a:gd name="connsiteX2" fmla="*/ 1010248 w 1256734"/>
                <a:gd name="connsiteY2" fmla="*/ 178448 h 356304"/>
                <a:gd name="connsiteX3" fmla="*/ 1131426 w 1256734"/>
                <a:gd name="connsiteY3" fmla="*/ 39696 h 356304"/>
                <a:gd name="connsiteX4" fmla="*/ 1226823 w 1256734"/>
                <a:gd name="connsiteY4" fmla="*/ 86659 h 356304"/>
                <a:gd name="connsiteX5" fmla="*/ 1256735 w 1256734"/>
                <a:gd name="connsiteY5" fmla="*/ 58823 h 356304"/>
                <a:gd name="connsiteX6" fmla="*/ 1216553 w 1256734"/>
                <a:gd name="connsiteY6" fmla="*/ 23241 h 356304"/>
                <a:gd name="connsiteX7" fmla="*/ 1130420 w 1256734"/>
                <a:gd name="connsiteY7" fmla="*/ 0 h 356304"/>
                <a:gd name="connsiteX8" fmla="*/ 965885 w 1256734"/>
                <a:gd name="connsiteY8" fmla="*/ 178448 h 356304"/>
                <a:gd name="connsiteX9" fmla="*/ 1011783 w 1256734"/>
                <a:gd name="connsiteY9" fmla="*/ 305763 h 356304"/>
                <a:gd name="connsiteX10" fmla="*/ 1129892 w 1256734"/>
                <a:gd name="connsiteY10" fmla="*/ 356305 h 356304"/>
                <a:gd name="connsiteX11" fmla="*/ 1255676 w 1256734"/>
                <a:gd name="connsiteY11" fmla="*/ 298071 h 356304"/>
                <a:gd name="connsiteX12" fmla="*/ 1226823 w 1256734"/>
                <a:gd name="connsiteY12" fmla="*/ 269166 h 356304"/>
                <a:gd name="connsiteX13" fmla="*/ 679216 w 1256734"/>
                <a:gd name="connsiteY13" fmla="*/ 197999 h 356304"/>
                <a:gd name="connsiteX14" fmla="*/ 846824 w 1256734"/>
                <a:gd name="connsiteY14" fmla="*/ 197999 h 356304"/>
                <a:gd name="connsiteX15" fmla="*/ 846824 w 1256734"/>
                <a:gd name="connsiteY15" fmla="*/ 350105 h 356304"/>
                <a:gd name="connsiteX16" fmla="*/ 890075 w 1256734"/>
                <a:gd name="connsiteY16" fmla="*/ 350105 h 356304"/>
                <a:gd name="connsiteX17" fmla="*/ 890075 w 1256734"/>
                <a:gd name="connsiteY17" fmla="*/ 6198 h 356304"/>
                <a:gd name="connsiteX18" fmla="*/ 846824 w 1256734"/>
                <a:gd name="connsiteY18" fmla="*/ 6198 h 356304"/>
                <a:gd name="connsiteX19" fmla="*/ 846824 w 1256734"/>
                <a:gd name="connsiteY19" fmla="*/ 160920 h 356304"/>
                <a:gd name="connsiteX20" fmla="*/ 679216 w 1256734"/>
                <a:gd name="connsiteY20" fmla="*/ 160920 h 356304"/>
                <a:gd name="connsiteX21" fmla="*/ 679216 w 1256734"/>
                <a:gd name="connsiteY21" fmla="*/ 6198 h 356304"/>
                <a:gd name="connsiteX22" fmla="*/ 635912 w 1256734"/>
                <a:gd name="connsiteY22" fmla="*/ 6198 h 356304"/>
                <a:gd name="connsiteX23" fmla="*/ 635912 w 1256734"/>
                <a:gd name="connsiteY23" fmla="*/ 350105 h 356304"/>
                <a:gd name="connsiteX24" fmla="*/ 679216 w 1256734"/>
                <a:gd name="connsiteY24" fmla="*/ 350105 h 356304"/>
                <a:gd name="connsiteX25" fmla="*/ 679216 w 1256734"/>
                <a:gd name="connsiteY25" fmla="*/ 197999 h 356304"/>
                <a:gd name="connsiteX26" fmla="*/ 392018 w 1256734"/>
                <a:gd name="connsiteY26" fmla="*/ 40230 h 356304"/>
                <a:gd name="connsiteX27" fmla="*/ 476563 w 1256734"/>
                <a:gd name="connsiteY27" fmla="*/ 75813 h 356304"/>
                <a:gd name="connsiteX28" fmla="*/ 515792 w 1256734"/>
                <a:gd name="connsiteY28" fmla="*/ 181011 h 356304"/>
                <a:gd name="connsiteX29" fmla="*/ 482758 w 1256734"/>
                <a:gd name="connsiteY29" fmla="*/ 275365 h 356304"/>
                <a:gd name="connsiteX30" fmla="*/ 390960 w 1256734"/>
                <a:gd name="connsiteY30" fmla="*/ 316610 h 356304"/>
                <a:gd name="connsiteX31" fmla="*/ 267239 w 1256734"/>
                <a:gd name="connsiteY31" fmla="*/ 178448 h 356304"/>
                <a:gd name="connsiteX32" fmla="*/ 392018 w 1256734"/>
                <a:gd name="connsiteY32" fmla="*/ 40230 h 356304"/>
                <a:gd name="connsiteX33" fmla="*/ 393077 w 1256734"/>
                <a:gd name="connsiteY33" fmla="*/ 0 h 356304"/>
                <a:gd name="connsiteX34" fmla="*/ 222876 w 1256734"/>
                <a:gd name="connsiteY34" fmla="*/ 179994 h 356304"/>
                <a:gd name="connsiteX35" fmla="*/ 258982 w 1256734"/>
                <a:gd name="connsiteY35" fmla="*/ 291872 h 356304"/>
                <a:gd name="connsiteX36" fmla="*/ 392018 w 1256734"/>
                <a:gd name="connsiteY36" fmla="*/ 356305 h 356304"/>
                <a:gd name="connsiteX37" fmla="*/ 501868 w 1256734"/>
                <a:gd name="connsiteY37" fmla="*/ 315059 h 356304"/>
                <a:gd name="connsiteX38" fmla="*/ 560155 w 1256734"/>
                <a:gd name="connsiteY38" fmla="*/ 181545 h 356304"/>
                <a:gd name="connsiteX39" fmla="*/ 519921 w 1256734"/>
                <a:gd name="connsiteY39" fmla="*/ 59304 h 356304"/>
                <a:gd name="connsiteX40" fmla="*/ 393077 w 1256734"/>
                <a:gd name="connsiteY40" fmla="*/ 0 h 356304"/>
                <a:gd name="connsiteX41" fmla="*/ 43306 w 1256734"/>
                <a:gd name="connsiteY41" fmla="*/ 310946 h 356304"/>
                <a:gd name="connsiteX42" fmla="*/ 43306 w 1256734"/>
                <a:gd name="connsiteY42" fmla="*/ 6198 h 356304"/>
                <a:gd name="connsiteX43" fmla="*/ 0 w 1256734"/>
                <a:gd name="connsiteY43" fmla="*/ 6198 h 356304"/>
                <a:gd name="connsiteX44" fmla="*/ 0 w 1256734"/>
                <a:gd name="connsiteY44" fmla="*/ 350105 h 356304"/>
                <a:gd name="connsiteX45" fmla="*/ 194237 w 1256734"/>
                <a:gd name="connsiteY45" fmla="*/ 350105 h 356304"/>
                <a:gd name="connsiteX46" fmla="*/ 194237 w 1256734"/>
                <a:gd name="connsiteY46" fmla="*/ 310946 h 356304"/>
                <a:gd name="connsiteX47" fmla="*/ 43306 w 1256734"/>
                <a:gd name="connsiteY47" fmla="*/ 310946 h 35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256734" h="356304">
                  <a:moveTo>
                    <a:pt x="1226823" y="269166"/>
                  </a:moveTo>
                  <a:cubicBezTo>
                    <a:pt x="1200037" y="301650"/>
                    <a:pt x="1171131" y="316610"/>
                    <a:pt x="1133491" y="316610"/>
                  </a:cubicBezTo>
                  <a:cubicBezTo>
                    <a:pt x="1062341" y="316610"/>
                    <a:pt x="1010248" y="258371"/>
                    <a:pt x="1010248" y="178448"/>
                  </a:cubicBezTo>
                  <a:cubicBezTo>
                    <a:pt x="1010248" y="97985"/>
                    <a:pt x="1061334" y="39696"/>
                    <a:pt x="1131426" y="39696"/>
                  </a:cubicBezTo>
                  <a:cubicBezTo>
                    <a:pt x="1168008" y="39696"/>
                    <a:pt x="1193313" y="52092"/>
                    <a:pt x="1226823" y="86659"/>
                  </a:cubicBezTo>
                  <a:lnTo>
                    <a:pt x="1256735" y="58823"/>
                  </a:lnTo>
                  <a:cubicBezTo>
                    <a:pt x="1239742" y="40230"/>
                    <a:pt x="1230424" y="32003"/>
                    <a:pt x="1216553" y="23241"/>
                  </a:cubicBezTo>
                  <a:cubicBezTo>
                    <a:pt x="1191725" y="8281"/>
                    <a:pt x="1161338" y="0"/>
                    <a:pt x="1130420" y="0"/>
                  </a:cubicBezTo>
                  <a:cubicBezTo>
                    <a:pt x="1035500" y="0"/>
                    <a:pt x="965885" y="75279"/>
                    <a:pt x="965885" y="178448"/>
                  </a:cubicBezTo>
                  <a:cubicBezTo>
                    <a:pt x="965885" y="226369"/>
                    <a:pt x="982931" y="273279"/>
                    <a:pt x="1011783" y="305763"/>
                  </a:cubicBezTo>
                  <a:cubicBezTo>
                    <a:pt x="1041165" y="338782"/>
                    <a:pt x="1081928" y="356305"/>
                    <a:pt x="1129892" y="356305"/>
                  </a:cubicBezTo>
                  <a:cubicBezTo>
                    <a:pt x="1182990" y="356305"/>
                    <a:pt x="1221107" y="338782"/>
                    <a:pt x="1255676" y="298071"/>
                  </a:cubicBezTo>
                  <a:lnTo>
                    <a:pt x="1226823" y="269166"/>
                  </a:lnTo>
                  <a:close/>
                  <a:moveTo>
                    <a:pt x="679216" y="197999"/>
                  </a:moveTo>
                  <a:lnTo>
                    <a:pt x="846824" y="197999"/>
                  </a:lnTo>
                  <a:lnTo>
                    <a:pt x="846824" y="350105"/>
                  </a:lnTo>
                  <a:lnTo>
                    <a:pt x="890075" y="350105"/>
                  </a:lnTo>
                  <a:lnTo>
                    <a:pt x="890075" y="6198"/>
                  </a:lnTo>
                  <a:lnTo>
                    <a:pt x="846824" y="6198"/>
                  </a:lnTo>
                  <a:lnTo>
                    <a:pt x="846824" y="160920"/>
                  </a:lnTo>
                  <a:lnTo>
                    <a:pt x="679216" y="160920"/>
                  </a:lnTo>
                  <a:lnTo>
                    <a:pt x="679216" y="6198"/>
                  </a:lnTo>
                  <a:lnTo>
                    <a:pt x="635912" y="6198"/>
                  </a:lnTo>
                  <a:lnTo>
                    <a:pt x="635912" y="350105"/>
                  </a:lnTo>
                  <a:lnTo>
                    <a:pt x="679216" y="350105"/>
                  </a:lnTo>
                  <a:lnTo>
                    <a:pt x="679216" y="197999"/>
                  </a:lnTo>
                  <a:close/>
                  <a:moveTo>
                    <a:pt x="392018" y="40230"/>
                  </a:moveTo>
                  <a:cubicBezTo>
                    <a:pt x="422459" y="40230"/>
                    <a:pt x="453904" y="53641"/>
                    <a:pt x="476563" y="75813"/>
                  </a:cubicBezTo>
                  <a:cubicBezTo>
                    <a:pt x="503404" y="101618"/>
                    <a:pt x="515792" y="135117"/>
                    <a:pt x="515792" y="181011"/>
                  </a:cubicBezTo>
                  <a:cubicBezTo>
                    <a:pt x="515792" y="216057"/>
                    <a:pt x="502874" y="253189"/>
                    <a:pt x="482758" y="275365"/>
                  </a:cubicBezTo>
                  <a:cubicBezTo>
                    <a:pt x="459569" y="301650"/>
                    <a:pt x="425530" y="316610"/>
                    <a:pt x="390960" y="316610"/>
                  </a:cubicBezTo>
                  <a:cubicBezTo>
                    <a:pt x="319809" y="316610"/>
                    <a:pt x="267239" y="258371"/>
                    <a:pt x="267239" y="178448"/>
                  </a:cubicBezTo>
                  <a:cubicBezTo>
                    <a:pt x="267239" y="99000"/>
                    <a:pt x="320338" y="40230"/>
                    <a:pt x="392018" y="40230"/>
                  </a:cubicBezTo>
                  <a:moveTo>
                    <a:pt x="393077" y="0"/>
                  </a:moveTo>
                  <a:cubicBezTo>
                    <a:pt x="295615" y="0"/>
                    <a:pt x="222876" y="77362"/>
                    <a:pt x="222876" y="179994"/>
                  </a:cubicBezTo>
                  <a:cubicBezTo>
                    <a:pt x="222876" y="223273"/>
                    <a:pt x="235318" y="261956"/>
                    <a:pt x="258982" y="291872"/>
                  </a:cubicBezTo>
                  <a:cubicBezTo>
                    <a:pt x="290957" y="332101"/>
                    <a:pt x="340985" y="356305"/>
                    <a:pt x="392018" y="356305"/>
                  </a:cubicBezTo>
                  <a:cubicBezTo>
                    <a:pt x="431723" y="356305"/>
                    <a:pt x="470899" y="341879"/>
                    <a:pt x="501868" y="315059"/>
                  </a:cubicBezTo>
                  <a:cubicBezTo>
                    <a:pt x="539509" y="283110"/>
                    <a:pt x="560155" y="235131"/>
                    <a:pt x="560155" y="181545"/>
                  </a:cubicBezTo>
                  <a:cubicBezTo>
                    <a:pt x="560155" y="129935"/>
                    <a:pt x="547715" y="91788"/>
                    <a:pt x="519921" y="59304"/>
                  </a:cubicBezTo>
                  <a:cubicBezTo>
                    <a:pt x="486886" y="21691"/>
                    <a:pt x="440988" y="0"/>
                    <a:pt x="393077" y="0"/>
                  </a:cubicBezTo>
                  <a:moveTo>
                    <a:pt x="43306" y="310946"/>
                  </a:moveTo>
                  <a:lnTo>
                    <a:pt x="43306" y="6198"/>
                  </a:lnTo>
                  <a:lnTo>
                    <a:pt x="0" y="6198"/>
                  </a:lnTo>
                  <a:lnTo>
                    <a:pt x="0" y="350105"/>
                  </a:lnTo>
                  <a:lnTo>
                    <a:pt x="194237" y="350105"/>
                  </a:lnTo>
                  <a:lnTo>
                    <a:pt x="194237" y="310946"/>
                  </a:lnTo>
                  <a:lnTo>
                    <a:pt x="43306" y="310946"/>
                  </a:lnTo>
                  <a:close/>
                </a:path>
              </a:pathLst>
            </a:custGeom>
            <a:solidFill>
              <a:schemeClr val="accent2"/>
            </a:solidFill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9AFF639E-F834-E506-35C1-D270497CAAA9}"/>
                </a:ext>
              </a:extLst>
            </p:cNvPr>
            <p:cNvSpPr/>
            <p:nvPr/>
          </p:nvSpPr>
          <p:spPr bwMode="gray">
            <a:xfrm>
              <a:off x="-161925" y="-1630732"/>
              <a:ext cx="10575647" cy="1701544"/>
            </a:xfrm>
            <a:custGeom>
              <a:avLst/>
              <a:gdLst>
                <a:gd name="connsiteX0" fmla="*/ 7802033 w 10575647"/>
                <a:gd name="connsiteY0" fmla="*/ 380187 h 1701544"/>
                <a:gd name="connsiteX1" fmla="*/ 7621138 w 10575647"/>
                <a:gd name="connsiteY1" fmla="*/ 380187 h 1701544"/>
                <a:gd name="connsiteX2" fmla="*/ 7621138 w 10575647"/>
                <a:gd name="connsiteY2" fmla="*/ 1271563 h 1701544"/>
                <a:gd name="connsiteX3" fmla="*/ 7802033 w 10575647"/>
                <a:gd name="connsiteY3" fmla="*/ 1271563 h 1701544"/>
                <a:gd name="connsiteX4" fmla="*/ 7802033 w 10575647"/>
                <a:gd name="connsiteY4" fmla="*/ 380187 h 1701544"/>
                <a:gd name="connsiteX5" fmla="*/ 706522 w 10575647"/>
                <a:gd name="connsiteY5" fmla="*/ 1271563 h 1701544"/>
                <a:gd name="connsiteX6" fmla="*/ 902065 w 10575647"/>
                <a:gd name="connsiteY6" fmla="*/ 1271563 h 1701544"/>
                <a:gd name="connsiteX7" fmla="*/ 902065 w 10575647"/>
                <a:gd name="connsiteY7" fmla="*/ 0 h 1701544"/>
                <a:gd name="connsiteX8" fmla="*/ 706522 w 10575647"/>
                <a:gd name="connsiteY8" fmla="*/ 0 h 1701544"/>
                <a:gd name="connsiteX9" fmla="*/ 706522 w 10575647"/>
                <a:gd name="connsiteY9" fmla="*/ 553717 h 1701544"/>
                <a:gd name="connsiteX10" fmla="*/ 195543 w 10575647"/>
                <a:gd name="connsiteY10" fmla="*/ 553717 h 1701544"/>
                <a:gd name="connsiteX11" fmla="*/ 195543 w 10575647"/>
                <a:gd name="connsiteY11" fmla="*/ 0 h 1701544"/>
                <a:gd name="connsiteX12" fmla="*/ 0 w 10575647"/>
                <a:gd name="connsiteY12" fmla="*/ 0 h 1701544"/>
                <a:gd name="connsiteX13" fmla="*/ 0 w 10575647"/>
                <a:gd name="connsiteY13" fmla="*/ 1271563 h 1701544"/>
                <a:gd name="connsiteX14" fmla="*/ 195543 w 10575647"/>
                <a:gd name="connsiteY14" fmla="*/ 1271563 h 1701544"/>
                <a:gd name="connsiteX15" fmla="*/ 195543 w 10575647"/>
                <a:gd name="connsiteY15" fmla="*/ 727142 h 1701544"/>
                <a:gd name="connsiteX16" fmla="*/ 706522 w 10575647"/>
                <a:gd name="connsiteY16" fmla="*/ 727142 h 1701544"/>
                <a:gd name="connsiteX17" fmla="*/ 706522 w 10575647"/>
                <a:gd name="connsiteY17" fmla="*/ 1271563 h 1701544"/>
                <a:gd name="connsiteX18" fmla="*/ 1306185 w 10575647"/>
                <a:gd name="connsiteY18" fmla="*/ 1690649 h 1701544"/>
                <a:gd name="connsiteX19" fmla="*/ 1654904 w 10575647"/>
                <a:gd name="connsiteY19" fmla="*/ 1036061 h 1701544"/>
                <a:gd name="connsiteX20" fmla="*/ 1306185 w 10575647"/>
                <a:gd name="connsiteY20" fmla="*/ 381469 h 1701544"/>
                <a:gd name="connsiteX21" fmla="*/ 1090234 w 10575647"/>
                <a:gd name="connsiteY21" fmla="*/ 381469 h 1701544"/>
                <a:gd name="connsiteX22" fmla="*/ 1438900 w 10575647"/>
                <a:gd name="connsiteY22" fmla="*/ 1036061 h 1701544"/>
                <a:gd name="connsiteX23" fmla="*/ 1090234 w 10575647"/>
                <a:gd name="connsiteY23" fmla="*/ 1690649 h 1701544"/>
                <a:gd name="connsiteX24" fmla="*/ 1306185 w 10575647"/>
                <a:gd name="connsiteY24" fmla="*/ 1690649 h 1701544"/>
                <a:gd name="connsiteX25" fmla="*/ 2581808 w 10575647"/>
                <a:gd name="connsiteY25" fmla="*/ 828654 h 1701544"/>
                <a:gd name="connsiteX26" fmla="*/ 2317883 w 10575647"/>
                <a:gd name="connsiteY26" fmla="*/ 1129505 h 1701544"/>
                <a:gd name="connsiteX27" fmla="*/ 2065011 w 10575647"/>
                <a:gd name="connsiteY27" fmla="*/ 832338 h 1701544"/>
                <a:gd name="connsiteX28" fmla="*/ 2327068 w 10575647"/>
                <a:gd name="connsiteY28" fmla="*/ 525990 h 1701544"/>
                <a:gd name="connsiteX29" fmla="*/ 2581808 w 10575647"/>
                <a:gd name="connsiteY29" fmla="*/ 828654 h 1701544"/>
                <a:gd name="connsiteX30" fmla="*/ 2581808 w 10575647"/>
                <a:gd name="connsiteY30" fmla="*/ 1271563 h 1701544"/>
                <a:gd name="connsiteX31" fmla="*/ 2762608 w 10575647"/>
                <a:gd name="connsiteY31" fmla="*/ 1271563 h 1701544"/>
                <a:gd name="connsiteX32" fmla="*/ 2762608 w 10575647"/>
                <a:gd name="connsiteY32" fmla="*/ 0 h 1701544"/>
                <a:gd name="connsiteX33" fmla="*/ 2581808 w 10575647"/>
                <a:gd name="connsiteY33" fmla="*/ 0 h 1701544"/>
                <a:gd name="connsiteX34" fmla="*/ 2581808 w 10575647"/>
                <a:gd name="connsiteY34" fmla="*/ 476356 h 1701544"/>
                <a:gd name="connsiteX35" fmla="*/ 2297581 w 10575647"/>
                <a:gd name="connsiteY35" fmla="*/ 359885 h 1701544"/>
                <a:gd name="connsiteX36" fmla="*/ 1876785 w 10575647"/>
                <a:gd name="connsiteY36" fmla="*/ 830470 h 1701544"/>
                <a:gd name="connsiteX37" fmla="*/ 2297581 w 10575647"/>
                <a:gd name="connsiteY37" fmla="*/ 1291865 h 1701544"/>
                <a:gd name="connsiteX38" fmla="*/ 2581808 w 10575647"/>
                <a:gd name="connsiteY38" fmla="*/ 1163217 h 1701544"/>
                <a:gd name="connsiteX39" fmla="*/ 2581808 w 10575647"/>
                <a:gd name="connsiteY39" fmla="*/ 1271563 h 1701544"/>
                <a:gd name="connsiteX40" fmla="*/ 3437445 w 10575647"/>
                <a:gd name="connsiteY40" fmla="*/ 542393 h 1701544"/>
                <a:gd name="connsiteX41" fmla="*/ 3460310 w 10575647"/>
                <a:gd name="connsiteY41" fmla="*/ 545331 h 1701544"/>
                <a:gd name="connsiteX42" fmla="*/ 3460310 w 10575647"/>
                <a:gd name="connsiteY42" fmla="*/ 359885 h 1701544"/>
                <a:gd name="connsiteX43" fmla="*/ 3406830 w 10575647"/>
                <a:gd name="connsiteY43" fmla="*/ 359885 h 1701544"/>
                <a:gd name="connsiteX44" fmla="*/ 3231965 w 10575647"/>
                <a:gd name="connsiteY44" fmla="*/ 415877 h 1701544"/>
                <a:gd name="connsiteX45" fmla="*/ 3187194 w 10575647"/>
                <a:gd name="connsiteY45" fmla="*/ 462091 h 1701544"/>
                <a:gd name="connsiteX46" fmla="*/ 3187194 w 10575647"/>
                <a:gd name="connsiteY46" fmla="*/ 380187 h 1701544"/>
                <a:gd name="connsiteX47" fmla="*/ 3006395 w 10575647"/>
                <a:gd name="connsiteY47" fmla="*/ 380187 h 1701544"/>
                <a:gd name="connsiteX48" fmla="*/ 3006395 w 10575647"/>
                <a:gd name="connsiteY48" fmla="*/ 1271563 h 1701544"/>
                <a:gd name="connsiteX49" fmla="*/ 3187194 w 10575647"/>
                <a:gd name="connsiteY49" fmla="*/ 1271563 h 1701544"/>
                <a:gd name="connsiteX50" fmla="*/ 3187194 w 10575647"/>
                <a:gd name="connsiteY50" fmla="*/ 819411 h 1701544"/>
                <a:gd name="connsiteX51" fmla="*/ 3233517 w 10575647"/>
                <a:gd name="connsiteY51" fmla="*/ 629638 h 1701544"/>
                <a:gd name="connsiteX52" fmla="*/ 3401277 w 10575647"/>
                <a:gd name="connsiteY52" fmla="*/ 540683 h 1701544"/>
                <a:gd name="connsiteX53" fmla="*/ 3437445 w 10575647"/>
                <a:gd name="connsiteY53" fmla="*/ 542393 h 1701544"/>
                <a:gd name="connsiteX54" fmla="*/ 4250980 w 10575647"/>
                <a:gd name="connsiteY54" fmla="*/ 826838 h 1701544"/>
                <a:gd name="connsiteX55" fmla="*/ 3983364 w 10575647"/>
                <a:gd name="connsiteY55" fmla="*/ 1122077 h 1701544"/>
                <a:gd name="connsiteX56" fmla="*/ 3713875 w 10575647"/>
                <a:gd name="connsiteY56" fmla="*/ 826838 h 1701544"/>
                <a:gd name="connsiteX57" fmla="*/ 3985180 w 10575647"/>
                <a:gd name="connsiteY57" fmla="*/ 529677 h 1701544"/>
                <a:gd name="connsiteX58" fmla="*/ 4250980 w 10575647"/>
                <a:gd name="connsiteY58" fmla="*/ 826838 h 1701544"/>
                <a:gd name="connsiteX59" fmla="*/ 4435464 w 10575647"/>
                <a:gd name="connsiteY59" fmla="*/ 828654 h 1701544"/>
                <a:gd name="connsiteX60" fmla="*/ 3985180 w 10575647"/>
                <a:gd name="connsiteY60" fmla="*/ 359885 h 1701544"/>
                <a:gd name="connsiteX61" fmla="*/ 3529338 w 10575647"/>
                <a:gd name="connsiteY61" fmla="*/ 824916 h 1701544"/>
                <a:gd name="connsiteX62" fmla="*/ 3979622 w 10575647"/>
                <a:gd name="connsiteY62" fmla="*/ 1291865 h 1701544"/>
                <a:gd name="connsiteX63" fmla="*/ 4435464 w 10575647"/>
                <a:gd name="connsiteY63" fmla="*/ 828654 h 1701544"/>
                <a:gd name="connsiteX64" fmla="*/ 5261608 w 10575647"/>
                <a:gd name="connsiteY64" fmla="*/ 828654 h 1701544"/>
                <a:gd name="connsiteX65" fmla="*/ 5205508 w 10575647"/>
                <a:gd name="connsiteY65" fmla="*/ 1025854 h 1701544"/>
                <a:gd name="connsiteX66" fmla="*/ 5005052 w 10575647"/>
                <a:gd name="connsiteY66" fmla="*/ 1122077 h 1701544"/>
                <a:gd name="connsiteX67" fmla="*/ 4746675 w 10575647"/>
                <a:gd name="connsiteY67" fmla="*/ 823153 h 1701544"/>
                <a:gd name="connsiteX68" fmla="*/ 5008683 w 10575647"/>
                <a:gd name="connsiteY68" fmla="*/ 529677 h 1701544"/>
                <a:gd name="connsiteX69" fmla="*/ 5200378 w 10575647"/>
                <a:gd name="connsiteY69" fmla="*/ 617081 h 1701544"/>
                <a:gd name="connsiteX70" fmla="*/ 5261608 w 10575647"/>
                <a:gd name="connsiteY70" fmla="*/ 828654 h 1701544"/>
                <a:gd name="connsiteX71" fmla="*/ 5327264 w 10575647"/>
                <a:gd name="connsiteY71" fmla="*/ 1583314 h 1701544"/>
                <a:gd name="connsiteX72" fmla="*/ 5446113 w 10575647"/>
                <a:gd name="connsiteY72" fmla="*/ 1256819 h 1701544"/>
                <a:gd name="connsiteX73" fmla="*/ 5446113 w 10575647"/>
                <a:gd name="connsiteY73" fmla="*/ 380187 h 1701544"/>
                <a:gd name="connsiteX74" fmla="*/ 5265239 w 10575647"/>
                <a:gd name="connsiteY74" fmla="*/ 380187 h 1701544"/>
                <a:gd name="connsiteX75" fmla="*/ 5265239 w 10575647"/>
                <a:gd name="connsiteY75" fmla="*/ 488537 h 1701544"/>
                <a:gd name="connsiteX76" fmla="*/ 4982875 w 10575647"/>
                <a:gd name="connsiteY76" fmla="*/ 359885 h 1701544"/>
                <a:gd name="connsiteX77" fmla="*/ 4699394 w 10575647"/>
                <a:gd name="connsiteY77" fmla="*/ 465190 h 1701544"/>
                <a:gd name="connsiteX78" fmla="*/ 4558400 w 10575647"/>
                <a:gd name="connsiteY78" fmla="*/ 828654 h 1701544"/>
                <a:gd name="connsiteX79" fmla="*/ 4971816 w 10575647"/>
                <a:gd name="connsiteY79" fmla="*/ 1291865 h 1701544"/>
                <a:gd name="connsiteX80" fmla="*/ 5265239 w 10575647"/>
                <a:gd name="connsiteY80" fmla="*/ 1150553 h 1701544"/>
                <a:gd name="connsiteX81" fmla="*/ 5265239 w 10575647"/>
                <a:gd name="connsiteY81" fmla="*/ 1267931 h 1701544"/>
                <a:gd name="connsiteX82" fmla="*/ 5206095 w 10575647"/>
                <a:gd name="connsiteY82" fmla="*/ 1457116 h 1701544"/>
                <a:gd name="connsiteX83" fmla="*/ 4999546 w 10575647"/>
                <a:gd name="connsiteY83" fmla="*/ 1533625 h 1701544"/>
                <a:gd name="connsiteX84" fmla="*/ 4811695 w 10575647"/>
                <a:gd name="connsiteY84" fmla="*/ 1487409 h 1701544"/>
                <a:gd name="connsiteX85" fmla="*/ 4733588 w 10575647"/>
                <a:gd name="connsiteY85" fmla="*/ 1416300 h 1701544"/>
                <a:gd name="connsiteX86" fmla="*/ 4719215 w 10575647"/>
                <a:gd name="connsiteY86" fmla="*/ 1401339 h 1701544"/>
                <a:gd name="connsiteX87" fmla="*/ 4595103 w 10575647"/>
                <a:gd name="connsiteY87" fmla="*/ 1525451 h 1701544"/>
                <a:gd name="connsiteX88" fmla="*/ 4607819 w 10575647"/>
                <a:gd name="connsiteY88" fmla="*/ 1539824 h 1701544"/>
                <a:gd name="connsiteX89" fmla="*/ 4999546 w 10575647"/>
                <a:gd name="connsiteY89" fmla="*/ 1701544 h 1701544"/>
                <a:gd name="connsiteX90" fmla="*/ 5327264 w 10575647"/>
                <a:gd name="connsiteY90" fmla="*/ 1583314 h 1701544"/>
                <a:gd name="connsiteX91" fmla="*/ 6317923 w 10575647"/>
                <a:gd name="connsiteY91" fmla="*/ 747497 h 1701544"/>
                <a:gd name="connsiteX92" fmla="*/ 5805203 w 10575647"/>
                <a:gd name="connsiteY92" fmla="*/ 747497 h 1701544"/>
                <a:gd name="connsiteX93" fmla="*/ 5845913 w 10575647"/>
                <a:gd name="connsiteY93" fmla="*/ 635144 h 1701544"/>
                <a:gd name="connsiteX94" fmla="*/ 6057989 w 10575647"/>
                <a:gd name="connsiteY94" fmla="*/ 525990 h 1701544"/>
                <a:gd name="connsiteX95" fmla="*/ 6275730 w 10575647"/>
                <a:gd name="connsiteY95" fmla="*/ 633487 h 1701544"/>
                <a:gd name="connsiteX96" fmla="*/ 6317923 w 10575647"/>
                <a:gd name="connsiteY96" fmla="*/ 747497 h 1701544"/>
                <a:gd name="connsiteX97" fmla="*/ 6508188 w 10575647"/>
                <a:gd name="connsiteY97" fmla="*/ 872890 h 1701544"/>
                <a:gd name="connsiteX98" fmla="*/ 6510094 w 10575647"/>
                <a:gd name="connsiteY98" fmla="*/ 815779 h 1701544"/>
                <a:gd name="connsiteX99" fmla="*/ 6057989 w 10575647"/>
                <a:gd name="connsiteY99" fmla="*/ 359885 h 1701544"/>
                <a:gd name="connsiteX100" fmla="*/ 5609538 w 10575647"/>
                <a:gd name="connsiteY100" fmla="*/ 828654 h 1701544"/>
                <a:gd name="connsiteX101" fmla="*/ 6063495 w 10575647"/>
                <a:gd name="connsiteY101" fmla="*/ 1291865 h 1701544"/>
                <a:gd name="connsiteX102" fmla="*/ 6460066 w 10575647"/>
                <a:gd name="connsiteY102" fmla="*/ 1051710 h 1701544"/>
                <a:gd name="connsiteX103" fmla="*/ 6469966 w 10575647"/>
                <a:gd name="connsiteY103" fmla="*/ 1031572 h 1701544"/>
                <a:gd name="connsiteX104" fmla="*/ 6308923 w 10575647"/>
                <a:gd name="connsiteY104" fmla="*/ 971517 h 1701544"/>
                <a:gd name="connsiteX105" fmla="*/ 6300559 w 10575647"/>
                <a:gd name="connsiteY105" fmla="*/ 986689 h 1701544"/>
                <a:gd name="connsiteX106" fmla="*/ 6063495 w 10575647"/>
                <a:gd name="connsiteY106" fmla="*/ 1122077 h 1701544"/>
                <a:gd name="connsiteX107" fmla="*/ 5850784 w 10575647"/>
                <a:gd name="connsiteY107" fmla="*/ 1013832 h 1701544"/>
                <a:gd name="connsiteX108" fmla="*/ 5802132 w 10575647"/>
                <a:gd name="connsiteY108" fmla="*/ 891377 h 1701544"/>
                <a:gd name="connsiteX109" fmla="*/ 6506547 w 10575647"/>
                <a:gd name="connsiteY109" fmla="*/ 891377 h 1701544"/>
                <a:gd name="connsiteX110" fmla="*/ 6508188 w 10575647"/>
                <a:gd name="connsiteY110" fmla="*/ 872890 h 1701544"/>
                <a:gd name="connsiteX111" fmla="*/ 7205139 w 10575647"/>
                <a:gd name="connsiteY111" fmla="*/ 1271563 h 1701544"/>
                <a:gd name="connsiteX112" fmla="*/ 7385928 w 10575647"/>
                <a:gd name="connsiteY112" fmla="*/ 1271563 h 1701544"/>
                <a:gd name="connsiteX113" fmla="*/ 7385928 w 10575647"/>
                <a:gd name="connsiteY113" fmla="*/ 677294 h 1701544"/>
                <a:gd name="connsiteX114" fmla="*/ 7307154 w 10575647"/>
                <a:gd name="connsiteY114" fmla="*/ 435163 h 1701544"/>
                <a:gd name="connsiteX115" fmla="*/ 7096189 w 10575647"/>
                <a:gd name="connsiteY115" fmla="*/ 359885 h 1701544"/>
                <a:gd name="connsiteX116" fmla="*/ 6863625 w 10575647"/>
                <a:gd name="connsiteY116" fmla="*/ 463694 h 1701544"/>
                <a:gd name="connsiteX117" fmla="*/ 6863625 w 10575647"/>
                <a:gd name="connsiteY117" fmla="*/ 380187 h 1701544"/>
                <a:gd name="connsiteX118" fmla="*/ 6682836 w 10575647"/>
                <a:gd name="connsiteY118" fmla="*/ 380187 h 1701544"/>
                <a:gd name="connsiteX119" fmla="*/ 6682836 w 10575647"/>
                <a:gd name="connsiteY119" fmla="*/ 1271563 h 1701544"/>
                <a:gd name="connsiteX120" fmla="*/ 6863625 w 10575647"/>
                <a:gd name="connsiteY120" fmla="*/ 1271563 h 1701544"/>
                <a:gd name="connsiteX121" fmla="*/ 6863625 w 10575647"/>
                <a:gd name="connsiteY121" fmla="*/ 732701 h 1701544"/>
                <a:gd name="connsiteX122" fmla="*/ 6913971 w 10575647"/>
                <a:gd name="connsiteY122" fmla="*/ 591066 h 1701544"/>
                <a:gd name="connsiteX123" fmla="*/ 7061143 w 10575647"/>
                <a:gd name="connsiteY123" fmla="*/ 525990 h 1701544"/>
                <a:gd name="connsiteX124" fmla="*/ 7177769 w 10575647"/>
                <a:gd name="connsiteY124" fmla="*/ 575089 h 1701544"/>
                <a:gd name="connsiteX125" fmla="*/ 7205139 w 10575647"/>
                <a:gd name="connsiteY125" fmla="*/ 708709 h 1701544"/>
                <a:gd name="connsiteX126" fmla="*/ 7205139 w 10575647"/>
                <a:gd name="connsiteY126" fmla="*/ 1271563 h 1701544"/>
                <a:gd name="connsiteX127" fmla="*/ 7822309 w 10575647"/>
                <a:gd name="connsiteY127" fmla="*/ 162418 h 1701544"/>
                <a:gd name="connsiteX128" fmla="*/ 7713412 w 10575647"/>
                <a:gd name="connsiteY128" fmla="*/ 49847 h 1701544"/>
                <a:gd name="connsiteX129" fmla="*/ 7602662 w 10575647"/>
                <a:gd name="connsiteY129" fmla="*/ 160549 h 1701544"/>
                <a:gd name="connsiteX130" fmla="*/ 7711560 w 10575647"/>
                <a:gd name="connsiteY130" fmla="*/ 271303 h 1701544"/>
                <a:gd name="connsiteX131" fmla="*/ 7822309 w 10575647"/>
                <a:gd name="connsiteY131" fmla="*/ 162418 h 1701544"/>
                <a:gd name="connsiteX132" fmla="*/ 8704760 w 10575647"/>
                <a:gd name="connsiteY132" fmla="*/ 826838 h 1701544"/>
                <a:gd name="connsiteX133" fmla="*/ 8437150 w 10575647"/>
                <a:gd name="connsiteY133" fmla="*/ 1122077 h 1701544"/>
                <a:gd name="connsiteX134" fmla="*/ 8167740 w 10575647"/>
                <a:gd name="connsiteY134" fmla="*/ 826838 h 1701544"/>
                <a:gd name="connsiteX135" fmla="*/ 8439003 w 10575647"/>
                <a:gd name="connsiteY135" fmla="*/ 529677 h 1701544"/>
                <a:gd name="connsiteX136" fmla="*/ 8704760 w 10575647"/>
                <a:gd name="connsiteY136" fmla="*/ 826838 h 1701544"/>
                <a:gd name="connsiteX137" fmla="*/ 8889307 w 10575647"/>
                <a:gd name="connsiteY137" fmla="*/ 828654 h 1701544"/>
                <a:gd name="connsiteX138" fmla="*/ 8439003 w 10575647"/>
                <a:gd name="connsiteY138" fmla="*/ 359885 h 1701544"/>
                <a:gd name="connsiteX139" fmla="*/ 7983193 w 10575647"/>
                <a:gd name="connsiteY139" fmla="*/ 824916 h 1701544"/>
                <a:gd name="connsiteX140" fmla="*/ 8433444 w 10575647"/>
                <a:gd name="connsiteY140" fmla="*/ 1291865 h 1701544"/>
                <a:gd name="connsiteX141" fmla="*/ 8889307 w 10575647"/>
                <a:gd name="connsiteY141" fmla="*/ 828654 h 1701544"/>
                <a:gd name="connsiteX142" fmla="*/ 9658150 w 10575647"/>
                <a:gd name="connsiteY142" fmla="*/ 1197940 h 1701544"/>
                <a:gd name="connsiteX143" fmla="*/ 9749630 w 10575647"/>
                <a:gd name="connsiteY143" fmla="*/ 944968 h 1701544"/>
                <a:gd name="connsiteX144" fmla="*/ 9749630 w 10575647"/>
                <a:gd name="connsiteY144" fmla="*/ 380187 h 1701544"/>
                <a:gd name="connsiteX145" fmla="*/ 9566988 w 10575647"/>
                <a:gd name="connsiteY145" fmla="*/ 380187 h 1701544"/>
                <a:gd name="connsiteX146" fmla="*/ 9566988 w 10575647"/>
                <a:gd name="connsiteY146" fmla="*/ 944968 h 1701544"/>
                <a:gd name="connsiteX147" fmla="*/ 9535012 w 10575647"/>
                <a:gd name="connsiteY147" fmla="*/ 1068222 h 1701544"/>
                <a:gd name="connsiteX148" fmla="*/ 9399010 w 10575647"/>
                <a:gd name="connsiteY148" fmla="*/ 1125815 h 1701544"/>
                <a:gd name="connsiteX149" fmla="*/ 9229233 w 10575647"/>
                <a:gd name="connsiteY149" fmla="*/ 941225 h 1701544"/>
                <a:gd name="connsiteX150" fmla="*/ 9229233 w 10575647"/>
                <a:gd name="connsiteY150" fmla="*/ 380187 h 1701544"/>
                <a:gd name="connsiteX151" fmla="*/ 9048391 w 10575647"/>
                <a:gd name="connsiteY151" fmla="*/ 380187 h 1701544"/>
                <a:gd name="connsiteX152" fmla="*/ 9048391 w 10575647"/>
                <a:gd name="connsiteY152" fmla="*/ 944968 h 1701544"/>
                <a:gd name="connsiteX153" fmla="*/ 9139659 w 10575647"/>
                <a:gd name="connsiteY153" fmla="*/ 1195965 h 1701544"/>
                <a:gd name="connsiteX154" fmla="*/ 9399010 w 10575647"/>
                <a:gd name="connsiteY154" fmla="*/ 1291865 h 1701544"/>
                <a:gd name="connsiteX155" fmla="*/ 9658150 w 10575647"/>
                <a:gd name="connsiteY155" fmla="*/ 1197945 h 1701544"/>
                <a:gd name="connsiteX156" fmla="*/ 10385594 w 10575647"/>
                <a:gd name="connsiteY156" fmla="*/ 653307 h 1701544"/>
                <a:gd name="connsiteX157" fmla="*/ 10567335 w 10575647"/>
                <a:gd name="connsiteY157" fmla="*/ 653307 h 1701544"/>
                <a:gd name="connsiteX158" fmla="*/ 10566383 w 10575647"/>
                <a:gd name="connsiteY158" fmla="*/ 632041 h 1701544"/>
                <a:gd name="connsiteX159" fmla="*/ 10249009 w 10575647"/>
                <a:gd name="connsiteY159" fmla="*/ 359885 h 1701544"/>
                <a:gd name="connsiteX160" fmla="*/ 9929730 w 10575647"/>
                <a:gd name="connsiteY160" fmla="*/ 627446 h 1701544"/>
                <a:gd name="connsiteX161" fmla="*/ 10212587 w 10575647"/>
                <a:gd name="connsiteY161" fmla="*/ 903611 h 1701544"/>
                <a:gd name="connsiteX162" fmla="*/ 10391099 w 10575647"/>
                <a:gd name="connsiteY162" fmla="*/ 1031625 h 1701544"/>
                <a:gd name="connsiteX163" fmla="*/ 10252715 w 10575647"/>
                <a:gd name="connsiteY163" fmla="*/ 1136874 h 1701544"/>
                <a:gd name="connsiteX164" fmla="*/ 10093843 w 10575647"/>
                <a:gd name="connsiteY164" fmla="*/ 1007579 h 1701544"/>
                <a:gd name="connsiteX165" fmla="*/ 10092096 w 10575647"/>
                <a:gd name="connsiteY165" fmla="*/ 989257 h 1701544"/>
                <a:gd name="connsiteX166" fmla="*/ 9913054 w 10575647"/>
                <a:gd name="connsiteY166" fmla="*/ 989257 h 1701544"/>
                <a:gd name="connsiteX167" fmla="*/ 9915066 w 10575647"/>
                <a:gd name="connsiteY167" fmla="*/ 1011216 h 1701544"/>
                <a:gd name="connsiteX168" fmla="*/ 10252715 w 10575647"/>
                <a:gd name="connsiteY168" fmla="*/ 1291865 h 1701544"/>
                <a:gd name="connsiteX169" fmla="*/ 10575647 w 10575647"/>
                <a:gd name="connsiteY169" fmla="*/ 1024303 h 1701544"/>
                <a:gd name="connsiteX170" fmla="*/ 10501426 w 10575647"/>
                <a:gd name="connsiteY170" fmla="*/ 843879 h 1701544"/>
                <a:gd name="connsiteX171" fmla="*/ 10285750 w 10575647"/>
                <a:gd name="connsiteY171" fmla="*/ 740769 h 1701544"/>
                <a:gd name="connsiteX172" fmla="*/ 10110519 w 10575647"/>
                <a:gd name="connsiteY172" fmla="*/ 616440 h 1701544"/>
                <a:gd name="connsiteX173" fmla="*/ 10243398 w 10575647"/>
                <a:gd name="connsiteY173" fmla="*/ 514877 h 1701544"/>
                <a:gd name="connsiteX174" fmla="*/ 10385594 w 10575647"/>
                <a:gd name="connsiteY174" fmla="*/ 623762 h 1701544"/>
                <a:gd name="connsiteX175" fmla="*/ 10385594 w 10575647"/>
                <a:gd name="connsiteY175" fmla="*/ 653307 h 170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10575647" h="1701544">
                  <a:moveTo>
                    <a:pt x="7802033" y="380187"/>
                  </a:moveTo>
                  <a:lnTo>
                    <a:pt x="7621138" y="380187"/>
                  </a:lnTo>
                  <a:lnTo>
                    <a:pt x="7621138" y="1271563"/>
                  </a:lnTo>
                  <a:lnTo>
                    <a:pt x="7802033" y="1271563"/>
                  </a:lnTo>
                  <a:lnTo>
                    <a:pt x="7802033" y="380187"/>
                  </a:lnTo>
                  <a:close/>
                  <a:moveTo>
                    <a:pt x="706522" y="1271563"/>
                  </a:moveTo>
                  <a:lnTo>
                    <a:pt x="902065" y="1271563"/>
                  </a:lnTo>
                  <a:lnTo>
                    <a:pt x="902065" y="0"/>
                  </a:lnTo>
                  <a:lnTo>
                    <a:pt x="706522" y="0"/>
                  </a:lnTo>
                  <a:lnTo>
                    <a:pt x="706522" y="553717"/>
                  </a:lnTo>
                  <a:lnTo>
                    <a:pt x="195543" y="553717"/>
                  </a:lnTo>
                  <a:lnTo>
                    <a:pt x="195543" y="0"/>
                  </a:lnTo>
                  <a:lnTo>
                    <a:pt x="0" y="0"/>
                  </a:lnTo>
                  <a:lnTo>
                    <a:pt x="0" y="1271563"/>
                  </a:lnTo>
                  <a:lnTo>
                    <a:pt x="195543" y="1271563"/>
                  </a:lnTo>
                  <a:lnTo>
                    <a:pt x="195543" y="727142"/>
                  </a:lnTo>
                  <a:lnTo>
                    <a:pt x="706522" y="727142"/>
                  </a:lnTo>
                  <a:lnTo>
                    <a:pt x="706522" y="1271563"/>
                  </a:lnTo>
                  <a:close/>
                  <a:moveTo>
                    <a:pt x="1306185" y="1690649"/>
                  </a:moveTo>
                  <a:lnTo>
                    <a:pt x="1654904" y="1036061"/>
                  </a:lnTo>
                  <a:lnTo>
                    <a:pt x="1306185" y="381469"/>
                  </a:lnTo>
                  <a:lnTo>
                    <a:pt x="1090234" y="381469"/>
                  </a:lnTo>
                  <a:lnTo>
                    <a:pt x="1438900" y="1036061"/>
                  </a:lnTo>
                  <a:lnTo>
                    <a:pt x="1090234" y="1690649"/>
                  </a:lnTo>
                  <a:lnTo>
                    <a:pt x="1306185" y="1690649"/>
                  </a:lnTo>
                  <a:close/>
                  <a:moveTo>
                    <a:pt x="2581808" y="828654"/>
                  </a:moveTo>
                  <a:cubicBezTo>
                    <a:pt x="2581808" y="1002989"/>
                    <a:pt x="2470789" y="1129505"/>
                    <a:pt x="2317883" y="1129505"/>
                  </a:cubicBezTo>
                  <a:cubicBezTo>
                    <a:pt x="2168980" y="1129505"/>
                    <a:pt x="2065011" y="1007262"/>
                    <a:pt x="2065011" y="832338"/>
                  </a:cubicBezTo>
                  <a:cubicBezTo>
                    <a:pt x="2065011" y="649088"/>
                    <a:pt x="2170314" y="525990"/>
                    <a:pt x="2327068" y="525990"/>
                  </a:cubicBezTo>
                  <a:cubicBezTo>
                    <a:pt x="2479444" y="525990"/>
                    <a:pt x="2581808" y="647590"/>
                    <a:pt x="2581808" y="828654"/>
                  </a:cubicBezTo>
                  <a:moveTo>
                    <a:pt x="2581808" y="1271563"/>
                  </a:moveTo>
                  <a:lnTo>
                    <a:pt x="2762608" y="1271563"/>
                  </a:lnTo>
                  <a:lnTo>
                    <a:pt x="2762608" y="0"/>
                  </a:lnTo>
                  <a:lnTo>
                    <a:pt x="2581808" y="0"/>
                  </a:lnTo>
                  <a:lnTo>
                    <a:pt x="2581808" y="476356"/>
                  </a:lnTo>
                  <a:cubicBezTo>
                    <a:pt x="2503431" y="397017"/>
                    <a:pt x="2412449" y="359885"/>
                    <a:pt x="2297581" y="359885"/>
                  </a:cubicBezTo>
                  <a:cubicBezTo>
                    <a:pt x="2057690" y="359885"/>
                    <a:pt x="1876785" y="562214"/>
                    <a:pt x="1876785" y="830470"/>
                  </a:cubicBezTo>
                  <a:cubicBezTo>
                    <a:pt x="1876785" y="1102145"/>
                    <a:pt x="2049839" y="1291865"/>
                    <a:pt x="2297581" y="1291865"/>
                  </a:cubicBezTo>
                  <a:cubicBezTo>
                    <a:pt x="2414371" y="1291865"/>
                    <a:pt x="2503061" y="1251959"/>
                    <a:pt x="2581808" y="1163217"/>
                  </a:cubicBezTo>
                  <a:lnTo>
                    <a:pt x="2581808" y="1271563"/>
                  </a:lnTo>
                  <a:close/>
                  <a:moveTo>
                    <a:pt x="3437445" y="542393"/>
                  </a:moveTo>
                  <a:lnTo>
                    <a:pt x="3460310" y="545331"/>
                  </a:lnTo>
                  <a:lnTo>
                    <a:pt x="3460310" y="359885"/>
                  </a:lnTo>
                  <a:lnTo>
                    <a:pt x="3406830" y="359885"/>
                  </a:lnTo>
                  <a:cubicBezTo>
                    <a:pt x="3341169" y="359885"/>
                    <a:pt x="3277430" y="380294"/>
                    <a:pt x="3231965" y="415877"/>
                  </a:cubicBezTo>
                  <a:cubicBezTo>
                    <a:pt x="3213690" y="430035"/>
                    <a:pt x="3199693" y="444353"/>
                    <a:pt x="3187194" y="462091"/>
                  </a:cubicBezTo>
                  <a:lnTo>
                    <a:pt x="3187194" y="380187"/>
                  </a:lnTo>
                  <a:lnTo>
                    <a:pt x="3006395" y="380187"/>
                  </a:lnTo>
                  <a:lnTo>
                    <a:pt x="3006395" y="1271563"/>
                  </a:lnTo>
                  <a:lnTo>
                    <a:pt x="3187194" y="1271563"/>
                  </a:lnTo>
                  <a:lnTo>
                    <a:pt x="3187194" y="819411"/>
                  </a:lnTo>
                  <a:cubicBezTo>
                    <a:pt x="3187194" y="727783"/>
                    <a:pt x="3198894" y="679915"/>
                    <a:pt x="3233517" y="629638"/>
                  </a:cubicBezTo>
                  <a:cubicBezTo>
                    <a:pt x="3272300" y="572310"/>
                    <a:pt x="3331926" y="540683"/>
                    <a:pt x="3401277" y="540683"/>
                  </a:cubicBezTo>
                  <a:cubicBezTo>
                    <a:pt x="3410356" y="540683"/>
                    <a:pt x="3423983" y="540683"/>
                    <a:pt x="3437445" y="542393"/>
                  </a:cubicBezTo>
                  <a:moveTo>
                    <a:pt x="4250980" y="826838"/>
                  </a:moveTo>
                  <a:cubicBezTo>
                    <a:pt x="4250980" y="1000692"/>
                    <a:pt x="4140918" y="1122077"/>
                    <a:pt x="3983364" y="1122077"/>
                  </a:cubicBezTo>
                  <a:cubicBezTo>
                    <a:pt x="3822174" y="1122077"/>
                    <a:pt x="3713875" y="1003466"/>
                    <a:pt x="3713875" y="826838"/>
                  </a:cubicBezTo>
                  <a:cubicBezTo>
                    <a:pt x="3713875" y="649088"/>
                    <a:pt x="3822920" y="529677"/>
                    <a:pt x="3985180" y="529677"/>
                  </a:cubicBezTo>
                  <a:cubicBezTo>
                    <a:pt x="4144179" y="529677"/>
                    <a:pt x="4250980" y="649088"/>
                    <a:pt x="4250980" y="826838"/>
                  </a:cubicBezTo>
                  <a:moveTo>
                    <a:pt x="4435464" y="828654"/>
                  </a:moveTo>
                  <a:cubicBezTo>
                    <a:pt x="4435464" y="557084"/>
                    <a:pt x="4246120" y="359885"/>
                    <a:pt x="3985180" y="359885"/>
                  </a:cubicBezTo>
                  <a:cubicBezTo>
                    <a:pt x="3716818" y="359885"/>
                    <a:pt x="3529338" y="551155"/>
                    <a:pt x="3529338" y="824916"/>
                  </a:cubicBezTo>
                  <a:cubicBezTo>
                    <a:pt x="3529338" y="1099848"/>
                    <a:pt x="3714521" y="1291865"/>
                    <a:pt x="3979622" y="1291865"/>
                  </a:cubicBezTo>
                  <a:cubicBezTo>
                    <a:pt x="4235272" y="1291865"/>
                    <a:pt x="4435464" y="1088418"/>
                    <a:pt x="4435464" y="828654"/>
                  </a:cubicBezTo>
                  <a:moveTo>
                    <a:pt x="5261608" y="828654"/>
                  </a:moveTo>
                  <a:cubicBezTo>
                    <a:pt x="5261608" y="909382"/>
                    <a:pt x="5239596" y="986748"/>
                    <a:pt x="5205508" y="1025854"/>
                  </a:cubicBezTo>
                  <a:cubicBezTo>
                    <a:pt x="5153150" y="1087026"/>
                    <a:pt x="5080062" y="1122077"/>
                    <a:pt x="5005052" y="1122077"/>
                  </a:cubicBezTo>
                  <a:cubicBezTo>
                    <a:pt x="4855296" y="1122077"/>
                    <a:pt x="4746675" y="996361"/>
                    <a:pt x="4746675" y="823153"/>
                  </a:cubicBezTo>
                  <a:cubicBezTo>
                    <a:pt x="4746675" y="650316"/>
                    <a:pt x="4854386" y="529677"/>
                    <a:pt x="5008683" y="529677"/>
                  </a:cubicBezTo>
                  <a:cubicBezTo>
                    <a:pt x="5078193" y="529677"/>
                    <a:pt x="5151652" y="563177"/>
                    <a:pt x="5200378" y="617081"/>
                  </a:cubicBezTo>
                  <a:cubicBezTo>
                    <a:pt x="5246112" y="667892"/>
                    <a:pt x="5261608" y="721266"/>
                    <a:pt x="5261608" y="828654"/>
                  </a:cubicBezTo>
                  <a:moveTo>
                    <a:pt x="5327264" y="1583314"/>
                  </a:moveTo>
                  <a:cubicBezTo>
                    <a:pt x="5409426" y="1504990"/>
                    <a:pt x="5446113" y="1404277"/>
                    <a:pt x="5446113" y="1256819"/>
                  </a:cubicBezTo>
                  <a:lnTo>
                    <a:pt x="5446113" y="380187"/>
                  </a:lnTo>
                  <a:lnTo>
                    <a:pt x="5265239" y="380187"/>
                  </a:lnTo>
                  <a:lnTo>
                    <a:pt x="5265239" y="488537"/>
                  </a:lnTo>
                  <a:cubicBezTo>
                    <a:pt x="5186005" y="398673"/>
                    <a:pt x="5100153" y="359885"/>
                    <a:pt x="4982875" y="359885"/>
                  </a:cubicBezTo>
                  <a:cubicBezTo>
                    <a:pt x="4866567" y="359885"/>
                    <a:pt x="4771201" y="395361"/>
                    <a:pt x="4699394" y="465190"/>
                  </a:cubicBezTo>
                  <a:cubicBezTo>
                    <a:pt x="4611080" y="549710"/>
                    <a:pt x="4558400" y="685574"/>
                    <a:pt x="4558400" y="828654"/>
                  </a:cubicBezTo>
                  <a:cubicBezTo>
                    <a:pt x="4558400" y="1092743"/>
                    <a:pt x="4736097" y="1291865"/>
                    <a:pt x="4971816" y="1291865"/>
                  </a:cubicBezTo>
                  <a:cubicBezTo>
                    <a:pt x="5092032" y="1291865"/>
                    <a:pt x="5185952" y="1246830"/>
                    <a:pt x="5265239" y="1150553"/>
                  </a:cubicBezTo>
                  <a:lnTo>
                    <a:pt x="5265239" y="1267931"/>
                  </a:lnTo>
                  <a:cubicBezTo>
                    <a:pt x="5265239" y="1350745"/>
                    <a:pt x="5245313" y="1414431"/>
                    <a:pt x="5206095" y="1457116"/>
                  </a:cubicBezTo>
                  <a:cubicBezTo>
                    <a:pt x="5162288" y="1504291"/>
                    <a:pt x="5083159" y="1533625"/>
                    <a:pt x="4999546" y="1533625"/>
                  </a:cubicBezTo>
                  <a:cubicBezTo>
                    <a:pt x="4932122" y="1533625"/>
                    <a:pt x="4856471" y="1514979"/>
                    <a:pt x="4811695" y="1487409"/>
                  </a:cubicBezTo>
                  <a:cubicBezTo>
                    <a:pt x="4788777" y="1471596"/>
                    <a:pt x="4771254" y="1455624"/>
                    <a:pt x="4733588" y="1416300"/>
                  </a:cubicBezTo>
                  <a:lnTo>
                    <a:pt x="4719215" y="1401339"/>
                  </a:lnTo>
                  <a:lnTo>
                    <a:pt x="4595103" y="1525451"/>
                  </a:lnTo>
                  <a:lnTo>
                    <a:pt x="4607819" y="1539824"/>
                  </a:lnTo>
                  <a:cubicBezTo>
                    <a:pt x="4703719" y="1647106"/>
                    <a:pt x="4835528" y="1701544"/>
                    <a:pt x="4999546" y="1701544"/>
                  </a:cubicBezTo>
                  <a:cubicBezTo>
                    <a:pt x="5134664" y="1701544"/>
                    <a:pt x="5247981" y="1660675"/>
                    <a:pt x="5327264" y="1583314"/>
                  </a:cubicBezTo>
                  <a:moveTo>
                    <a:pt x="6317923" y="747497"/>
                  </a:moveTo>
                  <a:lnTo>
                    <a:pt x="5805203" y="747497"/>
                  </a:lnTo>
                  <a:cubicBezTo>
                    <a:pt x="5814785" y="696051"/>
                    <a:pt x="5825267" y="667627"/>
                    <a:pt x="5845913" y="635144"/>
                  </a:cubicBezTo>
                  <a:cubicBezTo>
                    <a:pt x="5892024" y="566756"/>
                    <a:pt x="5971327" y="525990"/>
                    <a:pt x="6057989" y="525990"/>
                  </a:cubicBezTo>
                  <a:cubicBezTo>
                    <a:pt x="6144228" y="525990"/>
                    <a:pt x="6225702" y="566274"/>
                    <a:pt x="6275730" y="633487"/>
                  </a:cubicBezTo>
                  <a:cubicBezTo>
                    <a:pt x="6300453" y="669067"/>
                    <a:pt x="6312047" y="699841"/>
                    <a:pt x="6317923" y="747497"/>
                  </a:cubicBezTo>
                  <a:moveTo>
                    <a:pt x="6508188" y="872890"/>
                  </a:moveTo>
                  <a:cubicBezTo>
                    <a:pt x="6510094" y="851683"/>
                    <a:pt x="6510094" y="827426"/>
                    <a:pt x="6510094" y="815779"/>
                  </a:cubicBezTo>
                  <a:cubicBezTo>
                    <a:pt x="6510094" y="555909"/>
                    <a:pt x="6315700" y="359885"/>
                    <a:pt x="6057989" y="359885"/>
                  </a:cubicBezTo>
                  <a:cubicBezTo>
                    <a:pt x="5798109" y="359885"/>
                    <a:pt x="5609538" y="557084"/>
                    <a:pt x="5609538" y="828654"/>
                  </a:cubicBezTo>
                  <a:cubicBezTo>
                    <a:pt x="5609538" y="1097074"/>
                    <a:pt x="5800491" y="1291865"/>
                    <a:pt x="6063495" y="1291865"/>
                  </a:cubicBezTo>
                  <a:cubicBezTo>
                    <a:pt x="6235020" y="1291865"/>
                    <a:pt x="6386956" y="1199867"/>
                    <a:pt x="6460066" y="1051710"/>
                  </a:cubicBezTo>
                  <a:lnTo>
                    <a:pt x="6469966" y="1031572"/>
                  </a:lnTo>
                  <a:lnTo>
                    <a:pt x="6308923" y="971517"/>
                  </a:lnTo>
                  <a:lnTo>
                    <a:pt x="6300559" y="986689"/>
                  </a:lnTo>
                  <a:cubicBezTo>
                    <a:pt x="6254237" y="1068968"/>
                    <a:pt x="6161169" y="1122077"/>
                    <a:pt x="6063495" y="1122077"/>
                  </a:cubicBezTo>
                  <a:cubicBezTo>
                    <a:pt x="5977415" y="1122077"/>
                    <a:pt x="5901923" y="1083664"/>
                    <a:pt x="5850784" y="1013832"/>
                  </a:cubicBezTo>
                  <a:cubicBezTo>
                    <a:pt x="5821932" y="975900"/>
                    <a:pt x="5809438" y="945021"/>
                    <a:pt x="5802132" y="891377"/>
                  </a:cubicBezTo>
                  <a:lnTo>
                    <a:pt x="6506547" y="891377"/>
                  </a:lnTo>
                  <a:lnTo>
                    <a:pt x="6508188" y="872890"/>
                  </a:lnTo>
                  <a:close/>
                  <a:moveTo>
                    <a:pt x="7205139" y="1271563"/>
                  </a:moveTo>
                  <a:lnTo>
                    <a:pt x="7385928" y="1271563"/>
                  </a:lnTo>
                  <a:lnTo>
                    <a:pt x="7385928" y="677294"/>
                  </a:lnTo>
                  <a:cubicBezTo>
                    <a:pt x="7385928" y="554734"/>
                    <a:pt x="7365387" y="491422"/>
                    <a:pt x="7307154" y="435163"/>
                  </a:cubicBezTo>
                  <a:cubicBezTo>
                    <a:pt x="7252520" y="386599"/>
                    <a:pt x="7177557" y="359885"/>
                    <a:pt x="7096189" y="359885"/>
                  </a:cubicBezTo>
                  <a:cubicBezTo>
                    <a:pt x="7000739" y="359885"/>
                    <a:pt x="6929853" y="391193"/>
                    <a:pt x="6863625" y="463694"/>
                  </a:cubicBezTo>
                  <a:lnTo>
                    <a:pt x="6863625" y="380187"/>
                  </a:lnTo>
                  <a:lnTo>
                    <a:pt x="6682836" y="380187"/>
                  </a:lnTo>
                  <a:lnTo>
                    <a:pt x="6682836" y="1271563"/>
                  </a:lnTo>
                  <a:lnTo>
                    <a:pt x="6863625" y="1271563"/>
                  </a:lnTo>
                  <a:lnTo>
                    <a:pt x="6863625" y="732701"/>
                  </a:lnTo>
                  <a:cubicBezTo>
                    <a:pt x="6863625" y="667839"/>
                    <a:pt x="6876278" y="632147"/>
                    <a:pt x="6913971" y="591066"/>
                  </a:cubicBezTo>
                  <a:cubicBezTo>
                    <a:pt x="6951505" y="548481"/>
                    <a:pt x="7002433" y="525990"/>
                    <a:pt x="7061143" y="525990"/>
                  </a:cubicBezTo>
                  <a:cubicBezTo>
                    <a:pt x="7110748" y="525990"/>
                    <a:pt x="7155428" y="544744"/>
                    <a:pt x="7177769" y="575089"/>
                  </a:cubicBezTo>
                  <a:cubicBezTo>
                    <a:pt x="7197410" y="601215"/>
                    <a:pt x="7205139" y="638722"/>
                    <a:pt x="7205139" y="708709"/>
                  </a:cubicBezTo>
                  <a:lnTo>
                    <a:pt x="7205139" y="1271563"/>
                  </a:lnTo>
                  <a:close/>
                  <a:moveTo>
                    <a:pt x="7822309" y="162418"/>
                  </a:moveTo>
                  <a:cubicBezTo>
                    <a:pt x="7822309" y="99268"/>
                    <a:pt x="7774452" y="49847"/>
                    <a:pt x="7713412" y="49847"/>
                  </a:cubicBezTo>
                  <a:cubicBezTo>
                    <a:pt x="7650255" y="49847"/>
                    <a:pt x="7602662" y="97451"/>
                    <a:pt x="7602662" y="160549"/>
                  </a:cubicBezTo>
                  <a:cubicBezTo>
                    <a:pt x="7602662" y="223699"/>
                    <a:pt x="7649514" y="271303"/>
                    <a:pt x="7711560" y="271303"/>
                  </a:cubicBezTo>
                  <a:cubicBezTo>
                    <a:pt x="7773711" y="271303"/>
                    <a:pt x="7822309" y="223432"/>
                    <a:pt x="7822309" y="162418"/>
                  </a:cubicBezTo>
                  <a:moveTo>
                    <a:pt x="8704760" y="826838"/>
                  </a:moveTo>
                  <a:cubicBezTo>
                    <a:pt x="8704760" y="1000692"/>
                    <a:pt x="8594751" y="1122077"/>
                    <a:pt x="8437150" y="1122077"/>
                  </a:cubicBezTo>
                  <a:cubicBezTo>
                    <a:pt x="8276002" y="1122077"/>
                    <a:pt x="8167740" y="1003466"/>
                    <a:pt x="8167740" y="826838"/>
                  </a:cubicBezTo>
                  <a:cubicBezTo>
                    <a:pt x="8167740" y="649088"/>
                    <a:pt x="8276743" y="529677"/>
                    <a:pt x="8439003" y="529677"/>
                  </a:cubicBezTo>
                  <a:cubicBezTo>
                    <a:pt x="8597980" y="529677"/>
                    <a:pt x="8704760" y="649088"/>
                    <a:pt x="8704760" y="826838"/>
                  </a:cubicBezTo>
                  <a:moveTo>
                    <a:pt x="8889307" y="828654"/>
                  </a:moveTo>
                  <a:cubicBezTo>
                    <a:pt x="8889307" y="557084"/>
                    <a:pt x="8699942" y="359885"/>
                    <a:pt x="8439003" y="359885"/>
                  </a:cubicBezTo>
                  <a:cubicBezTo>
                    <a:pt x="8170652" y="359885"/>
                    <a:pt x="7983193" y="551155"/>
                    <a:pt x="7983193" y="824916"/>
                  </a:cubicBezTo>
                  <a:cubicBezTo>
                    <a:pt x="7983193" y="1099848"/>
                    <a:pt x="8168375" y="1291865"/>
                    <a:pt x="8433444" y="1291865"/>
                  </a:cubicBezTo>
                  <a:cubicBezTo>
                    <a:pt x="8689089" y="1291865"/>
                    <a:pt x="8889307" y="1088418"/>
                    <a:pt x="8889307" y="828654"/>
                  </a:cubicBezTo>
                  <a:moveTo>
                    <a:pt x="9658150" y="1197940"/>
                  </a:moveTo>
                  <a:cubicBezTo>
                    <a:pt x="9724854" y="1137144"/>
                    <a:pt x="9749630" y="1068539"/>
                    <a:pt x="9749630" y="944968"/>
                  </a:cubicBezTo>
                  <a:lnTo>
                    <a:pt x="9749630" y="380187"/>
                  </a:lnTo>
                  <a:lnTo>
                    <a:pt x="9566988" y="380187"/>
                  </a:lnTo>
                  <a:lnTo>
                    <a:pt x="9566988" y="944968"/>
                  </a:lnTo>
                  <a:cubicBezTo>
                    <a:pt x="9566988" y="1008437"/>
                    <a:pt x="9558835" y="1039587"/>
                    <a:pt x="9535012" y="1068222"/>
                  </a:cubicBezTo>
                  <a:cubicBezTo>
                    <a:pt x="9503831" y="1104284"/>
                    <a:pt x="9453009" y="1125815"/>
                    <a:pt x="9399010" y="1125815"/>
                  </a:cubicBezTo>
                  <a:cubicBezTo>
                    <a:pt x="9299060" y="1125815"/>
                    <a:pt x="9229233" y="1049947"/>
                    <a:pt x="9229233" y="941225"/>
                  </a:cubicBezTo>
                  <a:lnTo>
                    <a:pt x="9229233" y="380187"/>
                  </a:lnTo>
                  <a:lnTo>
                    <a:pt x="9048391" y="380187"/>
                  </a:lnTo>
                  <a:lnTo>
                    <a:pt x="9048391" y="944968"/>
                  </a:lnTo>
                  <a:cubicBezTo>
                    <a:pt x="9048391" y="1054330"/>
                    <a:pt x="9078249" y="1136392"/>
                    <a:pt x="9139659" y="1195965"/>
                  </a:cubicBezTo>
                  <a:cubicBezTo>
                    <a:pt x="9204563" y="1256925"/>
                    <a:pt x="9299113" y="1291865"/>
                    <a:pt x="9399010" y="1291865"/>
                  </a:cubicBezTo>
                  <a:cubicBezTo>
                    <a:pt x="9499701" y="1291865"/>
                    <a:pt x="9591763" y="1258529"/>
                    <a:pt x="9658150" y="1197945"/>
                  </a:cubicBezTo>
                  <a:moveTo>
                    <a:pt x="10385594" y="653307"/>
                  </a:moveTo>
                  <a:lnTo>
                    <a:pt x="10567335" y="653307"/>
                  </a:lnTo>
                  <a:lnTo>
                    <a:pt x="10566383" y="632041"/>
                  </a:lnTo>
                  <a:cubicBezTo>
                    <a:pt x="10558442" y="459099"/>
                    <a:pt x="10442768" y="359885"/>
                    <a:pt x="10249009" y="359885"/>
                  </a:cubicBezTo>
                  <a:cubicBezTo>
                    <a:pt x="10058003" y="359885"/>
                    <a:pt x="9929730" y="467434"/>
                    <a:pt x="9929730" y="627446"/>
                  </a:cubicBezTo>
                  <a:cubicBezTo>
                    <a:pt x="9929730" y="765666"/>
                    <a:pt x="10016922" y="850825"/>
                    <a:pt x="10212587" y="903611"/>
                  </a:cubicBezTo>
                  <a:cubicBezTo>
                    <a:pt x="10347689" y="937858"/>
                    <a:pt x="10391099" y="968955"/>
                    <a:pt x="10391099" y="1031625"/>
                  </a:cubicBezTo>
                  <a:cubicBezTo>
                    <a:pt x="10391099" y="1095576"/>
                    <a:pt x="10336730" y="1136874"/>
                    <a:pt x="10252715" y="1136874"/>
                  </a:cubicBezTo>
                  <a:cubicBezTo>
                    <a:pt x="10155517" y="1136874"/>
                    <a:pt x="10102102" y="1093384"/>
                    <a:pt x="10093843" y="1007579"/>
                  </a:cubicBezTo>
                  <a:lnTo>
                    <a:pt x="10092096" y="989257"/>
                  </a:lnTo>
                  <a:lnTo>
                    <a:pt x="9913054" y="989257"/>
                  </a:lnTo>
                  <a:lnTo>
                    <a:pt x="9915066" y="1011216"/>
                  </a:lnTo>
                  <a:cubicBezTo>
                    <a:pt x="9930789" y="1194843"/>
                    <a:pt x="10047626" y="1291865"/>
                    <a:pt x="10252715" y="1291865"/>
                  </a:cubicBezTo>
                  <a:cubicBezTo>
                    <a:pt x="10445839" y="1291865"/>
                    <a:pt x="10575647" y="1184371"/>
                    <a:pt x="10575647" y="1024303"/>
                  </a:cubicBezTo>
                  <a:cubicBezTo>
                    <a:pt x="10575647" y="956667"/>
                    <a:pt x="10548542" y="890948"/>
                    <a:pt x="10501426" y="843879"/>
                  </a:cubicBezTo>
                  <a:cubicBezTo>
                    <a:pt x="10457485" y="799913"/>
                    <a:pt x="10397028" y="770955"/>
                    <a:pt x="10285750" y="740769"/>
                  </a:cubicBezTo>
                  <a:cubicBezTo>
                    <a:pt x="10125660" y="696474"/>
                    <a:pt x="10110519" y="671471"/>
                    <a:pt x="10110519" y="616440"/>
                  </a:cubicBezTo>
                  <a:cubicBezTo>
                    <a:pt x="10110519" y="553823"/>
                    <a:pt x="10161447" y="514877"/>
                    <a:pt x="10243398" y="514877"/>
                  </a:cubicBezTo>
                  <a:cubicBezTo>
                    <a:pt x="10329795" y="514877"/>
                    <a:pt x="10385594" y="557672"/>
                    <a:pt x="10385594" y="623762"/>
                  </a:cubicBezTo>
                  <a:lnTo>
                    <a:pt x="10385594" y="653307"/>
                  </a:ln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267F6382-06A0-1E03-1EBC-160A12BF7B8F}"/>
              </a:ext>
            </a:extLst>
          </p:cNvPr>
          <p:cNvGrpSpPr/>
          <p:nvPr userDrawn="1"/>
        </p:nvGrpSpPr>
        <p:grpSpPr>
          <a:xfrm rot="5400000">
            <a:off x="-3617983" y="3323777"/>
            <a:ext cx="6854690" cy="213756"/>
            <a:chOff x="-1" y="-286346"/>
            <a:chExt cx="5820565" cy="181508"/>
          </a:xfrm>
        </p:grpSpPr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72C11E87-0CC0-8B96-28C5-8C4F4C15EAE2}"/>
                </a:ext>
              </a:extLst>
            </p:cNvPr>
            <p:cNvGrpSpPr/>
            <p:nvPr userDrawn="1"/>
          </p:nvGrpSpPr>
          <p:grpSpPr>
            <a:xfrm rot="16200000">
              <a:off x="363007" y="-649354"/>
              <a:ext cx="181503" cy="907520"/>
              <a:chOff x="1319213" y="-1663170"/>
              <a:chExt cx="181503" cy="907520"/>
            </a:xfrm>
          </p:grpSpPr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E58FADE0-49D1-9CC6-3568-6AEC8B98E365}"/>
                  </a:ext>
                </a:extLst>
              </p:cNvPr>
              <p:cNvSpPr/>
              <p:nvPr/>
            </p:nvSpPr>
            <p:spPr>
              <a:xfrm>
                <a:off x="1319213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44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ABC61781-A82A-7622-823D-DA4E08C283D8}"/>
                  </a:ext>
                </a:extLst>
              </p:cNvPr>
              <p:cNvSpPr/>
              <p:nvPr/>
            </p:nvSpPr>
            <p:spPr>
              <a:xfrm>
                <a:off x="1319213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69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A5CC5860-F4FE-03B1-DD3E-6F2E5FE5D597}"/>
                  </a:ext>
                </a:extLst>
              </p:cNvPr>
              <p:cNvSpPr/>
              <p:nvPr/>
            </p:nvSpPr>
            <p:spPr>
              <a:xfrm>
                <a:off x="1319213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FE8F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87D67741-763F-3795-029F-837810581D44}"/>
                  </a:ext>
                </a:extLst>
              </p:cNvPr>
              <p:cNvSpPr/>
              <p:nvPr/>
            </p:nvSpPr>
            <p:spPr>
              <a:xfrm>
                <a:off x="1319213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B4B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9AEEF2CC-3216-56C6-FD80-352134F83443}"/>
                  </a:ext>
                </a:extLst>
              </p:cNvPr>
              <p:cNvSpPr/>
              <p:nvPr/>
            </p:nvSpPr>
            <p:spPr>
              <a:xfrm>
                <a:off x="1319213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D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BD48E9B7-C32D-6709-47BE-B6E7C1E89FFA}"/>
                </a:ext>
              </a:extLst>
            </p:cNvPr>
            <p:cNvGrpSpPr/>
            <p:nvPr userDrawn="1"/>
          </p:nvGrpSpPr>
          <p:grpSpPr>
            <a:xfrm rot="16200000">
              <a:off x="1345616" y="-649354"/>
              <a:ext cx="181503" cy="907520"/>
              <a:chOff x="1319213" y="-664912"/>
              <a:chExt cx="181503" cy="907520"/>
            </a:xfrm>
          </p:grpSpPr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D6EDD65F-9308-992C-C207-261ACBC59ED2}"/>
                  </a:ext>
                </a:extLst>
              </p:cNvPr>
              <p:cNvSpPr/>
              <p:nvPr/>
            </p:nvSpPr>
            <p:spPr>
              <a:xfrm>
                <a:off x="1319213" y="-66491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6400A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5977109B-7DD6-CE24-6FD8-B1CD94AFF1A2}"/>
                  </a:ext>
                </a:extLst>
              </p:cNvPr>
              <p:cNvSpPr/>
              <p:nvPr/>
            </p:nvSpPr>
            <p:spPr>
              <a:xfrm>
                <a:off x="1319213" y="-483404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33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9443BA86-CC36-A818-F3EE-EB73F49DF41E}"/>
                  </a:ext>
                </a:extLst>
              </p:cNvPr>
              <p:cNvSpPr/>
              <p:nvPr/>
            </p:nvSpPr>
            <p:spPr>
              <a:xfrm>
                <a:off x="1319213" y="-30189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266C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310394F7-951A-52B4-FD40-1F25EB0AD7E8}"/>
                  </a:ext>
                </a:extLst>
              </p:cNvPr>
              <p:cNvSpPr/>
              <p:nvPr/>
            </p:nvSpPr>
            <p:spPr>
              <a:xfrm>
                <a:off x="1319213" y="-120387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199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3FAF1A9E-C8A4-4DC3-4D0B-84947573D691}"/>
                  </a:ext>
                </a:extLst>
              </p:cNvPr>
              <p:cNvSpPr/>
              <p:nvPr/>
            </p:nvSpPr>
            <p:spPr>
              <a:xfrm>
                <a:off x="1319213" y="6110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0CC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30B6F0B7-9261-D17D-5AF9-8836B0C4BB6D}"/>
                </a:ext>
              </a:extLst>
            </p:cNvPr>
            <p:cNvGrpSpPr/>
            <p:nvPr userDrawn="1"/>
          </p:nvGrpSpPr>
          <p:grpSpPr>
            <a:xfrm rot="16200000">
              <a:off x="2328223" y="-649352"/>
              <a:ext cx="181508" cy="907520"/>
              <a:chOff x="1682219" y="-1663170"/>
              <a:chExt cx="181508" cy="907520"/>
            </a:xfrm>
          </p:grpSpPr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FDEEFE04-D6F8-AB1B-ABAD-39D6DC9868C0}"/>
                  </a:ext>
                </a:extLst>
              </p:cNvPr>
              <p:cNvSpPr/>
              <p:nvPr/>
            </p:nvSpPr>
            <p:spPr>
              <a:xfrm>
                <a:off x="1682219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CC8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392E1E9E-C78F-792F-FC05-E3ACA176CB55}"/>
                  </a:ext>
                </a:extLst>
              </p:cNvPr>
              <p:cNvSpPr/>
              <p:nvPr/>
            </p:nvSpPr>
            <p:spPr>
              <a:xfrm>
                <a:off x="1682224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3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46CEF1C8-645E-C4D4-D871-2C4810CA8BF3}"/>
                  </a:ext>
                </a:extLst>
              </p:cNvPr>
              <p:cNvSpPr/>
              <p:nvPr/>
            </p:nvSpPr>
            <p:spPr>
              <a:xfrm>
                <a:off x="1682224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ADE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753731C0-C9F4-B98F-9441-A9D76153ADA0}"/>
                  </a:ext>
                </a:extLst>
              </p:cNvPr>
              <p:cNvSpPr/>
              <p:nvPr/>
            </p:nvSpPr>
            <p:spPr>
              <a:xfrm>
                <a:off x="1682224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E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3E30AA61-4011-5D9E-D286-DC2C0E549F61}"/>
                  </a:ext>
                </a:extLst>
              </p:cNvPr>
              <p:cNvSpPr/>
              <p:nvPr/>
            </p:nvSpPr>
            <p:spPr>
              <a:xfrm>
                <a:off x="1682219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8F4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9DE38EFC-529B-FC66-657B-91D8C2AB0911}"/>
                </a:ext>
              </a:extLst>
            </p:cNvPr>
            <p:cNvGrpSpPr/>
            <p:nvPr userDrawn="1"/>
          </p:nvGrpSpPr>
          <p:grpSpPr>
            <a:xfrm rot="16200000">
              <a:off x="5276052" y="-649354"/>
              <a:ext cx="181503" cy="907520"/>
              <a:chOff x="2226738" y="-1663170"/>
              <a:chExt cx="181503" cy="907520"/>
            </a:xfrm>
          </p:grpSpPr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5CBEE6C9-696C-BA24-565C-3E10633284E6}"/>
                  </a:ext>
                </a:extLst>
              </p:cNvPr>
              <p:cNvSpPr/>
              <p:nvPr/>
            </p:nvSpPr>
            <p:spPr>
              <a:xfrm>
                <a:off x="2226738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DEB8952F-E477-5AE4-A449-273C95AA9FD2}"/>
                  </a:ext>
                </a:extLst>
              </p:cNvPr>
              <p:cNvSpPr/>
              <p:nvPr/>
            </p:nvSpPr>
            <p:spPr>
              <a:xfrm>
                <a:off x="2226738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5757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963DAB9A-CD59-69D0-3224-841955D4FFF8}"/>
                  </a:ext>
                </a:extLst>
              </p:cNvPr>
              <p:cNvSpPr/>
              <p:nvPr/>
            </p:nvSpPr>
            <p:spPr>
              <a:xfrm>
                <a:off x="2226738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8787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BA724868-C553-2B3B-E762-6653A516D9BE}"/>
                  </a:ext>
                </a:extLst>
              </p:cNvPr>
              <p:cNvSpPr/>
              <p:nvPr/>
            </p:nvSpPr>
            <p:spPr>
              <a:xfrm>
                <a:off x="2226738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2B2B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47ABB95A-A286-A07A-DAE4-61582B2B3340}"/>
                  </a:ext>
                </a:extLst>
              </p:cNvPr>
              <p:cNvSpPr/>
              <p:nvPr/>
            </p:nvSpPr>
            <p:spPr>
              <a:xfrm>
                <a:off x="2226738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DA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254CDC00-01B5-5460-C00E-4483C0561B0A}"/>
                </a:ext>
              </a:extLst>
            </p:cNvPr>
            <p:cNvGrpSpPr/>
            <p:nvPr userDrawn="1"/>
          </p:nvGrpSpPr>
          <p:grpSpPr>
            <a:xfrm rot="16200000">
              <a:off x="3310834" y="-649354"/>
              <a:ext cx="181503" cy="907520"/>
              <a:chOff x="1863727" y="-1663170"/>
              <a:chExt cx="181503" cy="907520"/>
            </a:xfrm>
          </p:grpSpPr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CA94286D-9DAD-4283-330B-4EBE28FB6327}"/>
                  </a:ext>
                </a:extLst>
              </p:cNvPr>
              <p:cNvSpPr/>
              <p:nvPr/>
            </p:nvSpPr>
            <p:spPr>
              <a:xfrm>
                <a:off x="1863727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2A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7E87965A-6833-7DE2-E714-9ADD32910DBC}"/>
                  </a:ext>
                </a:extLst>
              </p:cNvPr>
              <p:cNvSpPr/>
              <p:nvPr/>
            </p:nvSpPr>
            <p:spPr>
              <a:xfrm>
                <a:off x="1863727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5DB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35D5A5F0-7E90-D96B-2C7C-EA96F20FE136}"/>
                  </a:ext>
                </a:extLst>
              </p:cNvPr>
              <p:cNvSpPr/>
              <p:nvPr/>
            </p:nvSpPr>
            <p:spPr>
              <a:xfrm>
                <a:off x="1863727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8E4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2ACF6879-5A40-9EA2-71A3-38452A2140AE}"/>
                  </a:ext>
                </a:extLst>
              </p:cNvPr>
              <p:cNvSpPr/>
              <p:nvPr/>
            </p:nvSpPr>
            <p:spPr>
              <a:xfrm>
                <a:off x="1863727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ED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E3FC346F-39AE-6928-A158-B6BF34885A69}"/>
                  </a:ext>
                </a:extLst>
              </p:cNvPr>
              <p:cNvSpPr/>
              <p:nvPr/>
            </p:nvSpPr>
            <p:spPr>
              <a:xfrm>
                <a:off x="1863727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DF6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DD45DF65-96D0-9F29-CB1E-EF6BAEDE21FD}"/>
                </a:ext>
              </a:extLst>
            </p:cNvPr>
            <p:cNvGrpSpPr/>
            <p:nvPr userDrawn="1"/>
          </p:nvGrpSpPr>
          <p:grpSpPr>
            <a:xfrm rot="16200000">
              <a:off x="4293441" y="-649352"/>
              <a:ext cx="181508" cy="907520"/>
              <a:chOff x="2045230" y="-1663170"/>
              <a:chExt cx="181508" cy="907520"/>
            </a:xfrm>
          </p:grpSpPr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BF410E88-652D-E0D7-6BB6-9E498217383C}"/>
                  </a:ext>
                </a:extLst>
              </p:cNvPr>
              <p:cNvSpPr/>
              <p:nvPr/>
            </p:nvSpPr>
            <p:spPr>
              <a:xfrm>
                <a:off x="2045230" y="-937158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9F7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8FEB4EE8-7919-B8B1-10F8-DC0136D877C7}"/>
                  </a:ext>
                </a:extLst>
              </p:cNvPr>
              <p:cNvSpPr/>
              <p:nvPr/>
            </p:nvSpPr>
            <p:spPr>
              <a:xfrm>
                <a:off x="2045230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FED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8E32C0F2-E1C4-12CB-BCD5-116D90062F3D}"/>
                  </a:ext>
                </a:extLst>
              </p:cNvPr>
              <p:cNvSpPr/>
              <p:nvPr/>
            </p:nvSpPr>
            <p:spPr>
              <a:xfrm>
                <a:off x="2045230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5E3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4DD79A9A-6834-D361-2F8D-4D1C183924CA}"/>
                  </a:ext>
                </a:extLst>
              </p:cNvPr>
              <p:cNvSpPr/>
              <p:nvPr/>
            </p:nvSpPr>
            <p:spPr>
              <a:xfrm>
                <a:off x="2045230" y="-1663170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CFC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3F11866A-D534-8FDE-3E99-1214D9AF0BF1}"/>
                  </a:ext>
                </a:extLst>
              </p:cNvPr>
              <p:cNvSpPr/>
              <p:nvPr/>
            </p:nvSpPr>
            <p:spPr>
              <a:xfrm>
                <a:off x="2045230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BD9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424163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7BA708-70DD-233E-A757-1FB9888D7B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  <a:endParaRPr lang="en-GB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A674D50-8D37-A680-BCF7-B992830E2954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A05EE98-6683-9EEE-3AB6-67B57981FE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1C069C3-5DC9-95FD-6A26-ACEDEF4BAA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32EEDE-D72D-38C9-5E48-9E4C46EA64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37ADC56-E0D6-73BD-3E0D-BF5692F2DC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</p:spTree>
    <p:extLst>
      <p:ext uri="{BB962C8B-B14F-4D97-AF65-F5344CB8AC3E}">
        <p14:creationId xmlns:p14="http://schemas.microsoft.com/office/powerpoint/2010/main" val="191574765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(red) and Content 2/3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5440E761-56DA-1F16-C101-779B792715A1}"/>
              </a:ext>
            </a:extLst>
          </p:cNvPr>
          <p:cNvSpPr/>
          <p:nvPr userDrawn="1"/>
        </p:nvSpPr>
        <p:spPr>
          <a:xfrm>
            <a:off x="8136000" y="0"/>
            <a:ext cx="405599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63000" y="843891"/>
            <a:ext cx="2770186" cy="55106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964FA6FD-B18C-64CF-40CD-9C782D91C43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415668" y="503483"/>
            <a:ext cx="1289916" cy="180000"/>
            <a:chOff x="-161925" y="-1630732"/>
            <a:chExt cx="12193587" cy="1701544"/>
          </a:xfrm>
          <a:solidFill>
            <a:schemeClr val="bg1"/>
          </a:solidFill>
        </p:grpSpPr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0BAA8276-ECA1-E336-BCFB-04B3EC51B77A}"/>
                </a:ext>
              </a:extLst>
            </p:cNvPr>
            <p:cNvSpPr/>
            <p:nvPr/>
          </p:nvSpPr>
          <p:spPr>
            <a:xfrm>
              <a:off x="10774928" y="-1247713"/>
              <a:ext cx="1256734" cy="356304"/>
            </a:xfrm>
            <a:custGeom>
              <a:avLst/>
              <a:gdLst>
                <a:gd name="connsiteX0" fmla="*/ 1226823 w 1256734"/>
                <a:gd name="connsiteY0" fmla="*/ 269166 h 356304"/>
                <a:gd name="connsiteX1" fmla="*/ 1133491 w 1256734"/>
                <a:gd name="connsiteY1" fmla="*/ 316610 h 356304"/>
                <a:gd name="connsiteX2" fmla="*/ 1010248 w 1256734"/>
                <a:gd name="connsiteY2" fmla="*/ 178448 h 356304"/>
                <a:gd name="connsiteX3" fmla="*/ 1131426 w 1256734"/>
                <a:gd name="connsiteY3" fmla="*/ 39696 h 356304"/>
                <a:gd name="connsiteX4" fmla="*/ 1226823 w 1256734"/>
                <a:gd name="connsiteY4" fmla="*/ 86659 h 356304"/>
                <a:gd name="connsiteX5" fmla="*/ 1256735 w 1256734"/>
                <a:gd name="connsiteY5" fmla="*/ 58823 h 356304"/>
                <a:gd name="connsiteX6" fmla="*/ 1216553 w 1256734"/>
                <a:gd name="connsiteY6" fmla="*/ 23241 h 356304"/>
                <a:gd name="connsiteX7" fmla="*/ 1130420 w 1256734"/>
                <a:gd name="connsiteY7" fmla="*/ 0 h 356304"/>
                <a:gd name="connsiteX8" fmla="*/ 965885 w 1256734"/>
                <a:gd name="connsiteY8" fmla="*/ 178448 h 356304"/>
                <a:gd name="connsiteX9" fmla="*/ 1011783 w 1256734"/>
                <a:gd name="connsiteY9" fmla="*/ 305763 h 356304"/>
                <a:gd name="connsiteX10" fmla="*/ 1129892 w 1256734"/>
                <a:gd name="connsiteY10" fmla="*/ 356305 h 356304"/>
                <a:gd name="connsiteX11" fmla="*/ 1255676 w 1256734"/>
                <a:gd name="connsiteY11" fmla="*/ 298071 h 356304"/>
                <a:gd name="connsiteX12" fmla="*/ 1226823 w 1256734"/>
                <a:gd name="connsiteY12" fmla="*/ 269166 h 356304"/>
                <a:gd name="connsiteX13" fmla="*/ 679216 w 1256734"/>
                <a:gd name="connsiteY13" fmla="*/ 197999 h 356304"/>
                <a:gd name="connsiteX14" fmla="*/ 846824 w 1256734"/>
                <a:gd name="connsiteY14" fmla="*/ 197999 h 356304"/>
                <a:gd name="connsiteX15" fmla="*/ 846824 w 1256734"/>
                <a:gd name="connsiteY15" fmla="*/ 350105 h 356304"/>
                <a:gd name="connsiteX16" fmla="*/ 890075 w 1256734"/>
                <a:gd name="connsiteY16" fmla="*/ 350105 h 356304"/>
                <a:gd name="connsiteX17" fmla="*/ 890075 w 1256734"/>
                <a:gd name="connsiteY17" fmla="*/ 6198 h 356304"/>
                <a:gd name="connsiteX18" fmla="*/ 846824 w 1256734"/>
                <a:gd name="connsiteY18" fmla="*/ 6198 h 356304"/>
                <a:gd name="connsiteX19" fmla="*/ 846824 w 1256734"/>
                <a:gd name="connsiteY19" fmla="*/ 160920 h 356304"/>
                <a:gd name="connsiteX20" fmla="*/ 679216 w 1256734"/>
                <a:gd name="connsiteY20" fmla="*/ 160920 h 356304"/>
                <a:gd name="connsiteX21" fmla="*/ 679216 w 1256734"/>
                <a:gd name="connsiteY21" fmla="*/ 6198 h 356304"/>
                <a:gd name="connsiteX22" fmla="*/ 635912 w 1256734"/>
                <a:gd name="connsiteY22" fmla="*/ 6198 h 356304"/>
                <a:gd name="connsiteX23" fmla="*/ 635912 w 1256734"/>
                <a:gd name="connsiteY23" fmla="*/ 350105 h 356304"/>
                <a:gd name="connsiteX24" fmla="*/ 679216 w 1256734"/>
                <a:gd name="connsiteY24" fmla="*/ 350105 h 356304"/>
                <a:gd name="connsiteX25" fmla="*/ 679216 w 1256734"/>
                <a:gd name="connsiteY25" fmla="*/ 197999 h 356304"/>
                <a:gd name="connsiteX26" fmla="*/ 392018 w 1256734"/>
                <a:gd name="connsiteY26" fmla="*/ 40230 h 356304"/>
                <a:gd name="connsiteX27" fmla="*/ 476563 w 1256734"/>
                <a:gd name="connsiteY27" fmla="*/ 75813 h 356304"/>
                <a:gd name="connsiteX28" fmla="*/ 515792 w 1256734"/>
                <a:gd name="connsiteY28" fmla="*/ 181011 h 356304"/>
                <a:gd name="connsiteX29" fmla="*/ 482758 w 1256734"/>
                <a:gd name="connsiteY29" fmla="*/ 275365 h 356304"/>
                <a:gd name="connsiteX30" fmla="*/ 390960 w 1256734"/>
                <a:gd name="connsiteY30" fmla="*/ 316610 h 356304"/>
                <a:gd name="connsiteX31" fmla="*/ 267239 w 1256734"/>
                <a:gd name="connsiteY31" fmla="*/ 178448 h 356304"/>
                <a:gd name="connsiteX32" fmla="*/ 392018 w 1256734"/>
                <a:gd name="connsiteY32" fmla="*/ 40230 h 356304"/>
                <a:gd name="connsiteX33" fmla="*/ 393077 w 1256734"/>
                <a:gd name="connsiteY33" fmla="*/ 0 h 356304"/>
                <a:gd name="connsiteX34" fmla="*/ 222876 w 1256734"/>
                <a:gd name="connsiteY34" fmla="*/ 179994 h 356304"/>
                <a:gd name="connsiteX35" fmla="*/ 258982 w 1256734"/>
                <a:gd name="connsiteY35" fmla="*/ 291872 h 356304"/>
                <a:gd name="connsiteX36" fmla="*/ 392018 w 1256734"/>
                <a:gd name="connsiteY36" fmla="*/ 356305 h 356304"/>
                <a:gd name="connsiteX37" fmla="*/ 501868 w 1256734"/>
                <a:gd name="connsiteY37" fmla="*/ 315059 h 356304"/>
                <a:gd name="connsiteX38" fmla="*/ 560155 w 1256734"/>
                <a:gd name="connsiteY38" fmla="*/ 181545 h 356304"/>
                <a:gd name="connsiteX39" fmla="*/ 519921 w 1256734"/>
                <a:gd name="connsiteY39" fmla="*/ 59304 h 356304"/>
                <a:gd name="connsiteX40" fmla="*/ 393077 w 1256734"/>
                <a:gd name="connsiteY40" fmla="*/ 0 h 356304"/>
                <a:gd name="connsiteX41" fmla="*/ 43306 w 1256734"/>
                <a:gd name="connsiteY41" fmla="*/ 310946 h 356304"/>
                <a:gd name="connsiteX42" fmla="*/ 43306 w 1256734"/>
                <a:gd name="connsiteY42" fmla="*/ 6198 h 356304"/>
                <a:gd name="connsiteX43" fmla="*/ 0 w 1256734"/>
                <a:gd name="connsiteY43" fmla="*/ 6198 h 356304"/>
                <a:gd name="connsiteX44" fmla="*/ 0 w 1256734"/>
                <a:gd name="connsiteY44" fmla="*/ 350105 h 356304"/>
                <a:gd name="connsiteX45" fmla="*/ 194237 w 1256734"/>
                <a:gd name="connsiteY45" fmla="*/ 350105 h 356304"/>
                <a:gd name="connsiteX46" fmla="*/ 194237 w 1256734"/>
                <a:gd name="connsiteY46" fmla="*/ 310946 h 356304"/>
                <a:gd name="connsiteX47" fmla="*/ 43306 w 1256734"/>
                <a:gd name="connsiteY47" fmla="*/ 310946 h 35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256734" h="356304">
                  <a:moveTo>
                    <a:pt x="1226823" y="269166"/>
                  </a:moveTo>
                  <a:cubicBezTo>
                    <a:pt x="1200037" y="301650"/>
                    <a:pt x="1171131" y="316610"/>
                    <a:pt x="1133491" y="316610"/>
                  </a:cubicBezTo>
                  <a:cubicBezTo>
                    <a:pt x="1062341" y="316610"/>
                    <a:pt x="1010248" y="258371"/>
                    <a:pt x="1010248" y="178448"/>
                  </a:cubicBezTo>
                  <a:cubicBezTo>
                    <a:pt x="1010248" y="97985"/>
                    <a:pt x="1061334" y="39696"/>
                    <a:pt x="1131426" y="39696"/>
                  </a:cubicBezTo>
                  <a:cubicBezTo>
                    <a:pt x="1168008" y="39696"/>
                    <a:pt x="1193313" y="52092"/>
                    <a:pt x="1226823" y="86659"/>
                  </a:cubicBezTo>
                  <a:lnTo>
                    <a:pt x="1256735" y="58823"/>
                  </a:lnTo>
                  <a:cubicBezTo>
                    <a:pt x="1239742" y="40230"/>
                    <a:pt x="1230424" y="32003"/>
                    <a:pt x="1216553" y="23241"/>
                  </a:cubicBezTo>
                  <a:cubicBezTo>
                    <a:pt x="1191725" y="8281"/>
                    <a:pt x="1161338" y="0"/>
                    <a:pt x="1130420" y="0"/>
                  </a:cubicBezTo>
                  <a:cubicBezTo>
                    <a:pt x="1035500" y="0"/>
                    <a:pt x="965885" y="75279"/>
                    <a:pt x="965885" y="178448"/>
                  </a:cubicBezTo>
                  <a:cubicBezTo>
                    <a:pt x="965885" y="226369"/>
                    <a:pt x="982931" y="273279"/>
                    <a:pt x="1011783" y="305763"/>
                  </a:cubicBezTo>
                  <a:cubicBezTo>
                    <a:pt x="1041165" y="338782"/>
                    <a:pt x="1081928" y="356305"/>
                    <a:pt x="1129892" y="356305"/>
                  </a:cubicBezTo>
                  <a:cubicBezTo>
                    <a:pt x="1182990" y="356305"/>
                    <a:pt x="1221107" y="338782"/>
                    <a:pt x="1255676" y="298071"/>
                  </a:cubicBezTo>
                  <a:lnTo>
                    <a:pt x="1226823" y="269166"/>
                  </a:lnTo>
                  <a:close/>
                  <a:moveTo>
                    <a:pt x="679216" y="197999"/>
                  </a:moveTo>
                  <a:lnTo>
                    <a:pt x="846824" y="197999"/>
                  </a:lnTo>
                  <a:lnTo>
                    <a:pt x="846824" y="350105"/>
                  </a:lnTo>
                  <a:lnTo>
                    <a:pt x="890075" y="350105"/>
                  </a:lnTo>
                  <a:lnTo>
                    <a:pt x="890075" y="6198"/>
                  </a:lnTo>
                  <a:lnTo>
                    <a:pt x="846824" y="6198"/>
                  </a:lnTo>
                  <a:lnTo>
                    <a:pt x="846824" y="160920"/>
                  </a:lnTo>
                  <a:lnTo>
                    <a:pt x="679216" y="160920"/>
                  </a:lnTo>
                  <a:lnTo>
                    <a:pt x="679216" y="6198"/>
                  </a:lnTo>
                  <a:lnTo>
                    <a:pt x="635912" y="6198"/>
                  </a:lnTo>
                  <a:lnTo>
                    <a:pt x="635912" y="350105"/>
                  </a:lnTo>
                  <a:lnTo>
                    <a:pt x="679216" y="350105"/>
                  </a:lnTo>
                  <a:lnTo>
                    <a:pt x="679216" y="197999"/>
                  </a:lnTo>
                  <a:close/>
                  <a:moveTo>
                    <a:pt x="392018" y="40230"/>
                  </a:moveTo>
                  <a:cubicBezTo>
                    <a:pt x="422459" y="40230"/>
                    <a:pt x="453904" y="53641"/>
                    <a:pt x="476563" y="75813"/>
                  </a:cubicBezTo>
                  <a:cubicBezTo>
                    <a:pt x="503404" y="101618"/>
                    <a:pt x="515792" y="135117"/>
                    <a:pt x="515792" y="181011"/>
                  </a:cubicBezTo>
                  <a:cubicBezTo>
                    <a:pt x="515792" y="216057"/>
                    <a:pt x="502874" y="253189"/>
                    <a:pt x="482758" y="275365"/>
                  </a:cubicBezTo>
                  <a:cubicBezTo>
                    <a:pt x="459569" y="301650"/>
                    <a:pt x="425530" y="316610"/>
                    <a:pt x="390960" y="316610"/>
                  </a:cubicBezTo>
                  <a:cubicBezTo>
                    <a:pt x="319809" y="316610"/>
                    <a:pt x="267239" y="258371"/>
                    <a:pt x="267239" y="178448"/>
                  </a:cubicBezTo>
                  <a:cubicBezTo>
                    <a:pt x="267239" y="99000"/>
                    <a:pt x="320338" y="40230"/>
                    <a:pt x="392018" y="40230"/>
                  </a:cubicBezTo>
                  <a:moveTo>
                    <a:pt x="393077" y="0"/>
                  </a:moveTo>
                  <a:cubicBezTo>
                    <a:pt x="295615" y="0"/>
                    <a:pt x="222876" y="77362"/>
                    <a:pt x="222876" y="179994"/>
                  </a:cubicBezTo>
                  <a:cubicBezTo>
                    <a:pt x="222876" y="223273"/>
                    <a:pt x="235318" y="261956"/>
                    <a:pt x="258982" y="291872"/>
                  </a:cubicBezTo>
                  <a:cubicBezTo>
                    <a:pt x="290957" y="332101"/>
                    <a:pt x="340985" y="356305"/>
                    <a:pt x="392018" y="356305"/>
                  </a:cubicBezTo>
                  <a:cubicBezTo>
                    <a:pt x="431723" y="356305"/>
                    <a:pt x="470899" y="341879"/>
                    <a:pt x="501868" y="315059"/>
                  </a:cubicBezTo>
                  <a:cubicBezTo>
                    <a:pt x="539509" y="283110"/>
                    <a:pt x="560155" y="235131"/>
                    <a:pt x="560155" y="181545"/>
                  </a:cubicBezTo>
                  <a:cubicBezTo>
                    <a:pt x="560155" y="129935"/>
                    <a:pt x="547715" y="91788"/>
                    <a:pt x="519921" y="59304"/>
                  </a:cubicBezTo>
                  <a:cubicBezTo>
                    <a:pt x="486886" y="21691"/>
                    <a:pt x="440988" y="0"/>
                    <a:pt x="393077" y="0"/>
                  </a:cubicBezTo>
                  <a:moveTo>
                    <a:pt x="43306" y="310946"/>
                  </a:moveTo>
                  <a:lnTo>
                    <a:pt x="43306" y="6198"/>
                  </a:lnTo>
                  <a:lnTo>
                    <a:pt x="0" y="6198"/>
                  </a:lnTo>
                  <a:lnTo>
                    <a:pt x="0" y="350105"/>
                  </a:lnTo>
                  <a:lnTo>
                    <a:pt x="194237" y="350105"/>
                  </a:lnTo>
                  <a:lnTo>
                    <a:pt x="194237" y="310946"/>
                  </a:lnTo>
                  <a:lnTo>
                    <a:pt x="43306" y="310946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B77DA9CA-81E3-9C95-68A3-BFADB2CD7E3C}"/>
                </a:ext>
              </a:extLst>
            </p:cNvPr>
            <p:cNvSpPr/>
            <p:nvPr/>
          </p:nvSpPr>
          <p:spPr>
            <a:xfrm>
              <a:off x="-161925" y="-1630732"/>
              <a:ext cx="10575647" cy="1701544"/>
            </a:xfrm>
            <a:custGeom>
              <a:avLst/>
              <a:gdLst>
                <a:gd name="connsiteX0" fmla="*/ 7802033 w 10575647"/>
                <a:gd name="connsiteY0" fmla="*/ 380187 h 1701544"/>
                <a:gd name="connsiteX1" fmla="*/ 7621138 w 10575647"/>
                <a:gd name="connsiteY1" fmla="*/ 380187 h 1701544"/>
                <a:gd name="connsiteX2" fmla="*/ 7621138 w 10575647"/>
                <a:gd name="connsiteY2" fmla="*/ 1271563 h 1701544"/>
                <a:gd name="connsiteX3" fmla="*/ 7802033 w 10575647"/>
                <a:gd name="connsiteY3" fmla="*/ 1271563 h 1701544"/>
                <a:gd name="connsiteX4" fmla="*/ 7802033 w 10575647"/>
                <a:gd name="connsiteY4" fmla="*/ 380187 h 1701544"/>
                <a:gd name="connsiteX5" fmla="*/ 706522 w 10575647"/>
                <a:gd name="connsiteY5" fmla="*/ 1271563 h 1701544"/>
                <a:gd name="connsiteX6" fmla="*/ 902065 w 10575647"/>
                <a:gd name="connsiteY6" fmla="*/ 1271563 h 1701544"/>
                <a:gd name="connsiteX7" fmla="*/ 902065 w 10575647"/>
                <a:gd name="connsiteY7" fmla="*/ 0 h 1701544"/>
                <a:gd name="connsiteX8" fmla="*/ 706522 w 10575647"/>
                <a:gd name="connsiteY8" fmla="*/ 0 h 1701544"/>
                <a:gd name="connsiteX9" fmla="*/ 706522 w 10575647"/>
                <a:gd name="connsiteY9" fmla="*/ 553717 h 1701544"/>
                <a:gd name="connsiteX10" fmla="*/ 195543 w 10575647"/>
                <a:gd name="connsiteY10" fmla="*/ 553717 h 1701544"/>
                <a:gd name="connsiteX11" fmla="*/ 195543 w 10575647"/>
                <a:gd name="connsiteY11" fmla="*/ 0 h 1701544"/>
                <a:gd name="connsiteX12" fmla="*/ 0 w 10575647"/>
                <a:gd name="connsiteY12" fmla="*/ 0 h 1701544"/>
                <a:gd name="connsiteX13" fmla="*/ 0 w 10575647"/>
                <a:gd name="connsiteY13" fmla="*/ 1271563 h 1701544"/>
                <a:gd name="connsiteX14" fmla="*/ 195543 w 10575647"/>
                <a:gd name="connsiteY14" fmla="*/ 1271563 h 1701544"/>
                <a:gd name="connsiteX15" fmla="*/ 195543 w 10575647"/>
                <a:gd name="connsiteY15" fmla="*/ 727142 h 1701544"/>
                <a:gd name="connsiteX16" fmla="*/ 706522 w 10575647"/>
                <a:gd name="connsiteY16" fmla="*/ 727142 h 1701544"/>
                <a:gd name="connsiteX17" fmla="*/ 706522 w 10575647"/>
                <a:gd name="connsiteY17" fmla="*/ 1271563 h 1701544"/>
                <a:gd name="connsiteX18" fmla="*/ 1306185 w 10575647"/>
                <a:gd name="connsiteY18" fmla="*/ 1690649 h 1701544"/>
                <a:gd name="connsiteX19" fmla="*/ 1654904 w 10575647"/>
                <a:gd name="connsiteY19" fmla="*/ 1036061 h 1701544"/>
                <a:gd name="connsiteX20" fmla="*/ 1306185 w 10575647"/>
                <a:gd name="connsiteY20" fmla="*/ 381469 h 1701544"/>
                <a:gd name="connsiteX21" fmla="*/ 1090234 w 10575647"/>
                <a:gd name="connsiteY21" fmla="*/ 381469 h 1701544"/>
                <a:gd name="connsiteX22" fmla="*/ 1438900 w 10575647"/>
                <a:gd name="connsiteY22" fmla="*/ 1036061 h 1701544"/>
                <a:gd name="connsiteX23" fmla="*/ 1090234 w 10575647"/>
                <a:gd name="connsiteY23" fmla="*/ 1690649 h 1701544"/>
                <a:gd name="connsiteX24" fmla="*/ 1306185 w 10575647"/>
                <a:gd name="connsiteY24" fmla="*/ 1690649 h 1701544"/>
                <a:gd name="connsiteX25" fmla="*/ 2581808 w 10575647"/>
                <a:gd name="connsiteY25" fmla="*/ 828654 h 1701544"/>
                <a:gd name="connsiteX26" fmla="*/ 2317883 w 10575647"/>
                <a:gd name="connsiteY26" fmla="*/ 1129505 h 1701544"/>
                <a:gd name="connsiteX27" fmla="*/ 2065011 w 10575647"/>
                <a:gd name="connsiteY27" fmla="*/ 832338 h 1701544"/>
                <a:gd name="connsiteX28" fmla="*/ 2327068 w 10575647"/>
                <a:gd name="connsiteY28" fmla="*/ 525990 h 1701544"/>
                <a:gd name="connsiteX29" fmla="*/ 2581808 w 10575647"/>
                <a:gd name="connsiteY29" fmla="*/ 828654 h 1701544"/>
                <a:gd name="connsiteX30" fmla="*/ 2581808 w 10575647"/>
                <a:gd name="connsiteY30" fmla="*/ 1271563 h 1701544"/>
                <a:gd name="connsiteX31" fmla="*/ 2762608 w 10575647"/>
                <a:gd name="connsiteY31" fmla="*/ 1271563 h 1701544"/>
                <a:gd name="connsiteX32" fmla="*/ 2762608 w 10575647"/>
                <a:gd name="connsiteY32" fmla="*/ 0 h 1701544"/>
                <a:gd name="connsiteX33" fmla="*/ 2581808 w 10575647"/>
                <a:gd name="connsiteY33" fmla="*/ 0 h 1701544"/>
                <a:gd name="connsiteX34" fmla="*/ 2581808 w 10575647"/>
                <a:gd name="connsiteY34" fmla="*/ 476356 h 1701544"/>
                <a:gd name="connsiteX35" fmla="*/ 2297581 w 10575647"/>
                <a:gd name="connsiteY35" fmla="*/ 359885 h 1701544"/>
                <a:gd name="connsiteX36" fmla="*/ 1876785 w 10575647"/>
                <a:gd name="connsiteY36" fmla="*/ 830470 h 1701544"/>
                <a:gd name="connsiteX37" fmla="*/ 2297581 w 10575647"/>
                <a:gd name="connsiteY37" fmla="*/ 1291865 h 1701544"/>
                <a:gd name="connsiteX38" fmla="*/ 2581808 w 10575647"/>
                <a:gd name="connsiteY38" fmla="*/ 1163217 h 1701544"/>
                <a:gd name="connsiteX39" fmla="*/ 2581808 w 10575647"/>
                <a:gd name="connsiteY39" fmla="*/ 1271563 h 1701544"/>
                <a:gd name="connsiteX40" fmla="*/ 3437445 w 10575647"/>
                <a:gd name="connsiteY40" fmla="*/ 542393 h 1701544"/>
                <a:gd name="connsiteX41" fmla="*/ 3460310 w 10575647"/>
                <a:gd name="connsiteY41" fmla="*/ 545331 h 1701544"/>
                <a:gd name="connsiteX42" fmla="*/ 3460310 w 10575647"/>
                <a:gd name="connsiteY42" fmla="*/ 359885 h 1701544"/>
                <a:gd name="connsiteX43" fmla="*/ 3406830 w 10575647"/>
                <a:gd name="connsiteY43" fmla="*/ 359885 h 1701544"/>
                <a:gd name="connsiteX44" fmla="*/ 3231965 w 10575647"/>
                <a:gd name="connsiteY44" fmla="*/ 415877 h 1701544"/>
                <a:gd name="connsiteX45" fmla="*/ 3187194 w 10575647"/>
                <a:gd name="connsiteY45" fmla="*/ 462091 h 1701544"/>
                <a:gd name="connsiteX46" fmla="*/ 3187194 w 10575647"/>
                <a:gd name="connsiteY46" fmla="*/ 380187 h 1701544"/>
                <a:gd name="connsiteX47" fmla="*/ 3006395 w 10575647"/>
                <a:gd name="connsiteY47" fmla="*/ 380187 h 1701544"/>
                <a:gd name="connsiteX48" fmla="*/ 3006395 w 10575647"/>
                <a:gd name="connsiteY48" fmla="*/ 1271563 h 1701544"/>
                <a:gd name="connsiteX49" fmla="*/ 3187194 w 10575647"/>
                <a:gd name="connsiteY49" fmla="*/ 1271563 h 1701544"/>
                <a:gd name="connsiteX50" fmla="*/ 3187194 w 10575647"/>
                <a:gd name="connsiteY50" fmla="*/ 819411 h 1701544"/>
                <a:gd name="connsiteX51" fmla="*/ 3233517 w 10575647"/>
                <a:gd name="connsiteY51" fmla="*/ 629638 h 1701544"/>
                <a:gd name="connsiteX52" fmla="*/ 3401277 w 10575647"/>
                <a:gd name="connsiteY52" fmla="*/ 540683 h 1701544"/>
                <a:gd name="connsiteX53" fmla="*/ 3437445 w 10575647"/>
                <a:gd name="connsiteY53" fmla="*/ 542393 h 1701544"/>
                <a:gd name="connsiteX54" fmla="*/ 4250980 w 10575647"/>
                <a:gd name="connsiteY54" fmla="*/ 826838 h 1701544"/>
                <a:gd name="connsiteX55" fmla="*/ 3983364 w 10575647"/>
                <a:gd name="connsiteY55" fmla="*/ 1122077 h 1701544"/>
                <a:gd name="connsiteX56" fmla="*/ 3713875 w 10575647"/>
                <a:gd name="connsiteY56" fmla="*/ 826838 h 1701544"/>
                <a:gd name="connsiteX57" fmla="*/ 3985180 w 10575647"/>
                <a:gd name="connsiteY57" fmla="*/ 529677 h 1701544"/>
                <a:gd name="connsiteX58" fmla="*/ 4250980 w 10575647"/>
                <a:gd name="connsiteY58" fmla="*/ 826838 h 1701544"/>
                <a:gd name="connsiteX59" fmla="*/ 4435464 w 10575647"/>
                <a:gd name="connsiteY59" fmla="*/ 828654 h 1701544"/>
                <a:gd name="connsiteX60" fmla="*/ 3985180 w 10575647"/>
                <a:gd name="connsiteY60" fmla="*/ 359885 h 1701544"/>
                <a:gd name="connsiteX61" fmla="*/ 3529338 w 10575647"/>
                <a:gd name="connsiteY61" fmla="*/ 824916 h 1701544"/>
                <a:gd name="connsiteX62" fmla="*/ 3979622 w 10575647"/>
                <a:gd name="connsiteY62" fmla="*/ 1291865 h 1701544"/>
                <a:gd name="connsiteX63" fmla="*/ 4435464 w 10575647"/>
                <a:gd name="connsiteY63" fmla="*/ 828654 h 1701544"/>
                <a:gd name="connsiteX64" fmla="*/ 5261608 w 10575647"/>
                <a:gd name="connsiteY64" fmla="*/ 828654 h 1701544"/>
                <a:gd name="connsiteX65" fmla="*/ 5205508 w 10575647"/>
                <a:gd name="connsiteY65" fmla="*/ 1025854 h 1701544"/>
                <a:gd name="connsiteX66" fmla="*/ 5005052 w 10575647"/>
                <a:gd name="connsiteY66" fmla="*/ 1122077 h 1701544"/>
                <a:gd name="connsiteX67" fmla="*/ 4746675 w 10575647"/>
                <a:gd name="connsiteY67" fmla="*/ 823153 h 1701544"/>
                <a:gd name="connsiteX68" fmla="*/ 5008683 w 10575647"/>
                <a:gd name="connsiteY68" fmla="*/ 529677 h 1701544"/>
                <a:gd name="connsiteX69" fmla="*/ 5200378 w 10575647"/>
                <a:gd name="connsiteY69" fmla="*/ 617081 h 1701544"/>
                <a:gd name="connsiteX70" fmla="*/ 5261608 w 10575647"/>
                <a:gd name="connsiteY70" fmla="*/ 828654 h 1701544"/>
                <a:gd name="connsiteX71" fmla="*/ 5327264 w 10575647"/>
                <a:gd name="connsiteY71" fmla="*/ 1583314 h 1701544"/>
                <a:gd name="connsiteX72" fmla="*/ 5446113 w 10575647"/>
                <a:gd name="connsiteY72" fmla="*/ 1256819 h 1701544"/>
                <a:gd name="connsiteX73" fmla="*/ 5446113 w 10575647"/>
                <a:gd name="connsiteY73" fmla="*/ 380187 h 1701544"/>
                <a:gd name="connsiteX74" fmla="*/ 5265239 w 10575647"/>
                <a:gd name="connsiteY74" fmla="*/ 380187 h 1701544"/>
                <a:gd name="connsiteX75" fmla="*/ 5265239 w 10575647"/>
                <a:gd name="connsiteY75" fmla="*/ 488537 h 1701544"/>
                <a:gd name="connsiteX76" fmla="*/ 4982875 w 10575647"/>
                <a:gd name="connsiteY76" fmla="*/ 359885 h 1701544"/>
                <a:gd name="connsiteX77" fmla="*/ 4699394 w 10575647"/>
                <a:gd name="connsiteY77" fmla="*/ 465190 h 1701544"/>
                <a:gd name="connsiteX78" fmla="*/ 4558400 w 10575647"/>
                <a:gd name="connsiteY78" fmla="*/ 828654 h 1701544"/>
                <a:gd name="connsiteX79" fmla="*/ 4971816 w 10575647"/>
                <a:gd name="connsiteY79" fmla="*/ 1291865 h 1701544"/>
                <a:gd name="connsiteX80" fmla="*/ 5265239 w 10575647"/>
                <a:gd name="connsiteY80" fmla="*/ 1150553 h 1701544"/>
                <a:gd name="connsiteX81" fmla="*/ 5265239 w 10575647"/>
                <a:gd name="connsiteY81" fmla="*/ 1267931 h 1701544"/>
                <a:gd name="connsiteX82" fmla="*/ 5206095 w 10575647"/>
                <a:gd name="connsiteY82" fmla="*/ 1457116 h 1701544"/>
                <a:gd name="connsiteX83" fmla="*/ 4999546 w 10575647"/>
                <a:gd name="connsiteY83" fmla="*/ 1533625 h 1701544"/>
                <a:gd name="connsiteX84" fmla="*/ 4811695 w 10575647"/>
                <a:gd name="connsiteY84" fmla="*/ 1487409 h 1701544"/>
                <a:gd name="connsiteX85" fmla="*/ 4733588 w 10575647"/>
                <a:gd name="connsiteY85" fmla="*/ 1416300 h 1701544"/>
                <a:gd name="connsiteX86" fmla="*/ 4719215 w 10575647"/>
                <a:gd name="connsiteY86" fmla="*/ 1401339 h 1701544"/>
                <a:gd name="connsiteX87" fmla="*/ 4595103 w 10575647"/>
                <a:gd name="connsiteY87" fmla="*/ 1525451 h 1701544"/>
                <a:gd name="connsiteX88" fmla="*/ 4607819 w 10575647"/>
                <a:gd name="connsiteY88" fmla="*/ 1539824 h 1701544"/>
                <a:gd name="connsiteX89" fmla="*/ 4999546 w 10575647"/>
                <a:gd name="connsiteY89" fmla="*/ 1701544 h 1701544"/>
                <a:gd name="connsiteX90" fmla="*/ 5327264 w 10575647"/>
                <a:gd name="connsiteY90" fmla="*/ 1583314 h 1701544"/>
                <a:gd name="connsiteX91" fmla="*/ 6317923 w 10575647"/>
                <a:gd name="connsiteY91" fmla="*/ 747497 h 1701544"/>
                <a:gd name="connsiteX92" fmla="*/ 5805203 w 10575647"/>
                <a:gd name="connsiteY92" fmla="*/ 747497 h 1701544"/>
                <a:gd name="connsiteX93" fmla="*/ 5845913 w 10575647"/>
                <a:gd name="connsiteY93" fmla="*/ 635144 h 1701544"/>
                <a:gd name="connsiteX94" fmla="*/ 6057989 w 10575647"/>
                <a:gd name="connsiteY94" fmla="*/ 525990 h 1701544"/>
                <a:gd name="connsiteX95" fmla="*/ 6275730 w 10575647"/>
                <a:gd name="connsiteY95" fmla="*/ 633487 h 1701544"/>
                <a:gd name="connsiteX96" fmla="*/ 6317923 w 10575647"/>
                <a:gd name="connsiteY96" fmla="*/ 747497 h 1701544"/>
                <a:gd name="connsiteX97" fmla="*/ 6508188 w 10575647"/>
                <a:gd name="connsiteY97" fmla="*/ 872890 h 1701544"/>
                <a:gd name="connsiteX98" fmla="*/ 6510094 w 10575647"/>
                <a:gd name="connsiteY98" fmla="*/ 815779 h 1701544"/>
                <a:gd name="connsiteX99" fmla="*/ 6057989 w 10575647"/>
                <a:gd name="connsiteY99" fmla="*/ 359885 h 1701544"/>
                <a:gd name="connsiteX100" fmla="*/ 5609538 w 10575647"/>
                <a:gd name="connsiteY100" fmla="*/ 828654 h 1701544"/>
                <a:gd name="connsiteX101" fmla="*/ 6063495 w 10575647"/>
                <a:gd name="connsiteY101" fmla="*/ 1291865 h 1701544"/>
                <a:gd name="connsiteX102" fmla="*/ 6460066 w 10575647"/>
                <a:gd name="connsiteY102" fmla="*/ 1051710 h 1701544"/>
                <a:gd name="connsiteX103" fmla="*/ 6469966 w 10575647"/>
                <a:gd name="connsiteY103" fmla="*/ 1031572 h 1701544"/>
                <a:gd name="connsiteX104" fmla="*/ 6308923 w 10575647"/>
                <a:gd name="connsiteY104" fmla="*/ 971517 h 1701544"/>
                <a:gd name="connsiteX105" fmla="*/ 6300559 w 10575647"/>
                <a:gd name="connsiteY105" fmla="*/ 986689 h 1701544"/>
                <a:gd name="connsiteX106" fmla="*/ 6063495 w 10575647"/>
                <a:gd name="connsiteY106" fmla="*/ 1122077 h 1701544"/>
                <a:gd name="connsiteX107" fmla="*/ 5850784 w 10575647"/>
                <a:gd name="connsiteY107" fmla="*/ 1013832 h 1701544"/>
                <a:gd name="connsiteX108" fmla="*/ 5802132 w 10575647"/>
                <a:gd name="connsiteY108" fmla="*/ 891377 h 1701544"/>
                <a:gd name="connsiteX109" fmla="*/ 6506547 w 10575647"/>
                <a:gd name="connsiteY109" fmla="*/ 891377 h 1701544"/>
                <a:gd name="connsiteX110" fmla="*/ 6508188 w 10575647"/>
                <a:gd name="connsiteY110" fmla="*/ 872890 h 1701544"/>
                <a:gd name="connsiteX111" fmla="*/ 7205139 w 10575647"/>
                <a:gd name="connsiteY111" fmla="*/ 1271563 h 1701544"/>
                <a:gd name="connsiteX112" fmla="*/ 7385928 w 10575647"/>
                <a:gd name="connsiteY112" fmla="*/ 1271563 h 1701544"/>
                <a:gd name="connsiteX113" fmla="*/ 7385928 w 10575647"/>
                <a:gd name="connsiteY113" fmla="*/ 677294 h 1701544"/>
                <a:gd name="connsiteX114" fmla="*/ 7307154 w 10575647"/>
                <a:gd name="connsiteY114" fmla="*/ 435163 h 1701544"/>
                <a:gd name="connsiteX115" fmla="*/ 7096189 w 10575647"/>
                <a:gd name="connsiteY115" fmla="*/ 359885 h 1701544"/>
                <a:gd name="connsiteX116" fmla="*/ 6863625 w 10575647"/>
                <a:gd name="connsiteY116" fmla="*/ 463694 h 1701544"/>
                <a:gd name="connsiteX117" fmla="*/ 6863625 w 10575647"/>
                <a:gd name="connsiteY117" fmla="*/ 380187 h 1701544"/>
                <a:gd name="connsiteX118" fmla="*/ 6682836 w 10575647"/>
                <a:gd name="connsiteY118" fmla="*/ 380187 h 1701544"/>
                <a:gd name="connsiteX119" fmla="*/ 6682836 w 10575647"/>
                <a:gd name="connsiteY119" fmla="*/ 1271563 h 1701544"/>
                <a:gd name="connsiteX120" fmla="*/ 6863625 w 10575647"/>
                <a:gd name="connsiteY120" fmla="*/ 1271563 h 1701544"/>
                <a:gd name="connsiteX121" fmla="*/ 6863625 w 10575647"/>
                <a:gd name="connsiteY121" fmla="*/ 732701 h 1701544"/>
                <a:gd name="connsiteX122" fmla="*/ 6913971 w 10575647"/>
                <a:gd name="connsiteY122" fmla="*/ 591066 h 1701544"/>
                <a:gd name="connsiteX123" fmla="*/ 7061143 w 10575647"/>
                <a:gd name="connsiteY123" fmla="*/ 525990 h 1701544"/>
                <a:gd name="connsiteX124" fmla="*/ 7177769 w 10575647"/>
                <a:gd name="connsiteY124" fmla="*/ 575089 h 1701544"/>
                <a:gd name="connsiteX125" fmla="*/ 7205139 w 10575647"/>
                <a:gd name="connsiteY125" fmla="*/ 708709 h 1701544"/>
                <a:gd name="connsiteX126" fmla="*/ 7205139 w 10575647"/>
                <a:gd name="connsiteY126" fmla="*/ 1271563 h 1701544"/>
                <a:gd name="connsiteX127" fmla="*/ 7822309 w 10575647"/>
                <a:gd name="connsiteY127" fmla="*/ 162418 h 1701544"/>
                <a:gd name="connsiteX128" fmla="*/ 7713412 w 10575647"/>
                <a:gd name="connsiteY128" fmla="*/ 49847 h 1701544"/>
                <a:gd name="connsiteX129" fmla="*/ 7602662 w 10575647"/>
                <a:gd name="connsiteY129" fmla="*/ 160549 h 1701544"/>
                <a:gd name="connsiteX130" fmla="*/ 7711560 w 10575647"/>
                <a:gd name="connsiteY130" fmla="*/ 271303 h 1701544"/>
                <a:gd name="connsiteX131" fmla="*/ 7822309 w 10575647"/>
                <a:gd name="connsiteY131" fmla="*/ 162418 h 1701544"/>
                <a:gd name="connsiteX132" fmla="*/ 8704760 w 10575647"/>
                <a:gd name="connsiteY132" fmla="*/ 826838 h 1701544"/>
                <a:gd name="connsiteX133" fmla="*/ 8437150 w 10575647"/>
                <a:gd name="connsiteY133" fmla="*/ 1122077 h 1701544"/>
                <a:gd name="connsiteX134" fmla="*/ 8167740 w 10575647"/>
                <a:gd name="connsiteY134" fmla="*/ 826838 h 1701544"/>
                <a:gd name="connsiteX135" fmla="*/ 8439003 w 10575647"/>
                <a:gd name="connsiteY135" fmla="*/ 529677 h 1701544"/>
                <a:gd name="connsiteX136" fmla="*/ 8704760 w 10575647"/>
                <a:gd name="connsiteY136" fmla="*/ 826838 h 1701544"/>
                <a:gd name="connsiteX137" fmla="*/ 8889307 w 10575647"/>
                <a:gd name="connsiteY137" fmla="*/ 828654 h 1701544"/>
                <a:gd name="connsiteX138" fmla="*/ 8439003 w 10575647"/>
                <a:gd name="connsiteY138" fmla="*/ 359885 h 1701544"/>
                <a:gd name="connsiteX139" fmla="*/ 7983193 w 10575647"/>
                <a:gd name="connsiteY139" fmla="*/ 824916 h 1701544"/>
                <a:gd name="connsiteX140" fmla="*/ 8433444 w 10575647"/>
                <a:gd name="connsiteY140" fmla="*/ 1291865 h 1701544"/>
                <a:gd name="connsiteX141" fmla="*/ 8889307 w 10575647"/>
                <a:gd name="connsiteY141" fmla="*/ 828654 h 1701544"/>
                <a:gd name="connsiteX142" fmla="*/ 9658150 w 10575647"/>
                <a:gd name="connsiteY142" fmla="*/ 1197940 h 1701544"/>
                <a:gd name="connsiteX143" fmla="*/ 9749630 w 10575647"/>
                <a:gd name="connsiteY143" fmla="*/ 944968 h 1701544"/>
                <a:gd name="connsiteX144" fmla="*/ 9749630 w 10575647"/>
                <a:gd name="connsiteY144" fmla="*/ 380187 h 1701544"/>
                <a:gd name="connsiteX145" fmla="*/ 9566988 w 10575647"/>
                <a:gd name="connsiteY145" fmla="*/ 380187 h 1701544"/>
                <a:gd name="connsiteX146" fmla="*/ 9566988 w 10575647"/>
                <a:gd name="connsiteY146" fmla="*/ 944968 h 1701544"/>
                <a:gd name="connsiteX147" fmla="*/ 9535012 w 10575647"/>
                <a:gd name="connsiteY147" fmla="*/ 1068222 h 1701544"/>
                <a:gd name="connsiteX148" fmla="*/ 9399010 w 10575647"/>
                <a:gd name="connsiteY148" fmla="*/ 1125815 h 1701544"/>
                <a:gd name="connsiteX149" fmla="*/ 9229233 w 10575647"/>
                <a:gd name="connsiteY149" fmla="*/ 941225 h 1701544"/>
                <a:gd name="connsiteX150" fmla="*/ 9229233 w 10575647"/>
                <a:gd name="connsiteY150" fmla="*/ 380187 h 1701544"/>
                <a:gd name="connsiteX151" fmla="*/ 9048391 w 10575647"/>
                <a:gd name="connsiteY151" fmla="*/ 380187 h 1701544"/>
                <a:gd name="connsiteX152" fmla="*/ 9048391 w 10575647"/>
                <a:gd name="connsiteY152" fmla="*/ 944968 h 1701544"/>
                <a:gd name="connsiteX153" fmla="*/ 9139659 w 10575647"/>
                <a:gd name="connsiteY153" fmla="*/ 1195965 h 1701544"/>
                <a:gd name="connsiteX154" fmla="*/ 9399010 w 10575647"/>
                <a:gd name="connsiteY154" fmla="*/ 1291865 h 1701544"/>
                <a:gd name="connsiteX155" fmla="*/ 9658150 w 10575647"/>
                <a:gd name="connsiteY155" fmla="*/ 1197945 h 1701544"/>
                <a:gd name="connsiteX156" fmla="*/ 10385594 w 10575647"/>
                <a:gd name="connsiteY156" fmla="*/ 653307 h 1701544"/>
                <a:gd name="connsiteX157" fmla="*/ 10567335 w 10575647"/>
                <a:gd name="connsiteY157" fmla="*/ 653307 h 1701544"/>
                <a:gd name="connsiteX158" fmla="*/ 10566383 w 10575647"/>
                <a:gd name="connsiteY158" fmla="*/ 632041 h 1701544"/>
                <a:gd name="connsiteX159" fmla="*/ 10249009 w 10575647"/>
                <a:gd name="connsiteY159" fmla="*/ 359885 h 1701544"/>
                <a:gd name="connsiteX160" fmla="*/ 9929730 w 10575647"/>
                <a:gd name="connsiteY160" fmla="*/ 627446 h 1701544"/>
                <a:gd name="connsiteX161" fmla="*/ 10212587 w 10575647"/>
                <a:gd name="connsiteY161" fmla="*/ 903611 h 1701544"/>
                <a:gd name="connsiteX162" fmla="*/ 10391099 w 10575647"/>
                <a:gd name="connsiteY162" fmla="*/ 1031625 h 1701544"/>
                <a:gd name="connsiteX163" fmla="*/ 10252715 w 10575647"/>
                <a:gd name="connsiteY163" fmla="*/ 1136874 h 1701544"/>
                <a:gd name="connsiteX164" fmla="*/ 10093843 w 10575647"/>
                <a:gd name="connsiteY164" fmla="*/ 1007579 h 1701544"/>
                <a:gd name="connsiteX165" fmla="*/ 10092096 w 10575647"/>
                <a:gd name="connsiteY165" fmla="*/ 989257 h 1701544"/>
                <a:gd name="connsiteX166" fmla="*/ 9913054 w 10575647"/>
                <a:gd name="connsiteY166" fmla="*/ 989257 h 1701544"/>
                <a:gd name="connsiteX167" fmla="*/ 9915066 w 10575647"/>
                <a:gd name="connsiteY167" fmla="*/ 1011216 h 1701544"/>
                <a:gd name="connsiteX168" fmla="*/ 10252715 w 10575647"/>
                <a:gd name="connsiteY168" fmla="*/ 1291865 h 1701544"/>
                <a:gd name="connsiteX169" fmla="*/ 10575647 w 10575647"/>
                <a:gd name="connsiteY169" fmla="*/ 1024303 h 1701544"/>
                <a:gd name="connsiteX170" fmla="*/ 10501426 w 10575647"/>
                <a:gd name="connsiteY170" fmla="*/ 843879 h 1701544"/>
                <a:gd name="connsiteX171" fmla="*/ 10285750 w 10575647"/>
                <a:gd name="connsiteY171" fmla="*/ 740769 h 1701544"/>
                <a:gd name="connsiteX172" fmla="*/ 10110519 w 10575647"/>
                <a:gd name="connsiteY172" fmla="*/ 616440 h 1701544"/>
                <a:gd name="connsiteX173" fmla="*/ 10243398 w 10575647"/>
                <a:gd name="connsiteY173" fmla="*/ 514877 h 1701544"/>
                <a:gd name="connsiteX174" fmla="*/ 10385594 w 10575647"/>
                <a:gd name="connsiteY174" fmla="*/ 623762 h 1701544"/>
                <a:gd name="connsiteX175" fmla="*/ 10385594 w 10575647"/>
                <a:gd name="connsiteY175" fmla="*/ 653307 h 170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10575647" h="1701544">
                  <a:moveTo>
                    <a:pt x="7802033" y="380187"/>
                  </a:moveTo>
                  <a:lnTo>
                    <a:pt x="7621138" y="380187"/>
                  </a:lnTo>
                  <a:lnTo>
                    <a:pt x="7621138" y="1271563"/>
                  </a:lnTo>
                  <a:lnTo>
                    <a:pt x="7802033" y="1271563"/>
                  </a:lnTo>
                  <a:lnTo>
                    <a:pt x="7802033" y="380187"/>
                  </a:lnTo>
                  <a:close/>
                  <a:moveTo>
                    <a:pt x="706522" y="1271563"/>
                  </a:moveTo>
                  <a:lnTo>
                    <a:pt x="902065" y="1271563"/>
                  </a:lnTo>
                  <a:lnTo>
                    <a:pt x="902065" y="0"/>
                  </a:lnTo>
                  <a:lnTo>
                    <a:pt x="706522" y="0"/>
                  </a:lnTo>
                  <a:lnTo>
                    <a:pt x="706522" y="553717"/>
                  </a:lnTo>
                  <a:lnTo>
                    <a:pt x="195543" y="553717"/>
                  </a:lnTo>
                  <a:lnTo>
                    <a:pt x="195543" y="0"/>
                  </a:lnTo>
                  <a:lnTo>
                    <a:pt x="0" y="0"/>
                  </a:lnTo>
                  <a:lnTo>
                    <a:pt x="0" y="1271563"/>
                  </a:lnTo>
                  <a:lnTo>
                    <a:pt x="195543" y="1271563"/>
                  </a:lnTo>
                  <a:lnTo>
                    <a:pt x="195543" y="727142"/>
                  </a:lnTo>
                  <a:lnTo>
                    <a:pt x="706522" y="727142"/>
                  </a:lnTo>
                  <a:lnTo>
                    <a:pt x="706522" y="1271563"/>
                  </a:lnTo>
                  <a:close/>
                  <a:moveTo>
                    <a:pt x="1306185" y="1690649"/>
                  </a:moveTo>
                  <a:lnTo>
                    <a:pt x="1654904" y="1036061"/>
                  </a:lnTo>
                  <a:lnTo>
                    <a:pt x="1306185" y="381469"/>
                  </a:lnTo>
                  <a:lnTo>
                    <a:pt x="1090234" y="381469"/>
                  </a:lnTo>
                  <a:lnTo>
                    <a:pt x="1438900" y="1036061"/>
                  </a:lnTo>
                  <a:lnTo>
                    <a:pt x="1090234" y="1690649"/>
                  </a:lnTo>
                  <a:lnTo>
                    <a:pt x="1306185" y="1690649"/>
                  </a:lnTo>
                  <a:close/>
                  <a:moveTo>
                    <a:pt x="2581808" y="828654"/>
                  </a:moveTo>
                  <a:cubicBezTo>
                    <a:pt x="2581808" y="1002989"/>
                    <a:pt x="2470789" y="1129505"/>
                    <a:pt x="2317883" y="1129505"/>
                  </a:cubicBezTo>
                  <a:cubicBezTo>
                    <a:pt x="2168980" y="1129505"/>
                    <a:pt x="2065011" y="1007262"/>
                    <a:pt x="2065011" y="832338"/>
                  </a:cubicBezTo>
                  <a:cubicBezTo>
                    <a:pt x="2065011" y="649088"/>
                    <a:pt x="2170314" y="525990"/>
                    <a:pt x="2327068" y="525990"/>
                  </a:cubicBezTo>
                  <a:cubicBezTo>
                    <a:pt x="2479444" y="525990"/>
                    <a:pt x="2581808" y="647590"/>
                    <a:pt x="2581808" y="828654"/>
                  </a:cubicBezTo>
                  <a:moveTo>
                    <a:pt x="2581808" y="1271563"/>
                  </a:moveTo>
                  <a:lnTo>
                    <a:pt x="2762608" y="1271563"/>
                  </a:lnTo>
                  <a:lnTo>
                    <a:pt x="2762608" y="0"/>
                  </a:lnTo>
                  <a:lnTo>
                    <a:pt x="2581808" y="0"/>
                  </a:lnTo>
                  <a:lnTo>
                    <a:pt x="2581808" y="476356"/>
                  </a:lnTo>
                  <a:cubicBezTo>
                    <a:pt x="2503431" y="397017"/>
                    <a:pt x="2412449" y="359885"/>
                    <a:pt x="2297581" y="359885"/>
                  </a:cubicBezTo>
                  <a:cubicBezTo>
                    <a:pt x="2057690" y="359885"/>
                    <a:pt x="1876785" y="562214"/>
                    <a:pt x="1876785" y="830470"/>
                  </a:cubicBezTo>
                  <a:cubicBezTo>
                    <a:pt x="1876785" y="1102145"/>
                    <a:pt x="2049839" y="1291865"/>
                    <a:pt x="2297581" y="1291865"/>
                  </a:cubicBezTo>
                  <a:cubicBezTo>
                    <a:pt x="2414371" y="1291865"/>
                    <a:pt x="2503061" y="1251959"/>
                    <a:pt x="2581808" y="1163217"/>
                  </a:cubicBezTo>
                  <a:lnTo>
                    <a:pt x="2581808" y="1271563"/>
                  </a:lnTo>
                  <a:close/>
                  <a:moveTo>
                    <a:pt x="3437445" y="542393"/>
                  </a:moveTo>
                  <a:lnTo>
                    <a:pt x="3460310" y="545331"/>
                  </a:lnTo>
                  <a:lnTo>
                    <a:pt x="3460310" y="359885"/>
                  </a:lnTo>
                  <a:lnTo>
                    <a:pt x="3406830" y="359885"/>
                  </a:lnTo>
                  <a:cubicBezTo>
                    <a:pt x="3341169" y="359885"/>
                    <a:pt x="3277430" y="380294"/>
                    <a:pt x="3231965" y="415877"/>
                  </a:cubicBezTo>
                  <a:cubicBezTo>
                    <a:pt x="3213690" y="430035"/>
                    <a:pt x="3199693" y="444353"/>
                    <a:pt x="3187194" y="462091"/>
                  </a:cubicBezTo>
                  <a:lnTo>
                    <a:pt x="3187194" y="380187"/>
                  </a:lnTo>
                  <a:lnTo>
                    <a:pt x="3006395" y="380187"/>
                  </a:lnTo>
                  <a:lnTo>
                    <a:pt x="3006395" y="1271563"/>
                  </a:lnTo>
                  <a:lnTo>
                    <a:pt x="3187194" y="1271563"/>
                  </a:lnTo>
                  <a:lnTo>
                    <a:pt x="3187194" y="819411"/>
                  </a:lnTo>
                  <a:cubicBezTo>
                    <a:pt x="3187194" y="727783"/>
                    <a:pt x="3198894" y="679915"/>
                    <a:pt x="3233517" y="629638"/>
                  </a:cubicBezTo>
                  <a:cubicBezTo>
                    <a:pt x="3272300" y="572310"/>
                    <a:pt x="3331926" y="540683"/>
                    <a:pt x="3401277" y="540683"/>
                  </a:cubicBezTo>
                  <a:cubicBezTo>
                    <a:pt x="3410356" y="540683"/>
                    <a:pt x="3423983" y="540683"/>
                    <a:pt x="3437445" y="542393"/>
                  </a:cubicBezTo>
                  <a:moveTo>
                    <a:pt x="4250980" y="826838"/>
                  </a:moveTo>
                  <a:cubicBezTo>
                    <a:pt x="4250980" y="1000692"/>
                    <a:pt x="4140918" y="1122077"/>
                    <a:pt x="3983364" y="1122077"/>
                  </a:cubicBezTo>
                  <a:cubicBezTo>
                    <a:pt x="3822174" y="1122077"/>
                    <a:pt x="3713875" y="1003466"/>
                    <a:pt x="3713875" y="826838"/>
                  </a:cubicBezTo>
                  <a:cubicBezTo>
                    <a:pt x="3713875" y="649088"/>
                    <a:pt x="3822920" y="529677"/>
                    <a:pt x="3985180" y="529677"/>
                  </a:cubicBezTo>
                  <a:cubicBezTo>
                    <a:pt x="4144179" y="529677"/>
                    <a:pt x="4250980" y="649088"/>
                    <a:pt x="4250980" y="826838"/>
                  </a:cubicBezTo>
                  <a:moveTo>
                    <a:pt x="4435464" y="828654"/>
                  </a:moveTo>
                  <a:cubicBezTo>
                    <a:pt x="4435464" y="557084"/>
                    <a:pt x="4246120" y="359885"/>
                    <a:pt x="3985180" y="359885"/>
                  </a:cubicBezTo>
                  <a:cubicBezTo>
                    <a:pt x="3716818" y="359885"/>
                    <a:pt x="3529338" y="551155"/>
                    <a:pt x="3529338" y="824916"/>
                  </a:cubicBezTo>
                  <a:cubicBezTo>
                    <a:pt x="3529338" y="1099848"/>
                    <a:pt x="3714521" y="1291865"/>
                    <a:pt x="3979622" y="1291865"/>
                  </a:cubicBezTo>
                  <a:cubicBezTo>
                    <a:pt x="4235272" y="1291865"/>
                    <a:pt x="4435464" y="1088418"/>
                    <a:pt x="4435464" y="828654"/>
                  </a:cubicBezTo>
                  <a:moveTo>
                    <a:pt x="5261608" y="828654"/>
                  </a:moveTo>
                  <a:cubicBezTo>
                    <a:pt x="5261608" y="909382"/>
                    <a:pt x="5239596" y="986748"/>
                    <a:pt x="5205508" y="1025854"/>
                  </a:cubicBezTo>
                  <a:cubicBezTo>
                    <a:pt x="5153150" y="1087026"/>
                    <a:pt x="5080062" y="1122077"/>
                    <a:pt x="5005052" y="1122077"/>
                  </a:cubicBezTo>
                  <a:cubicBezTo>
                    <a:pt x="4855296" y="1122077"/>
                    <a:pt x="4746675" y="996361"/>
                    <a:pt x="4746675" y="823153"/>
                  </a:cubicBezTo>
                  <a:cubicBezTo>
                    <a:pt x="4746675" y="650316"/>
                    <a:pt x="4854386" y="529677"/>
                    <a:pt x="5008683" y="529677"/>
                  </a:cubicBezTo>
                  <a:cubicBezTo>
                    <a:pt x="5078193" y="529677"/>
                    <a:pt x="5151652" y="563177"/>
                    <a:pt x="5200378" y="617081"/>
                  </a:cubicBezTo>
                  <a:cubicBezTo>
                    <a:pt x="5246112" y="667892"/>
                    <a:pt x="5261608" y="721266"/>
                    <a:pt x="5261608" y="828654"/>
                  </a:cubicBezTo>
                  <a:moveTo>
                    <a:pt x="5327264" y="1583314"/>
                  </a:moveTo>
                  <a:cubicBezTo>
                    <a:pt x="5409426" y="1504990"/>
                    <a:pt x="5446113" y="1404277"/>
                    <a:pt x="5446113" y="1256819"/>
                  </a:cubicBezTo>
                  <a:lnTo>
                    <a:pt x="5446113" y="380187"/>
                  </a:lnTo>
                  <a:lnTo>
                    <a:pt x="5265239" y="380187"/>
                  </a:lnTo>
                  <a:lnTo>
                    <a:pt x="5265239" y="488537"/>
                  </a:lnTo>
                  <a:cubicBezTo>
                    <a:pt x="5186005" y="398673"/>
                    <a:pt x="5100153" y="359885"/>
                    <a:pt x="4982875" y="359885"/>
                  </a:cubicBezTo>
                  <a:cubicBezTo>
                    <a:pt x="4866567" y="359885"/>
                    <a:pt x="4771201" y="395361"/>
                    <a:pt x="4699394" y="465190"/>
                  </a:cubicBezTo>
                  <a:cubicBezTo>
                    <a:pt x="4611080" y="549710"/>
                    <a:pt x="4558400" y="685574"/>
                    <a:pt x="4558400" y="828654"/>
                  </a:cubicBezTo>
                  <a:cubicBezTo>
                    <a:pt x="4558400" y="1092743"/>
                    <a:pt x="4736097" y="1291865"/>
                    <a:pt x="4971816" y="1291865"/>
                  </a:cubicBezTo>
                  <a:cubicBezTo>
                    <a:pt x="5092032" y="1291865"/>
                    <a:pt x="5185952" y="1246830"/>
                    <a:pt x="5265239" y="1150553"/>
                  </a:cubicBezTo>
                  <a:lnTo>
                    <a:pt x="5265239" y="1267931"/>
                  </a:lnTo>
                  <a:cubicBezTo>
                    <a:pt x="5265239" y="1350745"/>
                    <a:pt x="5245313" y="1414431"/>
                    <a:pt x="5206095" y="1457116"/>
                  </a:cubicBezTo>
                  <a:cubicBezTo>
                    <a:pt x="5162288" y="1504291"/>
                    <a:pt x="5083159" y="1533625"/>
                    <a:pt x="4999546" y="1533625"/>
                  </a:cubicBezTo>
                  <a:cubicBezTo>
                    <a:pt x="4932122" y="1533625"/>
                    <a:pt x="4856471" y="1514979"/>
                    <a:pt x="4811695" y="1487409"/>
                  </a:cubicBezTo>
                  <a:cubicBezTo>
                    <a:pt x="4788777" y="1471596"/>
                    <a:pt x="4771254" y="1455624"/>
                    <a:pt x="4733588" y="1416300"/>
                  </a:cubicBezTo>
                  <a:lnTo>
                    <a:pt x="4719215" y="1401339"/>
                  </a:lnTo>
                  <a:lnTo>
                    <a:pt x="4595103" y="1525451"/>
                  </a:lnTo>
                  <a:lnTo>
                    <a:pt x="4607819" y="1539824"/>
                  </a:lnTo>
                  <a:cubicBezTo>
                    <a:pt x="4703719" y="1647106"/>
                    <a:pt x="4835528" y="1701544"/>
                    <a:pt x="4999546" y="1701544"/>
                  </a:cubicBezTo>
                  <a:cubicBezTo>
                    <a:pt x="5134664" y="1701544"/>
                    <a:pt x="5247981" y="1660675"/>
                    <a:pt x="5327264" y="1583314"/>
                  </a:cubicBezTo>
                  <a:moveTo>
                    <a:pt x="6317923" y="747497"/>
                  </a:moveTo>
                  <a:lnTo>
                    <a:pt x="5805203" y="747497"/>
                  </a:lnTo>
                  <a:cubicBezTo>
                    <a:pt x="5814785" y="696051"/>
                    <a:pt x="5825267" y="667627"/>
                    <a:pt x="5845913" y="635144"/>
                  </a:cubicBezTo>
                  <a:cubicBezTo>
                    <a:pt x="5892024" y="566756"/>
                    <a:pt x="5971327" y="525990"/>
                    <a:pt x="6057989" y="525990"/>
                  </a:cubicBezTo>
                  <a:cubicBezTo>
                    <a:pt x="6144228" y="525990"/>
                    <a:pt x="6225702" y="566274"/>
                    <a:pt x="6275730" y="633487"/>
                  </a:cubicBezTo>
                  <a:cubicBezTo>
                    <a:pt x="6300453" y="669067"/>
                    <a:pt x="6312047" y="699841"/>
                    <a:pt x="6317923" y="747497"/>
                  </a:cubicBezTo>
                  <a:moveTo>
                    <a:pt x="6508188" y="872890"/>
                  </a:moveTo>
                  <a:cubicBezTo>
                    <a:pt x="6510094" y="851683"/>
                    <a:pt x="6510094" y="827426"/>
                    <a:pt x="6510094" y="815779"/>
                  </a:cubicBezTo>
                  <a:cubicBezTo>
                    <a:pt x="6510094" y="555909"/>
                    <a:pt x="6315700" y="359885"/>
                    <a:pt x="6057989" y="359885"/>
                  </a:cubicBezTo>
                  <a:cubicBezTo>
                    <a:pt x="5798109" y="359885"/>
                    <a:pt x="5609538" y="557084"/>
                    <a:pt x="5609538" y="828654"/>
                  </a:cubicBezTo>
                  <a:cubicBezTo>
                    <a:pt x="5609538" y="1097074"/>
                    <a:pt x="5800491" y="1291865"/>
                    <a:pt x="6063495" y="1291865"/>
                  </a:cubicBezTo>
                  <a:cubicBezTo>
                    <a:pt x="6235020" y="1291865"/>
                    <a:pt x="6386956" y="1199867"/>
                    <a:pt x="6460066" y="1051710"/>
                  </a:cubicBezTo>
                  <a:lnTo>
                    <a:pt x="6469966" y="1031572"/>
                  </a:lnTo>
                  <a:lnTo>
                    <a:pt x="6308923" y="971517"/>
                  </a:lnTo>
                  <a:lnTo>
                    <a:pt x="6300559" y="986689"/>
                  </a:lnTo>
                  <a:cubicBezTo>
                    <a:pt x="6254237" y="1068968"/>
                    <a:pt x="6161169" y="1122077"/>
                    <a:pt x="6063495" y="1122077"/>
                  </a:cubicBezTo>
                  <a:cubicBezTo>
                    <a:pt x="5977415" y="1122077"/>
                    <a:pt x="5901923" y="1083664"/>
                    <a:pt x="5850784" y="1013832"/>
                  </a:cubicBezTo>
                  <a:cubicBezTo>
                    <a:pt x="5821932" y="975900"/>
                    <a:pt x="5809438" y="945021"/>
                    <a:pt x="5802132" y="891377"/>
                  </a:cubicBezTo>
                  <a:lnTo>
                    <a:pt x="6506547" y="891377"/>
                  </a:lnTo>
                  <a:lnTo>
                    <a:pt x="6508188" y="872890"/>
                  </a:lnTo>
                  <a:close/>
                  <a:moveTo>
                    <a:pt x="7205139" y="1271563"/>
                  </a:moveTo>
                  <a:lnTo>
                    <a:pt x="7385928" y="1271563"/>
                  </a:lnTo>
                  <a:lnTo>
                    <a:pt x="7385928" y="677294"/>
                  </a:lnTo>
                  <a:cubicBezTo>
                    <a:pt x="7385928" y="554734"/>
                    <a:pt x="7365387" y="491422"/>
                    <a:pt x="7307154" y="435163"/>
                  </a:cubicBezTo>
                  <a:cubicBezTo>
                    <a:pt x="7252520" y="386599"/>
                    <a:pt x="7177557" y="359885"/>
                    <a:pt x="7096189" y="359885"/>
                  </a:cubicBezTo>
                  <a:cubicBezTo>
                    <a:pt x="7000739" y="359885"/>
                    <a:pt x="6929853" y="391193"/>
                    <a:pt x="6863625" y="463694"/>
                  </a:cubicBezTo>
                  <a:lnTo>
                    <a:pt x="6863625" y="380187"/>
                  </a:lnTo>
                  <a:lnTo>
                    <a:pt x="6682836" y="380187"/>
                  </a:lnTo>
                  <a:lnTo>
                    <a:pt x="6682836" y="1271563"/>
                  </a:lnTo>
                  <a:lnTo>
                    <a:pt x="6863625" y="1271563"/>
                  </a:lnTo>
                  <a:lnTo>
                    <a:pt x="6863625" y="732701"/>
                  </a:lnTo>
                  <a:cubicBezTo>
                    <a:pt x="6863625" y="667839"/>
                    <a:pt x="6876278" y="632147"/>
                    <a:pt x="6913971" y="591066"/>
                  </a:cubicBezTo>
                  <a:cubicBezTo>
                    <a:pt x="6951505" y="548481"/>
                    <a:pt x="7002433" y="525990"/>
                    <a:pt x="7061143" y="525990"/>
                  </a:cubicBezTo>
                  <a:cubicBezTo>
                    <a:pt x="7110748" y="525990"/>
                    <a:pt x="7155428" y="544744"/>
                    <a:pt x="7177769" y="575089"/>
                  </a:cubicBezTo>
                  <a:cubicBezTo>
                    <a:pt x="7197410" y="601215"/>
                    <a:pt x="7205139" y="638722"/>
                    <a:pt x="7205139" y="708709"/>
                  </a:cubicBezTo>
                  <a:lnTo>
                    <a:pt x="7205139" y="1271563"/>
                  </a:lnTo>
                  <a:close/>
                  <a:moveTo>
                    <a:pt x="7822309" y="162418"/>
                  </a:moveTo>
                  <a:cubicBezTo>
                    <a:pt x="7822309" y="99268"/>
                    <a:pt x="7774452" y="49847"/>
                    <a:pt x="7713412" y="49847"/>
                  </a:cubicBezTo>
                  <a:cubicBezTo>
                    <a:pt x="7650255" y="49847"/>
                    <a:pt x="7602662" y="97451"/>
                    <a:pt x="7602662" y="160549"/>
                  </a:cubicBezTo>
                  <a:cubicBezTo>
                    <a:pt x="7602662" y="223699"/>
                    <a:pt x="7649514" y="271303"/>
                    <a:pt x="7711560" y="271303"/>
                  </a:cubicBezTo>
                  <a:cubicBezTo>
                    <a:pt x="7773711" y="271303"/>
                    <a:pt x="7822309" y="223432"/>
                    <a:pt x="7822309" y="162418"/>
                  </a:cubicBezTo>
                  <a:moveTo>
                    <a:pt x="8704760" y="826838"/>
                  </a:moveTo>
                  <a:cubicBezTo>
                    <a:pt x="8704760" y="1000692"/>
                    <a:pt x="8594751" y="1122077"/>
                    <a:pt x="8437150" y="1122077"/>
                  </a:cubicBezTo>
                  <a:cubicBezTo>
                    <a:pt x="8276002" y="1122077"/>
                    <a:pt x="8167740" y="1003466"/>
                    <a:pt x="8167740" y="826838"/>
                  </a:cubicBezTo>
                  <a:cubicBezTo>
                    <a:pt x="8167740" y="649088"/>
                    <a:pt x="8276743" y="529677"/>
                    <a:pt x="8439003" y="529677"/>
                  </a:cubicBezTo>
                  <a:cubicBezTo>
                    <a:pt x="8597980" y="529677"/>
                    <a:pt x="8704760" y="649088"/>
                    <a:pt x="8704760" y="826838"/>
                  </a:cubicBezTo>
                  <a:moveTo>
                    <a:pt x="8889307" y="828654"/>
                  </a:moveTo>
                  <a:cubicBezTo>
                    <a:pt x="8889307" y="557084"/>
                    <a:pt x="8699942" y="359885"/>
                    <a:pt x="8439003" y="359885"/>
                  </a:cubicBezTo>
                  <a:cubicBezTo>
                    <a:pt x="8170652" y="359885"/>
                    <a:pt x="7983193" y="551155"/>
                    <a:pt x="7983193" y="824916"/>
                  </a:cubicBezTo>
                  <a:cubicBezTo>
                    <a:pt x="7983193" y="1099848"/>
                    <a:pt x="8168375" y="1291865"/>
                    <a:pt x="8433444" y="1291865"/>
                  </a:cubicBezTo>
                  <a:cubicBezTo>
                    <a:pt x="8689089" y="1291865"/>
                    <a:pt x="8889307" y="1088418"/>
                    <a:pt x="8889307" y="828654"/>
                  </a:cubicBezTo>
                  <a:moveTo>
                    <a:pt x="9658150" y="1197940"/>
                  </a:moveTo>
                  <a:cubicBezTo>
                    <a:pt x="9724854" y="1137144"/>
                    <a:pt x="9749630" y="1068539"/>
                    <a:pt x="9749630" y="944968"/>
                  </a:cubicBezTo>
                  <a:lnTo>
                    <a:pt x="9749630" y="380187"/>
                  </a:lnTo>
                  <a:lnTo>
                    <a:pt x="9566988" y="380187"/>
                  </a:lnTo>
                  <a:lnTo>
                    <a:pt x="9566988" y="944968"/>
                  </a:lnTo>
                  <a:cubicBezTo>
                    <a:pt x="9566988" y="1008437"/>
                    <a:pt x="9558835" y="1039587"/>
                    <a:pt x="9535012" y="1068222"/>
                  </a:cubicBezTo>
                  <a:cubicBezTo>
                    <a:pt x="9503831" y="1104284"/>
                    <a:pt x="9453009" y="1125815"/>
                    <a:pt x="9399010" y="1125815"/>
                  </a:cubicBezTo>
                  <a:cubicBezTo>
                    <a:pt x="9299060" y="1125815"/>
                    <a:pt x="9229233" y="1049947"/>
                    <a:pt x="9229233" y="941225"/>
                  </a:cubicBezTo>
                  <a:lnTo>
                    <a:pt x="9229233" y="380187"/>
                  </a:lnTo>
                  <a:lnTo>
                    <a:pt x="9048391" y="380187"/>
                  </a:lnTo>
                  <a:lnTo>
                    <a:pt x="9048391" y="944968"/>
                  </a:lnTo>
                  <a:cubicBezTo>
                    <a:pt x="9048391" y="1054330"/>
                    <a:pt x="9078249" y="1136392"/>
                    <a:pt x="9139659" y="1195965"/>
                  </a:cubicBezTo>
                  <a:cubicBezTo>
                    <a:pt x="9204563" y="1256925"/>
                    <a:pt x="9299113" y="1291865"/>
                    <a:pt x="9399010" y="1291865"/>
                  </a:cubicBezTo>
                  <a:cubicBezTo>
                    <a:pt x="9499701" y="1291865"/>
                    <a:pt x="9591763" y="1258529"/>
                    <a:pt x="9658150" y="1197945"/>
                  </a:cubicBezTo>
                  <a:moveTo>
                    <a:pt x="10385594" y="653307"/>
                  </a:moveTo>
                  <a:lnTo>
                    <a:pt x="10567335" y="653307"/>
                  </a:lnTo>
                  <a:lnTo>
                    <a:pt x="10566383" y="632041"/>
                  </a:lnTo>
                  <a:cubicBezTo>
                    <a:pt x="10558442" y="459099"/>
                    <a:pt x="10442768" y="359885"/>
                    <a:pt x="10249009" y="359885"/>
                  </a:cubicBezTo>
                  <a:cubicBezTo>
                    <a:pt x="10058003" y="359885"/>
                    <a:pt x="9929730" y="467434"/>
                    <a:pt x="9929730" y="627446"/>
                  </a:cubicBezTo>
                  <a:cubicBezTo>
                    <a:pt x="9929730" y="765666"/>
                    <a:pt x="10016922" y="850825"/>
                    <a:pt x="10212587" y="903611"/>
                  </a:cubicBezTo>
                  <a:cubicBezTo>
                    <a:pt x="10347689" y="937858"/>
                    <a:pt x="10391099" y="968955"/>
                    <a:pt x="10391099" y="1031625"/>
                  </a:cubicBezTo>
                  <a:cubicBezTo>
                    <a:pt x="10391099" y="1095576"/>
                    <a:pt x="10336730" y="1136874"/>
                    <a:pt x="10252715" y="1136874"/>
                  </a:cubicBezTo>
                  <a:cubicBezTo>
                    <a:pt x="10155517" y="1136874"/>
                    <a:pt x="10102102" y="1093384"/>
                    <a:pt x="10093843" y="1007579"/>
                  </a:cubicBezTo>
                  <a:lnTo>
                    <a:pt x="10092096" y="989257"/>
                  </a:lnTo>
                  <a:lnTo>
                    <a:pt x="9913054" y="989257"/>
                  </a:lnTo>
                  <a:lnTo>
                    <a:pt x="9915066" y="1011216"/>
                  </a:lnTo>
                  <a:cubicBezTo>
                    <a:pt x="9930789" y="1194843"/>
                    <a:pt x="10047626" y="1291865"/>
                    <a:pt x="10252715" y="1291865"/>
                  </a:cubicBezTo>
                  <a:cubicBezTo>
                    <a:pt x="10445839" y="1291865"/>
                    <a:pt x="10575647" y="1184371"/>
                    <a:pt x="10575647" y="1024303"/>
                  </a:cubicBezTo>
                  <a:cubicBezTo>
                    <a:pt x="10575647" y="956667"/>
                    <a:pt x="10548542" y="890948"/>
                    <a:pt x="10501426" y="843879"/>
                  </a:cubicBezTo>
                  <a:cubicBezTo>
                    <a:pt x="10457485" y="799913"/>
                    <a:pt x="10397028" y="770955"/>
                    <a:pt x="10285750" y="740769"/>
                  </a:cubicBezTo>
                  <a:cubicBezTo>
                    <a:pt x="10125660" y="696474"/>
                    <a:pt x="10110519" y="671471"/>
                    <a:pt x="10110519" y="616440"/>
                  </a:cubicBezTo>
                  <a:cubicBezTo>
                    <a:pt x="10110519" y="553823"/>
                    <a:pt x="10161447" y="514877"/>
                    <a:pt x="10243398" y="514877"/>
                  </a:cubicBezTo>
                  <a:cubicBezTo>
                    <a:pt x="10329795" y="514877"/>
                    <a:pt x="10385594" y="557672"/>
                    <a:pt x="10385594" y="623762"/>
                  </a:cubicBezTo>
                  <a:lnTo>
                    <a:pt x="10385594" y="653307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</p:grp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56521332-1C40-3B2D-E866-DA4DD019EB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3C65610F-C9DD-99D9-A427-76C421FCD0B0}"/>
              </a:ext>
            </a:extLst>
          </p:cNvPr>
          <p:cNvGrpSpPr/>
          <p:nvPr userDrawn="1"/>
        </p:nvGrpSpPr>
        <p:grpSpPr>
          <a:xfrm rot="5400000">
            <a:off x="-3617983" y="3323777"/>
            <a:ext cx="6854690" cy="213756"/>
            <a:chOff x="-1" y="-286346"/>
            <a:chExt cx="5820565" cy="181508"/>
          </a:xfrm>
        </p:grpSpPr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BF3A7220-0018-82E4-C2EE-601A458458B7}"/>
                </a:ext>
              </a:extLst>
            </p:cNvPr>
            <p:cNvGrpSpPr/>
            <p:nvPr userDrawn="1"/>
          </p:nvGrpSpPr>
          <p:grpSpPr>
            <a:xfrm rot="16200000">
              <a:off x="363007" y="-649354"/>
              <a:ext cx="181503" cy="907520"/>
              <a:chOff x="1319213" y="-1663170"/>
              <a:chExt cx="181503" cy="907520"/>
            </a:xfrm>
          </p:grpSpPr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DFB5F8F2-70DF-9B34-EF36-734D6D842993}"/>
                  </a:ext>
                </a:extLst>
              </p:cNvPr>
              <p:cNvSpPr/>
              <p:nvPr/>
            </p:nvSpPr>
            <p:spPr>
              <a:xfrm>
                <a:off x="1319213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44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51C88F9E-8ADB-E7DF-2E21-B29B5C5F29EF}"/>
                  </a:ext>
                </a:extLst>
              </p:cNvPr>
              <p:cNvSpPr/>
              <p:nvPr/>
            </p:nvSpPr>
            <p:spPr>
              <a:xfrm>
                <a:off x="1319213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69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65BD55E0-7BB5-D3AE-7BA8-EC97B4B49227}"/>
                  </a:ext>
                </a:extLst>
              </p:cNvPr>
              <p:cNvSpPr/>
              <p:nvPr/>
            </p:nvSpPr>
            <p:spPr>
              <a:xfrm>
                <a:off x="1319213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FE8F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96808F07-39C3-7EC7-F1DD-079197E5CDE2}"/>
                  </a:ext>
                </a:extLst>
              </p:cNvPr>
              <p:cNvSpPr/>
              <p:nvPr/>
            </p:nvSpPr>
            <p:spPr>
              <a:xfrm>
                <a:off x="1319213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B4B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3A677237-42AA-8D73-4BAD-E05177337B52}"/>
                  </a:ext>
                </a:extLst>
              </p:cNvPr>
              <p:cNvSpPr/>
              <p:nvPr/>
            </p:nvSpPr>
            <p:spPr>
              <a:xfrm>
                <a:off x="1319213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D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CA952DA8-62BE-DC10-ED3F-8A25F1BEED32}"/>
                </a:ext>
              </a:extLst>
            </p:cNvPr>
            <p:cNvGrpSpPr/>
            <p:nvPr userDrawn="1"/>
          </p:nvGrpSpPr>
          <p:grpSpPr>
            <a:xfrm rot="16200000">
              <a:off x="1345616" y="-649354"/>
              <a:ext cx="181503" cy="907520"/>
              <a:chOff x="1319213" y="-664912"/>
              <a:chExt cx="181503" cy="907520"/>
            </a:xfrm>
          </p:grpSpPr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9169149F-CDDC-AF2F-0DB6-43163F3CCDBF}"/>
                  </a:ext>
                </a:extLst>
              </p:cNvPr>
              <p:cNvSpPr/>
              <p:nvPr/>
            </p:nvSpPr>
            <p:spPr>
              <a:xfrm>
                <a:off x="1319213" y="-66491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6400A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00E22D7D-D35B-6129-1D13-61B55F46F417}"/>
                  </a:ext>
                </a:extLst>
              </p:cNvPr>
              <p:cNvSpPr/>
              <p:nvPr/>
            </p:nvSpPr>
            <p:spPr>
              <a:xfrm>
                <a:off x="1319213" y="-483404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33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2C5526FD-809F-8E92-7F5B-2B011A4A08BE}"/>
                  </a:ext>
                </a:extLst>
              </p:cNvPr>
              <p:cNvSpPr/>
              <p:nvPr/>
            </p:nvSpPr>
            <p:spPr>
              <a:xfrm>
                <a:off x="1319213" y="-30189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266C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4F76FEA1-419A-3D29-F4C8-37F817ADDA2E}"/>
                  </a:ext>
                </a:extLst>
              </p:cNvPr>
              <p:cNvSpPr/>
              <p:nvPr/>
            </p:nvSpPr>
            <p:spPr>
              <a:xfrm>
                <a:off x="1319213" y="-120387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199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3ED11F61-3651-2E09-D92A-A26C8455C570}"/>
                  </a:ext>
                </a:extLst>
              </p:cNvPr>
              <p:cNvSpPr/>
              <p:nvPr/>
            </p:nvSpPr>
            <p:spPr>
              <a:xfrm>
                <a:off x="1319213" y="6110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0CC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DA7F8AF4-D852-C6A7-452B-92257EA1CE99}"/>
                </a:ext>
              </a:extLst>
            </p:cNvPr>
            <p:cNvGrpSpPr/>
            <p:nvPr userDrawn="1"/>
          </p:nvGrpSpPr>
          <p:grpSpPr>
            <a:xfrm rot="16200000">
              <a:off x="2328223" y="-649352"/>
              <a:ext cx="181508" cy="907520"/>
              <a:chOff x="1682219" y="-1663170"/>
              <a:chExt cx="181508" cy="907520"/>
            </a:xfrm>
          </p:grpSpPr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3DA024A9-7763-2028-4259-EE558725FA49}"/>
                  </a:ext>
                </a:extLst>
              </p:cNvPr>
              <p:cNvSpPr/>
              <p:nvPr/>
            </p:nvSpPr>
            <p:spPr>
              <a:xfrm>
                <a:off x="1682219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CC8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E3B226BC-D8C8-3CED-2516-B3869BCD34DB}"/>
                  </a:ext>
                </a:extLst>
              </p:cNvPr>
              <p:cNvSpPr/>
              <p:nvPr/>
            </p:nvSpPr>
            <p:spPr>
              <a:xfrm>
                <a:off x="1682224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3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F0F3118C-2694-64F6-DAEC-649BA15CFD64}"/>
                  </a:ext>
                </a:extLst>
              </p:cNvPr>
              <p:cNvSpPr/>
              <p:nvPr/>
            </p:nvSpPr>
            <p:spPr>
              <a:xfrm>
                <a:off x="1682224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ADE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B90500B8-E064-E554-C70D-9FE963A62680}"/>
                  </a:ext>
                </a:extLst>
              </p:cNvPr>
              <p:cNvSpPr/>
              <p:nvPr/>
            </p:nvSpPr>
            <p:spPr>
              <a:xfrm>
                <a:off x="1682224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E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A87D75F8-4C67-1536-4810-A46F61BE56B6}"/>
                  </a:ext>
                </a:extLst>
              </p:cNvPr>
              <p:cNvSpPr/>
              <p:nvPr/>
            </p:nvSpPr>
            <p:spPr>
              <a:xfrm>
                <a:off x="1682219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8F4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327D27F-340C-3B24-F626-A28BE93334BB}"/>
                </a:ext>
              </a:extLst>
            </p:cNvPr>
            <p:cNvGrpSpPr/>
            <p:nvPr userDrawn="1"/>
          </p:nvGrpSpPr>
          <p:grpSpPr>
            <a:xfrm rot="16200000">
              <a:off x="5276052" y="-649354"/>
              <a:ext cx="181503" cy="907520"/>
              <a:chOff x="2226738" y="-1663170"/>
              <a:chExt cx="181503" cy="907520"/>
            </a:xfrm>
          </p:grpSpPr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78859DEC-DFCE-13D6-5A0B-CA7FA7DF28E1}"/>
                  </a:ext>
                </a:extLst>
              </p:cNvPr>
              <p:cNvSpPr/>
              <p:nvPr/>
            </p:nvSpPr>
            <p:spPr>
              <a:xfrm>
                <a:off x="2226738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DBD81056-ADEA-E875-347C-92D5F909628E}"/>
                  </a:ext>
                </a:extLst>
              </p:cNvPr>
              <p:cNvSpPr/>
              <p:nvPr/>
            </p:nvSpPr>
            <p:spPr>
              <a:xfrm>
                <a:off x="2226738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5757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E31B857C-E686-7238-3BBE-41805EC241C8}"/>
                  </a:ext>
                </a:extLst>
              </p:cNvPr>
              <p:cNvSpPr/>
              <p:nvPr/>
            </p:nvSpPr>
            <p:spPr>
              <a:xfrm>
                <a:off x="2226738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8787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BE9D85B0-A1C7-2687-FE3D-0CACBE1ACDAA}"/>
                  </a:ext>
                </a:extLst>
              </p:cNvPr>
              <p:cNvSpPr/>
              <p:nvPr/>
            </p:nvSpPr>
            <p:spPr>
              <a:xfrm>
                <a:off x="2226738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2B2B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58B6948B-7EB3-2E80-9808-58BD517FDC29}"/>
                  </a:ext>
                </a:extLst>
              </p:cNvPr>
              <p:cNvSpPr/>
              <p:nvPr/>
            </p:nvSpPr>
            <p:spPr>
              <a:xfrm>
                <a:off x="2226738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DA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99F874AA-E9F1-987E-51D7-D05BACB71445}"/>
                </a:ext>
              </a:extLst>
            </p:cNvPr>
            <p:cNvGrpSpPr/>
            <p:nvPr userDrawn="1"/>
          </p:nvGrpSpPr>
          <p:grpSpPr>
            <a:xfrm rot="16200000">
              <a:off x="3310834" y="-649354"/>
              <a:ext cx="181503" cy="907520"/>
              <a:chOff x="1863727" y="-1663170"/>
              <a:chExt cx="181503" cy="907520"/>
            </a:xfrm>
          </p:grpSpPr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090ACA57-A1E4-EA6B-CE0F-53EFEBB46823}"/>
                  </a:ext>
                </a:extLst>
              </p:cNvPr>
              <p:cNvSpPr/>
              <p:nvPr/>
            </p:nvSpPr>
            <p:spPr>
              <a:xfrm>
                <a:off x="1863727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2A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2676A9B0-F77E-B7D7-3DAC-995CF1DAAF25}"/>
                  </a:ext>
                </a:extLst>
              </p:cNvPr>
              <p:cNvSpPr/>
              <p:nvPr/>
            </p:nvSpPr>
            <p:spPr>
              <a:xfrm>
                <a:off x="1863727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5DB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318376F1-B05C-161B-8B84-73E9E6692D1B}"/>
                  </a:ext>
                </a:extLst>
              </p:cNvPr>
              <p:cNvSpPr/>
              <p:nvPr/>
            </p:nvSpPr>
            <p:spPr>
              <a:xfrm>
                <a:off x="1863727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8E4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DC008F65-E254-1BD3-D2BE-0DB3EE3F6CDF}"/>
                  </a:ext>
                </a:extLst>
              </p:cNvPr>
              <p:cNvSpPr/>
              <p:nvPr/>
            </p:nvSpPr>
            <p:spPr>
              <a:xfrm>
                <a:off x="1863727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ED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037E2BBE-1C93-F884-EDE9-B218534A70F0}"/>
                  </a:ext>
                </a:extLst>
              </p:cNvPr>
              <p:cNvSpPr/>
              <p:nvPr/>
            </p:nvSpPr>
            <p:spPr>
              <a:xfrm>
                <a:off x="1863727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DF6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8B57DC9B-7DA3-30B6-BADA-735A008F3DF5}"/>
                </a:ext>
              </a:extLst>
            </p:cNvPr>
            <p:cNvGrpSpPr/>
            <p:nvPr userDrawn="1"/>
          </p:nvGrpSpPr>
          <p:grpSpPr>
            <a:xfrm rot="16200000">
              <a:off x="4293441" y="-649352"/>
              <a:ext cx="181508" cy="907520"/>
              <a:chOff x="2045230" y="-1663170"/>
              <a:chExt cx="181508" cy="907520"/>
            </a:xfrm>
          </p:grpSpPr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EB7C088D-1084-9429-6AA1-AB6D13509102}"/>
                  </a:ext>
                </a:extLst>
              </p:cNvPr>
              <p:cNvSpPr/>
              <p:nvPr/>
            </p:nvSpPr>
            <p:spPr>
              <a:xfrm>
                <a:off x="2045230" y="-937158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9F7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85A8EFED-96C7-0AD1-9A1C-55D1F44BDCC8}"/>
                  </a:ext>
                </a:extLst>
              </p:cNvPr>
              <p:cNvSpPr/>
              <p:nvPr/>
            </p:nvSpPr>
            <p:spPr>
              <a:xfrm>
                <a:off x="2045230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FED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427ECB87-EC9F-205A-1659-D8DA767DC1F0}"/>
                  </a:ext>
                </a:extLst>
              </p:cNvPr>
              <p:cNvSpPr/>
              <p:nvPr/>
            </p:nvSpPr>
            <p:spPr>
              <a:xfrm>
                <a:off x="2045230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5E3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7D6395C4-90A9-0F4F-A1A7-B5A64CB985F0}"/>
                  </a:ext>
                </a:extLst>
              </p:cNvPr>
              <p:cNvSpPr/>
              <p:nvPr/>
            </p:nvSpPr>
            <p:spPr>
              <a:xfrm>
                <a:off x="2045230" y="-1663170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CFC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98DA1839-7494-F77E-F3D1-B32345CB027F}"/>
                  </a:ext>
                </a:extLst>
              </p:cNvPr>
              <p:cNvSpPr/>
              <p:nvPr/>
            </p:nvSpPr>
            <p:spPr>
              <a:xfrm>
                <a:off x="2045230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BD9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3122417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 (red) and Content 2/3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Grafik 47">
            <a:extLst>
              <a:ext uri="{FF2B5EF4-FFF2-40B4-BE49-F238E27FC236}">
                <a16:creationId xmlns:a16="http://schemas.microsoft.com/office/drawing/2014/main" id="{85BAE328-92E0-736E-77C8-616E871384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6000" y="0"/>
            <a:ext cx="4055999" cy="6857999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63000" y="843891"/>
            <a:ext cx="2770186" cy="55106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964FA6FD-B18C-64CF-40CD-9C782D91C43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415668" y="503483"/>
            <a:ext cx="1289916" cy="180000"/>
            <a:chOff x="-161925" y="-1630732"/>
            <a:chExt cx="12193587" cy="1701544"/>
          </a:xfrm>
          <a:solidFill>
            <a:schemeClr val="bg1"/>
          </a:solidFill>
        </p:grpSpPr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0BAA8276-ECA1-E336-BCFB-04B3EC51B77A}"/>
                </a:ext>
              </a:extLst>
            </p:cNvPr>
            <p:cNvSpPr/>
            <p:nvPr/>
          </p:nvSpPr>
          <p:spPr>
            <a:xfrm>
              <a:off x="10774928" y="-1247713"/>
              <a:ext cx="1256734" cy="356304"/>
            </a:xfrm>
            <a:custGeom>
              <a:avLst/>
              <a:gdLst>
                <a:gd name="connsiteX0" fmla="*/ 1226823 w 1256734"/>
                <a:gd name="connsiteY0" fmla="*/ 269166 h 356304"/>
                <a:gd name="connsiteX1" fmla="*/ 1133491 w 1256734"/>
                <a:gd name="connsiteY1" fmla="*/ 316610 h 356304"/>
                <a:gd name="connsiteX2" fmla="*/ 1010248 w 1256734"/>
                <a:gd name="connsiteY2" fmla="*/ 178448 h 356304"/>
                <a:gd name="connsiteX3" fmla="*/ 1131426 w 1256734"/>
                <a:gd name="connsiteY3" fmla="*/ 39696 h 356304"/>
                <a:gd name="connsiteX4" fmla="*/ 1226823 w 1256734"/>
                <a:gd name="connsiteY4" fmla="*/ 86659 h 356304"/>
                <a:gd name="connsiteX5" fmla="*/ 1256735 w 1256734"/>
                <a:gd name="connsiteY5" fmla="*/ 58823 h 356304"/>
                <a:gd name="connsiteX6" fmla="*/ 1216553 w 1256734"/>
                <a:gd name="connsiteY6" fmla="*/ 23241 h 356304"/>
                <a:gd name="connsiteX7" fmla="*/ 1130420 w 1256734"/>
                <a:gd name="connsiteY7" fmla="*/ 0 h 356304"/>
                <a:gd name="connsiteX8" fmla="*/ 965885 w 1256734"/>
                <a:gd name="connsiteY8" fmla="*/ 178448 h 356304"/>
                <a:gd name="connsiteX9" fmla="*/ 1011783 w 1256734"/>
                <a:gd name="connsiteY9" fmla="*/ 305763 h 356304"/>
                <a:gd name="connsiteX10" fmla="*/ 1129892 w 1256734"/>
                <a:gd name="connsiteY10" fmla="*/ 356305 h 356304"/>
                <a:gd name="connsiteX11" fmla="*/ 1255676 w 1256734"/>
                <a:gd name="connsiteY11" fmla="*/ 298071 h 356304"/>
                <a:gd name="connsiteX12" fmla="*/ 1226823 w 1256734"/>
                <a:gd name="connsiteY12" fmla="*/ 269166 h 356304"/>
                <a:gd name="connsiteX13" fmla="*/ 679216 w 1256734"/>
                <a:gd name="connsiteY13" fmla="*/ 197999 h 356304"/>
                <a:gd name="connsiteX14" fmla="*/ 846824 w 1256734"/>
                <a:gd name="connsiteY14" fmla="*/ 197999 h 356304"/>
                <a:gd name="connsiteX15" fmla="*/ 846824 w 1256734"/>
                <a:gd name="connsiteY15" fmla="*/ 350105 h 356304"/>
                <a:gd name="connsiteX16" fmla="*/ 890075 w 1256734"/>
                <a:gd name="connsiteY16" fmla="*/ 350105 h 356304"/>
                <a:gd name="connsiteX17" fmla="*/ 890075 w 1256734"/>
                <a:gd name="connsiteY17" fmla="*/ 6198 h 356304"/>
                <a:gd name="connsiteX18" fmla="*/ 846824 w 1256734"/>
                <a:gd name="connsiteY18" fmla="*/ 6198 h 356304"/>
                <a:gd name="connsiteX19" fmla="*/ 846824 w 1256734"/>
                <a:gd name="connsiteY19" fmla="*/ 160920 h 356304"/>
                <a:gd name="connsiteX20" fmla="*/ 679216 w 1256734"/>
                <a:gd name="connsiteY20" fmla="*/ 160920 h 356304"/>
                <a:gd name="connsiteX21" fmla="*/ 679216 w 1256734"/>
                <a:gd name="connsiteY21" fmla="*/ 6198 h 356304"/>
                <a:gd name="connsiteX22" fmla="*/ 635912 w 1256734"/>
                <a:gd name="connsiteY22" fmla="*/ 6198 h 356304"/>
                <a:gd name="connsiteX23" fmla="*/ 635912 w 1256734"/>
                <a:gd name="connsiteY23" fmla="*/ 350105 h 356304"/>
                <a:gd name="connsiteX24" fmla="*/ 679216 w 1256734"/>
                <a:gd name="connsiteY24" fmla="*/ 350105 h 356304"/>
                <a:gd name="connsiteX25" fmla="*/ 679216 w 1256734"/>
                <a:gd name="connsiteY25" fmla="*/ 197999 h 356304"/>
                <a:gd name="connsiteX26" fmla="*/ 392018 w 1256734"/>
                <a:gd name="connsiteY26" fmla="*/ 40230 h 356304"/>
                <a:gd name="connsiteX27" fmla="*/ 476563 w 1256734"/>
                <a:gd name="connsiteY27" fmla="*/ 75813 h 356304"/>
                <a:gd name="connsiteX28" fmla="*/ 515792 w 1256734"/>
                <a:gd name="connsiteY28" fmla="*/ 181011 h 356304"/>
                <a:gd name="connsiteX29" fmla="*/ 482758 w 1256734"/>
                <a:gd name="connsiteY29" fmla="*/ 275365 h 356304"/>
                <a:gd name="connsiteX30" fmla="*/ 390960 w 1256734"/>
                <a:gd name="connsiteY30" fmla="*/ 316610 h 356304"/>
                <a:gd name="connsiteX31" fmla="*/ 267239 w 1256734"/>
                <a:gd name="connsiteY31" fmla="*/ 178448 h 356304"/>
                <a:gd name="connsiteX32" fmla="*/ 392018 w 1256734"/>
                <a:gd name="connsiteY32" fmla="*/ 40230 h 356304"/>
                <a:gd name="connsiteX33" fmla="*/ 393077 w 1256734"/>
                <a:gd name="connsiteY33" fmla="*/ 0 h 356304"/>
                <a:gd name="connsiteX34" fmla="*/ 222876 w 1256734"/>
                <a:gd name="connsiteY34" fmla="*/ 179994 h 356304"/>
                <a:gd name="connsiteX35" fmla="*/ 258982 w 1256734"/>
                <a:gd name="connsiteY35" fmla="*/ 291872 h 356304"/>
                <a:gd name="connsiteX36" fmla="*/ 392018 w 1256734"/>
                <a:gd name="connsiteY36" fmla="*/ 356305 h 356304"/>
                <a:gd name="connsiteX37" fmla="*/ 501868 w 1256734"/>
                <a:gd name="connsiteY37" fmla="*/ 315059 h 356304"/>
                <a:gd name="connsiteX38" fmla="*/ 560155 w 1256734"/>
                <a:gd name="connsiteY38" fmla="*/ 181545 h 356304"/>
                <a:gd name="connsiteX39" fmla="*/ 519921 w 1256734"/>
                <a:gd name="connsiteY39" fmla="*/ 59304 h 356304"/>
                <a:gd name="connsiteX40" fmla="*/ 393077 w 1256734"/>
                <a:gd name="connsiteY40" fmla="*/ 0 h 356304"/>
                <a:gd name="connsiteX41" fmla="*/ 43306 w 1256734"/>
                <a:gd name="connsiteY41" fmla="*/ 310946 h 356304"/>
                <a:gd name="connsiteX42" fmla="*/ 43306 w 1256734"/>
                <a:gd name="connsiteY42" fmla="*/ 6198 h 356304"/>
                <a:gd name="connsiteX43" fmla="*/ 0 w 1256734"/>
                <a:gd name="connsiteY43" fmla="*/ 6198 h 356304"/>
                <a:gd name="connsiteX44" fmla="*/ 0 w 1256734"/>
                <a:gd name="connsiteY44" fmla="*/ 350105 h 356304"/>
                <a:gd name="connsiteX45" fmla="*/ 194237 w 1256734"/>
                <a:gd name="connsiteY45" fmla="*/ 350105 h 356304"/>
                <a:gd name="connsiteX46" fmla="*/ 194237 w 1256734"/>
                <a:gd name="connsiteY46" fmla="*/ 310946 h 356304"/>
                <a:gd name="connsiteX47" fmla="*/ 43306 w 1256734"/>
                <a:gd name="connsiteY47" fmla="*/ 310946 h 35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256734" h="356304">
                  <a:moveTo>
                    <a:pt x="1226823" y="269166"/>
                  </a:moveTo>
                  <a:cubicBezTo>
                    <a:pt x="1200037" y="301650"/>
                    <a:pt x="1171131" y="316610"/>
                    <a:pt x="1133491" y="316610"/>
                  </a:cubicBezTo>
                  <a:cubicBezTo>
                    <a:pt x="1062341" y="316610"/>
                    <a:pt x="1010248" y="258371"/>
                    <a:pt x="1010248" y="178448"/>
                  </a:cubicBezTo>
                  <a:cubicBezTo>
                    <a:pt x="1010248" y="97985"/>
                    <a:pt x="1061334" y="39696"/>
                    <a:pt x="1131426" y="39696"/>
                  </a:cubicBezTo>
                  <a:cubicBezTo>
                    <a:pt x="1168008" y="39696"/>
                    <a:pt x="1193313" y="52092"/>
                    <a:pt x="1226823" y="86659"/>
                  </a:cubicBezTo>
                  <a:lnTo>
                    <a:pt x="1256735" y="58823"/>
                  </a:lnTo>
                  <a:cubicBezTo>
                    <a:pt x="1239742" y="40230"/>
                    <a:pt x="1230424" y="32003"/>
                    <a:pt x="1216553" y="23241"/>
                  </a:cubicBezTo>
                  <a:cubicBezTo>
                    <a:pt x="1191725" y="8281"/>
                    <a:pt x="1161338" y="0"/>
                    <a:pt x="1130420" y="0"/>
                  </a:cubicBezTo>
                  <a:cubicBezTo>
                    <a:pt x="1035500" y="0"/>
                    <a:pt x="965885" y="75279"/>
                    <a:pt x="965885" y="178448"/>
                  </a:cubicBezTo>
                  <a:cubicBezTo>
                    <a:pt x="965885" y="226369"/>
                    <a:pt x="982931" y="273279"/>
                    <a:pt x="1011783" y="305763"/>
                  </a:cubicBezTo>
                  <a:cubicBezTo>
                    <a:pt x="1041165" y="338782"/>
                    <a:pt x="1081928" y="356305"/>
                    <a:pt x="1129892" y="356305"/>
                  </a:cubicBezTo>
                  <a:cubicBezTo>
                    <a:pt x="1182990" y="356305"/>
                    <a:pt x="1221107" y="338782"/>
                    <a:pt x="1255676" y="298071"/>
                  </a:cubicBezTo>
                  <a:lnTo>
                    <a:pt x="1226823" y="269166"/>
                  </a:lnTo>
                  <a:close/>
                  <a:moveTo>
                    <a:pt x="679216" y="197999"/>
                  </a:moveTo>
                  <a:lnTo>
                    <a:pt x="846824" y="197999"/>
                  </a:lnTo>
                  <a:lnTo>
                    <a:pt x="846824" y="350105"/>
                  </a:lnTo>
                  <a:lnTo>
                    <a:pt x="890075" y="350105"/>
                  </a:lnTo>
                  <a:lnTo>
                    <a:pt x="890075" y="6198"/>
                  </a:lnTo>
                  <a:lnTo>
                    <a:pt x="846824" y="6198"/>
                  </a:lnTo>
                  <a:lnTo>
                    <a:pt x="846824" y="160920"/>
                  </a:lnTo>
                  <a:lnTo>
                    <a:pt x="679216" y="160920"/>
                  </a:lnTo>
                  <a:lnTo>
                    <a:pt x="679216" y="6198"/>
                  </a:lnTo>
                  <a:lnTo>
                    <a:pt x="635912" y="6198"/>
                  </a:lnTo>
                  <a:lnTo>
                    <a:pt x="635912" y="350105"/>
                  </a:lnTo>
                  <a:lnTo>
                    <a:pt x="679216" y="350105"/>
                  </a:lnTo>
                  <a:lnTo>
                    <a:pt x="679216" y="197999"/>
                  </a:lnTo>
                  <a:close/>
                  <a:moveTo>
                    <a:pt x="392018" y="40230"/>
                  </a:moveTo>
                  <a:cubicBezTo>
                    <a:pt x="422459" y="40230"/>
                    <a:pt x="453904" y="53641"/>
                    <a:pt x="476563" y="75813"/>
                  </a:cubicBezTo>
                  <a:cubicBezTo>
                    <a:pt x="503404" y="101618"/>
                    <a:pt x="515792" y="135117"/>
                    <a:pt x="515792" y="181011"/>
                  </a:cubicBezTo>
                  <a:cubicBezTo>
                    <a:pt x="515792" y="216057"/>
                    <a:pt x="502874" y="253189"/>
                    <a:pt x="482758" y="275365"/>
                  </a:cubicBezTo>
                  <a:cubicBezTo>
                    <a:pt x="459569" y="301650"/>
                    <a:pt x="425530" y="316610"/>
                    <a:pt x="390960" y="316610"/>
                  </a:cubicBezTo>
                  <a:cubicBezTo>
                    <a:pt x="319809" y="316610"/>
                    <a:pt x="267239" y="258371"/>
                    <a:pt x="267239" y="178448"/>
                  </a:cubicBezTo>
                  <a:cubicBezTo>
                    <a:pt x="267239" y="99000"/>
                    <a:pt x="320338" y="40230"/>
                    <a:pt x="392018" y="40230"/>
                  </a:cubicBezTo>
                  <a:moveTo>
                    <a:pt x="393077" y="0"/>
                  </a:moveTo>
                  <a:cubicBezTo>
                    <a:pt x="295615" y="0"/>
                    <a:pt x="222876" y="77362"/>
                    <a:pt x="222876" y="179994"/>
                  </a:cubicBezTo>
                  <a:cubicBezTo>
                    <a:pt x="222876" y="223273"/>
                    <a:pt x="235318" y="261956"/>
                    <a:pt x="258982" y="291872"/>
                  </a:cubicBezTo>
                  <a:cubicBezTo>
                    <a:pt x="290957" y="332101"/>
                    <a:pt x="340985" y="356305"/>
                    <a:pt x="392018" y="356305"/>
                  </a:cubicBezTo>
                  <a:cubicBezTo>
                    <a:pt x="431723" y="356305"/>
                    <a:pt x="470899" y="341879"/>
                    <a:pt x="501868" y="315059"/>
                  </a:cubicBezTo>
                  <a:cubicBezTo>
                    <a:pt x="539509" y="283110"/>
                    <a:pt x="560155" y="235131"/>
                    <a:pt x="560155" y="181545"/>
                  </a:cubicBezTo>
                  <a:cubicBezTo>
                    <a:pt x="560155" y="129935"/>
                    <a:pt x="547715" y="91788"/>
                    <a:pt x="519921" y="59304"/>
                  </a:cubicBezTo>
                  <a:cubicBezTo>
                    <a:pt x="486886" y="21691"/>
                    <a:pt x="440988" y="0"/>
                    <a:pt x="393077" y="0"/>
                  </a:cubicBezTo>
                  <a:moveTo>
                    <a:pt x="43306" y="310946"/>
                  </a:moveTo>
                  <a:lnTo>
                    <a:pt x="43306" y="6198"/>
                  </a:lnTo>
                  <a:lnTo>
                    <a:pt x="0" y="6198"/>
                  </a:lnTo>
                  <a:lnTo>
                    <a:pt x="0" y="350105"/>
                  </a:lnTo>
                  <a:lnTo>
                    <a:pt x="194237" y="350105"/>
                  </a:lnTo>
                  <a:lnTo>
                    <a:pt x="194237" y="310946"/>
                  </a:lnTo>
                  <a:lnTo>
                    <a:pt x="43306" y="310946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B77DA9CA-81E3-9C95-68A3-BFADB2CD7E3C}"/>
                </a:ext>
              </a:extLst>
            </p:cNvPr>
            <p:cNvSpPr/>
            <p:nvPr/>
          </p:nvSpPr>
          <p:spPr>
            <a:xfrm>
              <a:off x="-161925" y="-1630732"/>
              <a:ext cx="10575647" cy="1701544"/>
            </a:xfrm>
            <a:custGeom>
              <a:avLst/>
              <a:gdLst>
                <a:gd name="connsiteX0" fmla="*/ 7802033 w 10575647"/>
                <a:gd name="connsiteY0" fmla="*/ 380187 h 1701544"/>
                <a:gd name="connsiteX1" fmla="*/ 7621138 w 10575647"/>
                <a:gd name="connsiteY1" fmla="*/ 380187 h 1701544"/>
                <a:gd name="connsiteX2" fmla="*/ 7621138 w 10575647"/>
                <a:gd name="connsiteY2" fmla="*/ 1271563 h 1701544"/>
                <a:gd name="connsiteX3" fmla="*/ 7802033 w 10575647"/>
                <a:gd name="connsiteY3" fmla="*/ 1271563 h 1701544"/>
                <a:gd name="connsiteX4" fmla="*/ 7802033 w 10575647"/>
                <a:gd name="connsiteY4" fmla="*/ 380187 h 1701544"/>
                <a:gd name="connsiteX5" fmla="*/ 706522 w 10575647"/>
                <a:gd name="connsiteY5" fmla="*/ 1271563 h 1701544"/>
                <a:gd name="connsiteX6" fmla="*/ 902065 w 10575647"/>
                <a:gd name="connsiteY6" fmla="*/ 1271563 h 1701544"/>
                <a:gd name="connsiteX7" fmla="*/ 902065 w 10575647"/>
                <a:gd name="connsiteY7" fmla="*/ 0 h 1701544"/>
                <a:gd name="connsiteX8" fmla="*/ 706522 w 10575647"/>
                <a:gd name="connsiteY8" fmla="*/ 0 h 1701544"/>
                <a:gd name="connsiteX9" fmla="*/ 706522 w 10575647"/>
                <a:gd name="connsiteY9" fmla="*/ 553717 h 1701544"/>
                <a:gd name="connsiteX10" fmla="*/ 195543 w 10575647"/>
                <a:gd name="connsiteY10" fmla="*/ 553717 h 1701544"/>
                <a:gd name="connsiteX11" fmla="*/ 195543 w 10575647"/>
                <a:gd name="connsiteY11" fmla="*/ 0 h 1701544"/>
                <a:gd name="connsiteX12" fmla="*/ 0 w 10575647"/>
                <a:gd name="connsiteY12" fmla="*/ 0 h 1701544"/>
                <a:gd name="connsiteX13" fmla="*/ 0 w 10575647"/>
                <a:gd name="connsiteY13" fmla="*/ 1271563 h 1701544"/>
                <a:gd name="connsiteX14" fmla="*/ 195543 w 10575647"/>
                <a:gd name="connsiteY14" fmla="*/ 1271563 h 1701544"/>
                <a:gd name="connsiteX15" fmla="*/ 195543 w 10575647"/>
                <a:gd name="connsiteY15" fmla="*/ 727142 h 1701544"/>
                <a:gd name="connsiteX16" fmla="*/ 706522 w 10575647"/>
                <a:gd name="connsiteY16" fmla="*/ 727142 h 1701544"/>
                <a:gd name="connsiteX17" fmla="*/ 706522 w 10575647"/>
                <a:gd name="connsiteY17" fmla="*/ 1271563 h 1701544"/>
                <a:gd name="connsiteX18" fmla="*/ 1306185 w 10575647"/>
                <a:gd name="connsiteY18" fmla="*/ 1690649 h 1701544"/>
                <a:gd name="connsiteX19" fmla="*/ 1654904 w 10575647"/>
                <a:gd name="connsiteY19" fmla="*/ 1036061 h 1701544"/>
                <a:gd name="connsiteX20" fmla="*/ 1306185 w 10575647"/>
                <a:gd name="connsiteY20" fmla="*/ 381469 h 1701544"/>
                <a:gd name="connsiteX21" fmla="*/ 1090234 w 10575647"/>
                <a:gd name="connsiteY21" fmla="*/ 381469 h 1701544"/>
                <a:gd name="connsiteX22" fmla="*/ 1438900 w 10575647"/>
                <a:gd name="connsiteY22" fmla="*/ 1036061 h 1701544"/>
                <a:gd name="connsiteX23" fmla="*/ 1090234 w 10575647"/>
                <a:gd name="connsiteY23" fmla="*/ 1690649 h 1701544"/>
                <a:gd name="connsiteX24" fmla="*/ 1306185 w 10575647"/>
                <a:gd name="connsiteY24" fmla="*/ 1690649 h 1701544"/>
                <a:gd name="connsiteX25" fmla="*/ 2581808 w 10575647"/>
                <a:gd name="connsiteY25" fmla="*/ 828654 h 1701544"/>
                <a:gd name="connsiteX26" fmla="*/ 2317883 w 10575647"/>
                <a:gd name="connsiteY26" fmla="*/ 1129505 h 1701544"/>
                <a:gd name="connsiteX27" fmla="*/ 2065011 w 10575647"/>
                <a:gd name="connsiteY27" fmla="*/ 832338 h 1701544"/>
                <a:gd name="connsiteX28" fmla="*/ 2327068 w 10575647"/>
                <a:gd name="connsiteY28" fmla="*/ 525990 h 1701544"/>
                <a:gd name="connsiteX29" fmla="*/ 2581808 w 10575647"/>
                <a:gd name="connsiteY29" fmla="*/ 828654 h 1701544"/>
                <a:gd name="connsiteX30" fmla="*/ 2581808 w 10575647"/>
                <a:gd name="connsiteY30" fmla="*/ 1271563 h 1701544"/>
                <a:gd name="connsiteX31" fmla="*/ 2762608 w 10575647"/>
                <a:gd name="connsiteY31" fmla="*/ 1271563 h 1701544"/>
                <a:gd name="connsiteX32" fmla="*/ 2762608 w 10575647"/>
                <a:gd name="connsiteY32" fmla="*/ 0 h 1701544"/>
                <a:gd name="connsiteX33" fmla="*/ 2581808 w 10575647"/>
                <a:gd name="connsiteY33" fmla="*/ 0 h 1701544"/>
                <a:gd name="connsiteX34" fmla="*/ 2581808 w 10575647"/>
                <a:gd name="connsiteY34" fmla="*/ 476356 h 1701544"/>
                <a:gd name="connsiteX35" fmla="*/ 2297581 w 10575647"/>
                <a:gd name="connsiteY35" fmla="*/ 359885 h 1701544"/>
                <a:gd name="connsiteX36" fmla="*/ 1876785 w 10575647"/>
                <a:gd name="connsiteY36" fmla="*/ 830470 h 1701544"/>
                <a:gd name="connsiteX37" fmla="*/ 2297581 w 10575647"/>
                <a:gd name="connsiteY37" fmla="*/ 1291865 h 1701544"/>
                <a:gd name="connsiteX38" fmla="*/ 2581808 w 10575647"/>
                <a:gd name="connsiteY38" fmla="*/ 1163217 h 1701544"/>
                <a:gd name="connsiteX39" fmla="*/ 2581808 w 10575647"/>
                <a:gd name="connsiteY39" fmla="*/ 1271563 h 1701544"/>
                <a:gd name="connsiteX40" fmla="*/ 3437445 w 10575647"/>
                <a:gd name="connsiteY40" fmla="*/ 542393 h 1701544"/>
                <a:gd name="connsiteX41" fmla="*/ 3460310 w 10575647"/>
                <a:gd name="connsiteY41" fmla="*/ 545331 h 1701544"/>
                <a:gd name="connsiteX42" fmla="*/ 3460310 w 10575647"/>
                <a:gd name="connsiteY42" fmla="*/ 359885 h 1701544"/>
                <a:gd name="connsiteX43" fmla="*/ 3406830 w 10575647"/>
                <a:gd name="connsiteY43" fmla="*/ 359885 h 1701544"/>
                <a:gd name="connsiteX44" fmla="*/ 3231965 w 10575647"/>
                <a:gd name="connsiteY44" fmla="*/ 415877 h 1701544"/>
                <a:gd name="connsiteX45" fmla="*/ 3187194 w 10575647"/>
                <a:gd name="connsiteY45" fmla="*/ 462091 h 1701544"/>
                <a:gd name="connsiteX46" fmla="*/ 3187194 w 10575647"/>
                <a:gd name="connsiteY46" fmla="*/ 380187 h 1701544"/>
                <a:gd name="connsiteX47" fmla="*/ 3006395 w 10575647"/>
                <a:gd name="connsiteY47" fmla="*/ 380187 h 1701544"/>
                <a:gd name="connsiteX48" fmla="*/ 3006395 w 10575647"/>
                <a:gd name="connsiteY48" fmla="*/ 1271563 h 1701544"/>
                <a:gd name="connsiteX49" fmla="*/ 3187194 w 10575647"/>
                <a:gd name="connsiteY49" fmla="*/ 1271563 h 1701544"/>
                <a:gd name="connsiteX50" fmla="*/ 3187194 w 10575647"/>
                <a:gd name="connsiteY50" fmla="*/ 819411 h 1701544"/>
                <a:gd name="connsiteX51" fmla="*/ 3233517 w 10575647"/>
                <a:gd name="connsiteY51" fmla="*/ 629638 h 1701544"/>
                <a:gd name="connsiteX52" fmla="*/ 3401277 w 10575647"/>
                <a:gd name="connsiteY52" fmla="*/ 540683 h 1701544"/>
                <a:gd name="connsiteX53" fmla="*/ 3437445 w 10575647"/>
                <a:gd name="connsiteY53" fmla="*/ 542393 h 1701544"/>
                <a:gd name="connsiteX54" fmla="*/ 4250980 w 10575647"/>
                <a:gd name="connsiteY54" fmla="*/ 826838 h 1701544"/>
                <a:gd name="connsiteX55" fmla="*/ 3983364 w 10575647"/>
                <a:gd name="connsiteY55" fmla="*/ 1122077 h 1701544"/>
                <a:gd name="connsiteX56" fmla="*/ 3713875 w 10575647"/>
                <a:gd name="connsiteY56" fmla="*/ 826838 h 1701544"/>
                <a:gd name="connsiteX57" fmla="*/ 3985180 w 10575647"/>
                <a:gd name="connsiteY57" fmla="*/ 529677 h 1701544"/>
                <a:gd name="connsiteX58" fmla="*/ 4250980 w 10575647"/>
                <a:gd name="connsiteY58" fmla="*/ 826838 h 1701544"/>
                <a:gd name="connsiteX59" fmla="*/ 4435464 w 10575647"/>
                <a:gd name="connsiteY59" fmla="*/ 828654 h 1701544"/>
                <a:gd name="connsiteX60" fmla="*/ 3985180 w 10575647"/>
                <a:gd name="connsiteY60" fmla="*/ 359885 h 1701544"/>
                <a:gd name="connsiteX61" fmla="*/ 3529338 w 10575647"/>
                <a:gd name="connsiteY61" fmla="*/ 824916 h 1701544"/>
                <a:gd name="connsiteX62" fmla="*/ 3979622 w 10575647"/>
                <a:gd name="connsiteY62" fmla="*/ 1291865 h 1701544"/>
                <a:gd name="connsiteX63" fmla="*/ 4435464 w 10575647"/>
                <a:gd name="connsiteY63" fmla="*/ 828654 h 1701544"/>
                <a:gd name="connsiteX64" fmla="*/ 5261608 w 10575647"/>
                <a:gd name="connsiteY64" fmla="*/ 828654 h 1701544"/>
                <a:gd name="connsiteX65" fmla="*/ 5205508 w 10575647"/>
                <a:gd name="connsiteY65" fmla="*/ 1025854 h 1701544"/>
                <a:gd name="connsiteX66" fmla="*/ 5005052 w 10575647"/>
                <a:gd name="connsiteY66" fmla="*/ 1122077 h 1701544"/>
                <a:gd name="connsiteX67" fmla="*/ 4746675 w 10575647"/>
                <a:gd name="connsiteY67" fmla="*/ 823153 h 1701544"/>
                <a:gd name="connsiteX68" fmla="*/ 5008683 w 10575647"/>
                <a:gd name="connsiteY68" fmla="*/ 529677 h 1701544"/>
                <a:gd name="connsiteX69" fmla="*/ 5200378 w 10575647"/>
                <a:gd name="connsiteY69" fmla="*/ 617081 h 1701544"/>
                <a:gd name="connsiteX70" fmla="*/ 5261608 w 10575647"/>
                <a:gd name="connsiteY70" fmla="*/ 828654 h 1701544"/>
                <a:gd name="connsiteX71" fmla="*/ 5327264 w 10575647"/>
                <a:gd name="connsiteY71" fmla="*/ 1583314 h 1701544"/>
                <a:gd name="connsiteX72" fmla="*/ 5446113 w 10575647"/>
                <a:gd name="connsiteY72" fmla="*/ 1256819 h 1701544"/>
                <a:gd name="connsiteX73" fmla="*/ 5446113 w 10575647"/>
                <a:gd name="connsiteY73" fmla="*/ 380187 h 1701544"/>
                <a:gd name="connsiteX74" fmla="*/ 5265239 w 10575647"/>
                <a:gd name="connsiteY74" fmla="*/ 380187 h 1701544"/>
                <a:gd name="connsiteX75" fmla="*/ 5265239 w 10575647"/>
                <a:gd name="connsiteY75" fmla="*/ 488537 h 1701544"/>
                <a:gd name="connsiteX76" fmla="*/ 4982875 w 10575647"/>
                <a:gd name="connsiteY76" fmla="*/ 359885 h 1701544"/>
                <a:gd name="connsiteX77" fmla="*/ 4699394 w 10575647"/>
                <a:gd name="connsiteY77" fmla="*/ 465190 h 1701544"/>
                <a:gd name="connsiteX78" fmla="*/ 4558400 w 10575647"/>
                <a:gd name="connsiteY78" fmla="*/ 828654 h 1701544"/>
                <a:gd name="connsiteX79" fmla="*/ 4971816 w 10575647"/>
                <a:gd name="connsiteY79" fmla="*/ 1291865 h 1701544"/>
                <a:gd name="connsiteX80" fmla="*/ 5265239 w 10575647"/>
                <a:gd name="connsiteY80" fmla="*/ 1150553 h 1701544"/>
                <a:gd name="connsiteX81" fmla="*/ 5265239 w 10575647"/>
                <a:gd name="connsiteY81" fmla="*/ 1267931 h 1701544"/>
                <a:gd name="connsiteX82" fmla="*/ 5206095 w 10575647"/>
                <a:gd name="connsiteY82" fmla="*/ 1457116 h 1701544"/>
                <a:gd name="connsiteX83" fmla="*/ 4999546 w 10575647"/>
                <a:gd name="connsiteY83" fmla="*/ 1533625 h 1701544"/>
                <a:gd name="connsiteX84" fmla="*/ 4811695 w 10575647"/>
                <a:gd name="connsiteY84" fmla="*/ 1487409 h 1701544"/>
                <a:gd name="connsiteX85" fmla="*/ 4733588 w 10575647"/>
                <a:gd name="connsiteY85" fmla="*/ 1416300 h 1701544"/>
                <a:gd name="connsiteX86" fmla="*/ 4719215 w 10575647"/>
                <a:gd name="connsiteY86" fmla="*/ 1401339 h 1701544"/>
                <a:gd name="connsiteX87" fmla="*/ 4595103 w 10575647"/>
                <a:gd name="connsiteY87" fmla="*/ 1525451 h 1701544"/>
                <a:gd name="connsiteX88" fmla="*/ 4607819 w 10575647"/>
                <a:gd name="connsiteY88" fmla="*/ 1539824 h 1701544"/>
                <a:gd name="connsiteX89" fmla="*/ 4999546 w 10575647"/>
                <a:gd name="connsiteY89" fmla="*/ 1701544 h 1701544"/>
                <a:gd name="connsiteX90" fmla="*/ 5327264 w 10575647"/>
                <a:gd name="connsiteY90" fmla="*/ 1583314 h 1701544"/>
                <a:gd name="connsiteX91" fmla="*/ 6317923 w 10575647"/>
                <a:gd name="connsiteY91" fmla="*/ 747497 h 1701544"/>
                <a:gd name="connsiteX92" fmla="*/ 5805203 w 10575647"/>
                <a:gd name="connsiteY92" fmla="*/ 747497 h 1701544"/>
                <a:gd name="connsiteX93" fmla="*/ 5845913 w 10575647"/>
                <a:gd name="connsiteY93" fmla="*/ 635144 h 1701544"/>
                <a:gd name="connsiteX94" fmla="*/ 6057989 w 10575647"/>
                <a:gd name="connsiteY94" fmla="*/ 525990 h 1701544"/>
                <a:gd name="connsiteX95" fmla="*/ 6275730 w 10575647"/>
                <a:gd name="connsiteY95" fmla="*/ 633487 h 1701544"/>
                <a:gd name="connsiteX96" fmla="*/ 6317923 w 10575647"/>
                <a:gd name="connsiteY96" fmla="*/ 747497 h 1701544"/>
                <a:gd name="connsiteX97" fmla="*/ 6508188 w 10575647"/>
                <a:gd name="connsiteY97" fmla="*/ 872890 h 1701544"/>
                <a:gd name="connsiteX98" fmla="*/ 6510094 w 10575647"/>
                <a:gd name="connsiteY98" fmla="*/ 815779 h 1701544"/>
                <a:gd name="connsiteX99" fmla="*/ 6057989 w 10575647"/>
                <a:gd name="connsiteY99" fmla="*/ 359885 h 1701544"/>
                <a:gd name="connsiteX100" fmla="*/ 5609538 w 10575647"/>
                <a:gd name="connsiteY100" fmla="*/ 828654 h 1701544"/>
                <a:gd name="connsiteX101" fmla="*/ 6063495 w 10575647"/>
                <a:gd name="connsiteY101" fmla="*/ 1291865 h 1701544"/>
                <a:gd name="connsiteX102" fmla="*/ 6460066 w 10575647"/>
                <a:gd name="connsiteY102" fmla="*/ 1051710 h 1701544"/>
                <a:gd name="connsiteX103" fmla="*/ 6469966 w 10575647"/>
                <a:gd name="connsiteY103" fmla="*/ 1031572 h 1701544"/>
                <a:gd name="connsiteX104" fmla="*/ 6308923 w 10575647"/>
                <a:gd name="connsiteY104" fmla="*/ 971517 h 1701544"/>
                <a:gd name="connsiteX105" fmla="*/ 6300559 w 10575647"/>
                <a:gd name="connsiteY105" fmla="*/ 986689 h 1701544"/>
                <a:gd name="connsiteX106" fmla="*/ 6063495 w 10575647"/>
                <a:gd name="connsiteY106" fmla="*/ 1122077 h 1701544"/>
                <a:gd name="connsiteX107" fmla="*/ 5850784 w 10575647"/>
                <a:gd name="connsiteY107" fmla="*/ 1013832 h 1701544"/>
                <a:gd name="connsiteX108" fmla="*/ 5802132 w 10575647"/>
                <a:gd name="connsiteY108" fmla="*/ 891377 h 1701544"/>
                <a:gd name="connsiteX109" fmla="*/ 6506547 w 10575647"/>
                <a:gd name="connsiteY109" fmla="*/ 891377 h 1701544"/>
                <a:gd name="connsiteX110" fmla="*/ 6508188 w 10575647"/>
                <a:gd name="connsiteY110" fmla="*/ 872890 h 1701544"/>
                <a:gd name="connsiteX111" fmla="*/ 7205139 w 10575647"/>
                <a:gd name="connsiteY111" fmla="*/ 1271563 h 1701544"/>
                <a:gd name="connsiteX112" fmla="*/ 7385928 w 10575647"/>
                <a:gd name="connsiteY112" fmla="*/ 1271563 h 1701544"/>
                <a:gd name="connsiteX113" fmla="*/ 7385928 w 10575647"/>
                <a:gd name="connsiteY113" fmla="*/ 677294 h 1701544"/>
                <a:gd name="connsiteX114" fmla="*/ 7307154 w 10575647"/>
                <a:gd name="connsiteY114" fmla="*/ 435163 h 1701544"/>
                <a:gd name="connsiteX115" fmla="*/ 7096189 w 10575647"/>
                <a:gd name="connsiteY115" fmla="*/ 359885 h 1701544"/>
                <a:gd name="connsiteX116" fmla="*/ 6863625 w 10575647"/>
                <a:gd name="connsiteY116" fmla="*/ 463694 h 1701544"/>
                <a:gd name="connsiteX117" fmla="*/ 6863625 w 10575647"/>
                <a:gd name="connsiteY117" fmla="*/ 380187 h 1701544"/>
                <a:gd name="connsiteX118" fmla="*/ 6682836 w 10575647"/>
                <a:gd name="connsiteY118" fmla="*/ 380187 h 1701544"/>
                <a:gd name="connsiteX119" fmla="*/ 6682836 w 10575647"/>
                <a:gd name="connsiteY119" fmla="*/ 1271563 h 1701544"/>
                <a:gd name="connsiteX120" fmla="*/ 6863625 w 10575647"/>
                <a:gd name="connsiteY120" fmla="*/ 1271563 h 1701544"/>
                <a:gd name="connsiteX121" fmla="*/ 6863625 w 10575647"/>
                <a:gd name="connsiteY121" fmla="*/ 732701 h 1701544"/>
                <a:gd name="connsiteX122" fmla="*/ 6913971 w 10575647"/>
                <a:gd name="connsiteY122" fmla="*/ 591066 h 1701544"/>
                <a:gd name="connsiteX123" fmla="*/ 7061143 w 10575647"/>
                <a:gd name="connsiteY123" fmla="*/ 525990 h 1701544"/>
                <a:gd name="connsiteX124" fmla="*/ 7177769 w 10575647"/>
                <a:gd name="connsiteY124" fmla="*/ 575089 h 1701544"/>
                <a:gd name="connsiteX125" fmla="*/ 7205139 w 10575647"/>
                <a:gd name="connsiteY125" fmla="*/ 708709 h 1701544"/>
                <a:gd name="connsiteX126" fmla="*/ 7205139 w 10575647"/>
                <a:gd name="connsiteY126" fmla="*/ 1271563 h 1701544"/>
                <a:gd name="connsiteX127" fmla="*/ 7822309 w 10575647"/>
                <a:gd name="connsiteY127" fmla="*/ 162418 h 1701544"/>
                <a:gd name="connsiteX128" fmla="*/ 7713412 w 10575647"/>
                <a:gd name="connsiteY128" fmla="*/ 49847 h 1701544"/>
                <a:gd name="connsiteX129" fmla="*/ 7602662 w 10575647"/>
                <a:gd name="connsiteY129" fmla="*/ 160549 h 1701544"/>
                <a:gd name="connsiteX130" fmla="*/ 7711560 w 10575647"/>
                <a:gd name="connsiteY130" fmla="*/ 271303 h 1701544"/>
                <a:gd name="connsiteX131" fmla="*/ 7822309 w 10575647"/>
                <a:gd name="connsiteY131" fmla="*/ 162418 h 1701544"/>
                <a:gd name="connsiteX132" fmla="*/ 8704760 w 10575647"/>
                <a:gd name="connsiteY132" fmla="*/ 826838 h 1701544"/>
                <a:gd name="connsiteX133" fmla="*/ 8437150 w 10575647"/>
                <a:gd name="connsiteY133" fmla="*/ 1122077 h 1701544"/>
                <a:gd name="connsiteX134" fmla="*/ 8167740 w 10575647"/>
                <a:gd name="connsiteY134" fmla="*/ 826838 h 1701544"/>
                <a:gd name="connsiteX135" fmla="*/ 8439003 w 10575647"/>
                <a:gd name="connsiteY135" fmla="*/ 529677 h 1701544"/>
                <a:gd name="connsiteX136" fmla="*/ 8704760 w 10575647"/>
                <a:gd name="connsiteY136" fmla="*/ 826838 h 1701544"/>
                <a:gd name="connsiteX137" fmla="*/ 8889307 w 10575647"/>
                <a:gd name="connsiteY137" fmla="*/ 828654 h 1701544"/>
                <a:gd name="connsiteX138" fmla="*/ 8439003 w 10575647"/>
                <a:gd name="connsiteY138" fmla="*/ 359885 h 1701544"/>
                <a:gd name="connsiteX139" fmla="*/ 7983193 w 10575647"/>
                <a:gd name="connsiteY139" fmla="*/ 824916 h 1701544"/>
                <a:gd name="connsiteX140" fmla="*/ 8433444 w 10575647"/>
                <a:gd name="connsiteY140" fmla="*/ 1291865 h 1701544"/>
                <a:gd name="connsiteX141" fmla="*/ 8889307 w 10575647"/>
                <a:gd name="connsiteY141" fmla="*/ 828654 h 1701544"/>
                <a:gd name="connsiteX142" fmla="*/ 9658150 w 10575647"/>
                <a:gd name="connsiteY142" fmla="*/ 1197940 h 1701544"/>
                <a:gd name="connsiteX143" fmla="*/ 9749630 w 10575647"/>
                <a:gd name="connsiteY143" fmla="*/ 944968 h 1701544"/>
                <a:gd name="connsiteX144" fmla="*/ 9749630 w 10575647"/>
                <a:gd name="connsiteY144" fmla="*/ 380187 h 1701544"/>
                <a:gd name="connsiteX145" fmla="*/ 9566988 w 10575647"/>
                <a:gd name="connsiteY145" fmla="*/ 380187 h 1701544"/>
                <a:gd name="connsiteX146" fmla="*/ 9566988 w 10575647"/>
                <a:gd name="connsiteY146" fmla="*/ 944968 h 1701544"/>
                <a:gd name="connsiteX147" fmla="*/ 9535012 w 10575647"/>
                <a:gd name="connsiteY147" fmla="*/ 1068222 h 1701544"/>
                <a:gd name="connsiteX148" fmla="*/ 9399010 w 10575647"/>
                <a:gd name="connsiteY148" fmla="*/ 1125815 h 1701544"/>
                <a:gd name="connsiteX149" fmla="*/ 9229233 w 10575647"/>
                <a:gd name="connsiteY149" fmla="*/ 941225 h 1701544"/>
                <a:gd name="connsiteX150" fmla="*/ 9229233 w 10575647"/>
                <a:gd name="connsiteY150" fmla="*/ 380187 h 1701544"/>
                <a:gd name="connsiteX151" fmla="*/ 9048391 w 10575647"/>
                <a:gd name="connsiteY151" fmla="*/ 380187 h 1701544"/>
                <a:gd name="connsiteX152" fmla="*/ 9048391 w 10575647"/>
                <a:gd name="connsiteY152" fmla="*/ 944968 h 1701544"/>
                <a:gd name="connsiteX153" fmla="*/ 9139659 w 10575647"/>
                <a:gd name="connsiteY153" fmla="*/ 1195965 h 1701544"/>
                <a:gd name="connsiteX154" fmla="*/ 9399010 w 10575647"/>
                <a:gd name="connsiteY154" fmla="*/ 1291865 h 1701544"/>
                <a:gd name="connsiteX155" fmla="*/ 9658150 w 10575647"/>
                <a:gd name="connsiteY155" fmla="*/ 1197945 h 1701544"/>
                <a:gd name="connsiteX156" fmla="*/ 10385594 w 10575647"/>
                <a:gd name="connsiteY156" fmla="*/ 653307 h 1701544"/>
                <a:gd name="connsiteX157" fmla="*/ 10567335 w 10575647"/>
                <a:gd name="connsiteY157" fmla="*/ 653307 h 1701544"/>
                <a:gd name="connsiteX158" fmla="*/ 10566383 w 10575647"/>
                <a:gd name="connsiteY158" fmla="*/ 632041 h 1701544"/>
                <a:gd name="connsiteX159" fmla="*/ 10249009 w 10575647"/>
                <a:gd name="connsiteY159" fmla="*/ 359885 h 1701544"/>
                <a:gd name="connsiteX160" fmla="*/ 9929730 w 10575647"/>
                <a:gd name="connsiteY160" fmla="*/ 627446 h 1701544"/>
                <a:gd name="connsiteX161" fmla="*/ 10212587 w 10575647"/>
                <a:gd name="connsiteY161" fmla="*/ 903611 h 1701544"/>
                <a:gd name="connsiteX162" fmla="*/ 10391099 w 10575647"/>
                <a:gd name="connsiteY162" fmla="*/ 1031625 h 1701544"/>
                <a:gd name="connsiteX163" fmla="*/ 10252715 w 10575647"/>
                <a:gd name="connsiteY163" fmla="*/ 1136874 h 1701544"/>
                <a:gd name="connsiteX164" fmla="*/ 10093843 w 10575647"/>
                <a:gd name="connsiteY164" fmla="*/ 1007579 h 1701544"/>
                <a:gd name="connsiteX165" fmla="*/ 10092096 w 10575647"/>
                <a:gd name="connsiteY165" fmla="*/ 989257 h 1701544"/>
                <a:gd name="connsiteX166" fmla="*/ 9913054 w 10575647"/>
                <a:gd name="connsiteY166" fmla="*/ 989257 h 1701544"/>
                <a:gd name="connsiteX167" fmla="*/ 9915066 w 10575647"/>
                <a:gd name="connsiteY167" fmla="*/ 1011216 h 1701544"/>
                <a:gd name="connsiteX168" fmla="*/ 10252715 w 10575647"/>
                <a:gd name="connsiteY168" fmla="*/ 1291865 h 1701544"/>
                <a:gd name="connsiteX169" fmla="*/ 10575647 w 10575647"/>
                <a:gd name="connsiteY169" fmla="*/ 1024303 h 1701544"/>
                <a:gd name="connsiteX170" fmla="*/ 10501426 w 10575647"/>
                <a:gd name="connsiteY170" fmla="*/ 843879 h 1701544"/>
                <a:gd name="connsiteX171" fmla="*/ 10285750 w 10575647"/>
                <a:gd name="connsiteY171" fmla="*/ 740769 h 1701544"/>
                <a:gd name="connsiteX172" fmla="*/ 10110519 w 10575647"/>
                <a:gd name="connsiteY172" fmla="*/ 616440 h 1701544"/>
                <a:gd name="connsiteX173" fmla="*/ 10243398 w 10575647"/>
                <a:gd name="connsiteY173" fmla="*/ 514877 h 1701544"/>
                <a:gd name="connsiteX174" fmla="*/ 10385594 w 10575647"/>
                <a:gd name="connsiteY174" fmla="*/ 623762 h 1701544"/>
                <a:gd name="connsiteX175" fmla="*/ 10385594 w 10575647"/>
                <a:gd name="connsiteY175" fmla="*/ 653307 h 170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10575647" h="1701544">
                  <a:moveTo>
                    <a:pt x="7802033" y="380187"/>
                  </a:moveTo>
                  <a:lnTo>
                    <a:pt x="7621138" y="380187"/>
                  </a:lnTo>
                  <a:lnTo>
                    <a:pt x="7621138" y="1271563"/>
                  </a:lnTo>
                  <a:lnTo>
                    <a:pt x="7802033" y="1271563"/>
                  </a:lnTo>
                  <a:lnTo>
                    <a:pt x="7802033" y="380187"/>
                  </a:lnTo>
                  <a:close/>
                  <a:moveTo>
                    <a:pt x="706522" y="1271563"/>
                  </a:moveTo>
                  <a:lnTo>
                    <a:pt x="902065" y="1271563"/>
                  </a:lnTo>
                  <a:lnTo>
                    <a:pt x="902065" y="0"/>
                  </a:lnTo>
                  <a:lnTo>
                    <a:pt x="706522" y="0"/>
                  </a:lnTo>
                  <a:lnTo>
                    <a:pt x="706522" y="553717"/>
                  </a:lnTo>
                  <a:lnTo>
                    <a:pt x="195543" y="553717"/>
                  </a:lnTo>
                  <a:lnTo>
                    <a:pt x="195543" y="0"/>
                  </a:lnTo>
                  <a:lnTo>
                    <a:pt x="0" y="0"/>
                  </a:lnTo>
                  <a:lnTo>
                    <a:pt x="0" y="1271563"/>
                  </a:lnTo>
                  <a:lnTo>
                    <a:pt x="195543" y="1271563"/>
                  </a:lnTo>
                  <a:lnTo>
                    <a:pt x="195543" y="727142"/>
                  </a:lnTo>
                  <a:lnTo>
                    <a:pt x="706522" y="727142"/>
                  </a:lnTo>
                  <a:lnTo>
                    <a:pt x="706522" y="1271563"/>
                  </a:lnTo>
                  <a:close/>
                  <a:moveTo>
                    <a:pt x="1306185" y="1690649"/>
                  </a:moveTo>
                  <a:lnTo>
                    <a:pt x="1654904" y="1036061"/>
                  </a:lnTo>
                  <a:lnTo>
                    <a:pt x="1306185" y="381469"/>
                  </a:lnTo>
                  <a:lnTo>
                    <a:pt x="1090234" y="381469"/>
                  </a:lnTo>
                  <a:lnTo>
                    <a:pt x="1438900" y="1036061"/>
                  </a:lnTo>
                  <a:lnTo>
                    <a:pt x="1090234" y="1690649"/>
                  </a:lnTo>
                  <a:lnTo>
                    <a:pt x="1306185" y="1690649"/>
                  </a:lnTo>
                  <a:close/>
                  <a:moveTo>
                    <a:pt x="2581808" y="828654"/>
                  </a:moveTo>
                  <a:cubicBezTo>
                    <a:pt x="2581808" y="1002989"/>
                    <a:pt x="2470789" y="1129505"/>
                    <a:pt x="2317883" y="1129505"/>
                  </a:cubicBezTo>
                  <a:cubicBezTo>
                    <a:pt x="2168980" y="1129505"/>
                    <a:pt x="2065011" y="1007262"/>
                    <a:pt x="2065011" y="832338"/>
                  </a:cubicBezTo>
                  <a:cubicBezTo>
                    <a:pt x="2065011" y="649088"/>
                    <a:pt x="2170314" y="525990"/>
                    <a:pt x="2327068" y="525990"/>
                  </a:cubicBezTo>
                  <a:cubicBezTo>
                    <a:pt x="2479444" y="525990"/>
                    <a:pt x="2581808" y="647590"/>
                    <a:pt x="2581808" y="828654"/>
                  </a:cubicBezTo>
                  <a:moveTo>
                    <a:pt x="2581808" y="1271563"/>
                  </a:moveTo>
                  <a:lnTo>
                    <a:pt x="2762608" y="1271563"/>
                  </a:lnTo>
                  <a:lnTo>
                    <a:pt x="2762608" y="0"/>
                  </a:lnTo>
                  <a:lnTo>
                    <a:pt x="2581808" y="0"/>
                  </a:lnTo>
                  <a:lnTo>
                    <a:pt x="2581808" y="476356"/>
                  </a:lnTo>
                  <a:cubicBezTo>
                    <a:pt x="2503431" y="397017"/>
                    <a:pt x="2412449" y="359885"/>
                    <a:pt x="2297581" y="359885"/>
                  </a:cubicBezTo>
                  <a:cubicBezTo>
                    <a:pt x="2057690" y="359885"/>
                    <a:pt x="1876785" y="562214"/>
                    <a:pt x="1876785" y="830470"/>
                  </a:cubicBezTo>
                  <a:cubicBezTo>
                    <a:pt x="1876785" y="1102145"/>
                    <a:pt x="2049839" y="1291865"/>
                    <a:pt x="2297581" y="1291865"/>
                  </a:cubicBezTo>
                  <a:cubicBezTo>
                    <a:pt x="2414371" y="1291865"/>
                    <a:pt x="2503061" y="1251959"/>
                    <a:pt x="2581808" y="1163217"/>
                  </a:cubicBezTo>
                  <a:lnTo>
                    <a:pt x="2581808" y="1271563"/>
                  </a:lnTo>
                  <a:close/>
                  <a:moveTo>
                    <a:pt x="3437445" y="542393"/>
                  </a:moveTo>
                  <a:lnTo>
                    <a:pt x="3460310" y="545331"/>
                  </a:lnTo>
                  <a:lnTo>
                    <a:pt x="3460310" y="359885"/>
                  </a:lnTo>
                  <a:lnTo>
                    <a:pt x="3406830" y="359885"/>
                  </a:lnTo>
                  <a:cubicBezTo>
                    <a:pt x="3341169" y="359885"/>
                    <a:pt x="3277430" y="380294"/>
                    <a:pt x="3231965" y="415877"/>
                  </a:cubicBezTo>
                  <a:cubicBezTo>
                    <a:pt x="3213690" y="430035"/>
                    <a:pt x="3199693" y="444353"/>
                    <a:pt x="3187194" y="462091"/>
                  </a:cubicBezTo>
                  <a:lnTo>
                    <a:pt x="3187194" y="380187"/>
                  </a:lnTo>
                  <a:lnTo>
                    <a:pt x="3006395" y="380187"/>
                  </a:lnTo>
                  <a:lnTo>
                    <a:pt x="3006395" y="1271563"/>
                  </a:lnTo>
                  <a:lnTo>
                    <a:pt x="3187194" y="1271563"/>
                  </a:lnTo>
                  <a:lnTo>
                    <a:pt x="3187194" y="819411"/>
                  </a:lnTo>
                  <a:cubicBezTo>
                    <a:pt x="3187194" y="727783"/>
                    <a:pt x="3198894" y="679915"/>
                    <a:pt x="3233517" y="629638"/>
                  </a:cubicBezTo>
                  <a:cubicBezTo>
                    <a:pt x="3272300" y="572310"/>
                    <a:pt x="3331926" y="540683"/>
                    <a:pt x="3401277" y="540683"/>
                  </a:cubicBezTo>
                  <a:cubicBezTo>
                    <a:pt x="3410356" y="540683"/>
                    <a:pt x="3423983" y="540683"/>
                    <a:pt x="3437445" y="542393"/>
                  </a:cubicBezTo>
                  <a:moveTo>
                    <a:pt x="4250980" y="826838"/>
                  </a:moveTo>
                  <a:cubicBezTo>
                    <a:pt x="4250980" y="1000692"/>
                    <a:pt x="4140918" y="1122077"/>
                    <a:pt x="3983364" y="1122077"/>
                  </a:cubicBezTo>
                  <a:cubicBezTo>
                    <a:pt x="3822174" y="1122077"/>
                    <a:pt x="3713875" y="1003466"/>
                    <a:pt x="3713875" y="826838"/>
                  </a:cubicBezTo>
                  <a:cubicBezTo>
                    <a:pt x="3713875" y="649088"/>
                    <a:pt x="3822920" y="529677"/>
                    <a:pt x="3985180" y="529677"/>
                  </a:cubicBezTo>
                  <a:cubicBezTo>
                    <a:pt x="4144179" y="529677"/>
                    <a:pt x="4250980" y="649088"/>
                    <a:pt x="4250980" y="826838"/>
                  </a:cubicBezTo>
                  <a:moveTo>
                    <a:pt x="4435464" y="828654"/>
                  </a:moveTo>
                  <a:cubicBezTo>
                    <a:pt x="4435464" y="557084"/>
                    <a:pt x="4246120" y="359885"/>
                    <a:pt x="3985180" y="359885"/>
                  </a:cubicBezTo>
                  <a:cubicBezTo>
                    <a:pt x="3716818" y="359885"/>
                    <a:pt x="3529338" y="551155"/>
                    <a:pt x="3529338" y="824916"/>
                  </a:cubicBezTo>
                  <a:cubicBezTo>
                    <a:pt x="3529338" y="1099848"/>
                    <a:pt x="3714521" y="1291865"/>
                    <a:pt x="3979622" y="1291865"/>
                  </a:cubicBezTo>
                  <a:cubicBezTo>
                    <a:pt x="4235272" y="1291865"/>
                    <a:pt x="4435464" y="1088418"/>
                    <a:pt x="4435464" y="828654"/>
                  </a:cubicBezTo>
                  <a:moveTo>
                    <a:pt x="5261608" y="828654"/>
                  </a:moveTo>
                  <a:cubicBezTo>
                    <a:pt x="5261608" y="909382"/>
                    <a:pt x="5239596" y="986748"/>
                    <a:pt x="5205508" y="1025854"/>
                  </a:cubicBezTo>
                  <a:cubicBezTo>
                    <a:pt x="5153150" y="1087026"/>
                    <a:pt x="5080062" y="1122077"/>
                    <a:pt x="5005052" y="1122077"/>
                  </a:cubicBezTo>
                  <a:cubicBezTo>
                    <a:pt x="4855296" y="1122077"/>
                    <a:pt x="4746675" y="996361"/>
                    <a:pt x="4746675" y="823153"/>
                  </a:cubicBezTo>
                  <a:cubicBezTo>
                    <a:pt x="4746675" y="650316"/>
                    <a:pt x="4854386" y="529677"/>
                    <a:pt x="5008683" y="529677"/>
                  </a:cubicBezTo>
                  <a:cubicBezTo>
                    <a:pt x="5078193" y="529677"/>
                    <a:pt x="5151652" y="563177"/>
                    <a:pt x="5200378" y="617081"/>
                  </a:cubicBezTo>
                  <a:cubicBezTo>
                    <a:pt x="5246112" y="667892"/>
                    <a:pt x="5261608" y="721266"/>
                    <a:pt x="5261608" y="828654"/>
                  </a:cubicBezTo>
                  <a:moveTo>
                    <a:pt x="5327264" y="1583314"/>
                  </a:moveTo>
                  <a:cubicBezTo>
                    <a:pt x="5409426" y="1504990"/>
                    <a:pt x="5446113" y="1404277"/>
                    <a:pt x="5446113" y="1256819"/>
                  </a:cubicBezTo>
                  <a:lnTo>
                    <a:pt x="5446113" y="380187"/>
                  </a:lnTo>
                  <a:lnTo>
                    <a:pt x="5265239" y="380187"/>
                  </a:lnTo>
                  <a:lnTo>
                    <a:pt x="5265239" y="488537"/>
                  </a:lnTo>
                  <a:cubicBezTo>
                    <a:pt x="5186005" y="398673"/>
                    <a:pt x="5100153" y="359885"/>
                    <a:pt x="4982875" y="359885"/>
                  </a:cubicBezTo>
                  <a:cubicBezTo>
                    <a:pt x="4866567" y="359885"/>
                    <a:pt x="4771201" y="395361"/>
                    <a:pt x="4699394" y="465190"/>
                  </a:cubicBezTo>
                  <a:cubicBezTo>
                    <a:pt x="4611080" y="549710"/>
                    <a:pt x="4558400" y="685574"/>
                    <a:pt x="4558400" y="828654"/>
                  </a:cubicBezTo>
                  <a:cubicBezTo>
                    <a:pt x="4558400" y="1092743"/>
                    <a:pt x="4736097" y="1291865"/>
                    <a:pt x="4971816" y="1291865"/>
                  </a:cubicBezTo>
                  <a:cubicBezTo>
                    <a:pt x="5092032" y="1291865"/>
                    <a:pt x="5185952" y="1246830"/>
                    <a:pt x="5265239" y="1150553"/>
                  </a:cubicBezTo>
                  <a:lnTo>
                    <a:pt x="5265239" y="1267931"/>
                  </a:lnTo>
                  <a:cubicBezTo>
                    <a:pt x="5265239" y="1350745"/>
                    <a:pt x="5245313" y="1414431"/>
                    <a:pt x="5206095" y="1457116"/>
                  </a:cubicBezTo>
                  <a:cubicBezTo>
                    <a:pt x="5162288" y="1504291"/>
                    <a:pt x="5083159" y="1533625"/>
                    <a:pt x="4999546" y="1533625"/>
                  </a:cubicBezTo>
                  <a:cubicBezTo>
                    <a:pt x="4932122" y="1533625"/>
                    <a:pt x="4856471" y="1514979"/>
                    <a:pt x="4811695" y="1487409"/>
                  </a:cubicBezTo>
                  <a:cubicBezTo>
                    <a:pt x="4788777" y="1471596"/>
                    <a:pt x="4771254" y="1455624"/>
                    <a:pt x="4733588" y="1416300"/>
                  </a:cubicBezTo>
                  <a:lnTo>
                    <a:pt x="4719215" y="1401339"/>
                  </a:lnTo>
                  <a:lnTo>
                    <a:pt x="4595103" y="1525451"/>
                  </a:lnTo>
                  <a:lnTo>
                    <a:pt x="4607819" y="1539824"/>
                  </a:lnTo>
                  <a:cubicBezTo>
                    <a:pt x="4703719" y="1647106"/>
                    <a:pt x="4835528" y="1701544"/>
                    <a:pt x="4999546" y="1701544"/>
                  </a:cubicBezTo>
                  <a:cubicBezTo>
                    <a:pt x="5134664" y="1701544"/>
                    <a:pt x="5247981" y="1660675"/>
                    <a:pt x="5327264" y="1583314"/>
                  </a:cubicBezTo>
                  <a:moveTo>
                    <a:pt x="6317923" y="747497"/>
                  </a:moveTo>
                  <a:lnTo>
                    <a:pt x="5805203" y="747497"/>
                  </a:lnTo>
                  <a:cubicBezTo>
                    <a:pt x="5814785" y="696051"/>
                    <a:pt x="5825267" y="667627"/>
                    <a:pt x="5845913" y="635144"/>
                  </a:cubicBezTo>
                  <a:cubicBezTo>
                    <a:pt x="5892024" y="566756"/>
                    <a:pt x="5971327" y="525990"/>
                    <a:pt x="6057989" y="525990"/>
                  </a:cubicBezTo>
                  <a:cubicBezTo>
                    <a:pt x="6144228" y="525990"/>
                    <a:pt x="6225702" y="566274"/>
                    <a:pt x="6275730" y="633487"/>
                  </a:cubicBezTo>
                  <a:cubicBezTo>
                    <a:pt x="6300453" y="669067"/>
                    <a:pt x="6312047" y="699841"/>
                    <a:pt x="6317923" y="747497"/>
                  </a:cubicBezTo>
                  <a:moveTo>
                    <a:pt x="6508188" y="872890"/>
                  </a:moveTo>
                  <a:cubicBezTo>
                    <a:pt x="6510094" y="851683"/>
                    <a:pt x="6510094" y="827426"/>
                    <a:pt x="6510094" y="815779"/>
                  </a:cubicBezTo>
                  <a:cubicBezTo>
                    <a:pt x="6510094" y="555909"/>
                    <a:pt x="6315700" y="359885"/>
                    <a:pt x="6057989" y="359885"/>
                  </a:cubicBezTo>
                  <a:cubicBezTo>
                    <a:pt x="5798109" y="359885"/>
                    <a:pt x="5609538" y="557084"/>
                    <a:pt x="5609538" y="828654"/>
                  </a:cubicBezTo>
                  <a:cubicBezTo>
                    <a:pt x="5609538" y="1097074"/>
                    <a:pt x="5800491" y="1291865"/>
                    <a:pt x="6063495" y="1291865"/>
                  </a:cubicBezTo>
                  <a:cubicBezTo>
                    <a:pt x="6235020" y="1291865"/>
                    <a:pt x="6386956" y="1199867"/>
                    <a:pt x="6460066" y="1051710"/>
                  </a:cubicBezTo>
                  <a:lnTo>
                    <a:pt x="6469966" y="1031572"/>
                  </a:lnTo>
                  <a:lnTo>
                    <a:pt x="6308923" y="971517"/>
                  </a:lnTo>
                  <a:lnTo>
                    <a:pt x="6300559" y="986689"/>
                  </a:lnTo>
                  <a:cubicBezTo>
                    <a:pt x="6254237" y="1068968"/>
                    <a:pt x="6161169" y="1122077"/>
                    <a:pt x="6063495" y="1122077"/>
                  </a:cubicBezTo>
                  <a:cubicBezTo>
                    <a:pt x="5977415" y="1122077"/>
                    <a:pt x="5901923" y="1083664"/>
                    <a:pt x="5850784" y="1013832"/>
                  </a:cubicBezTo>
                  <a:cubicBezTo>
                    <a:pt x="5821932" y="975900"/>
                    <a:pt x="5809438" y="945021"/>
                    <a:pt x="5802132" y="891377"/>
                  </a:cubicBezTo>
                  <a:lnTo>
                    <a:pt x="6506547" y="891377"/>
                  </a:lnTo>
                  <a:lnTo>
                    <a:pt x="6508188" y="872890"/>
                  </a:lnTo>
                  <a:close/>
                  <a:moveTo>
                    <a:pt x="7205139" y="1271563"/>
                  </a:moveTo>
                  <a:lnTo>
                    <a:pt x="7385928" y="1271563"/>
                  </a:lnTo>
                  <a:lnTo>
                    <a:pt x="7385928" y="677294"/>
                  </a:lnTo>
                  <a:cubicBezTo>
                    <a:pt x="7385928" y="554734"/>
                    <a:pt x="7365387" y="491422"/>
                    <a:pt x="7307154" y="435163"/>
                  </a:cubicBezTo>
                  <a:cubicBezTo>
                    <a:pt x="7252520" y="386599"/>
                    <a:pt x="7177557" y="359885"/>
                    <a:pt x="7096189" y="359885"/>
                  </a:cubicBezTo>
                  <a:cubicBezTo>
                    <a:pt x="7000739" y="359885"/>
                    <a:pt x="6929853" y="391193"/>
                    <a:pt x="6863625" y="463694"/>
                  </a:cubicBezTo>
                  <a:lnTo>
                    <a:pt x="6863625" y="380187"/>
                  </a:lnTo>
                  <a:lnTo>
                    <a:pt x="6682836" y="380187"/>
                  </a:lnTo>
                  <a:lnTo>
                    <a:pt x="6682836" y="1271563"/>
                  </a:lnTo>
                  <a:lnTo>
                    <a:pt x="6863625" y="1271563"/>
                  </a:lnTo>
                  <a:lnTo>
                    <a:pt x="6863625" y="732701"/>
                  </a:lnTo>
                  <a:cubicBezTo>
                    <a:pt x="6863625" y="667839"/>
                    <a:pt x="6876278" y="632147"/>
                    <a:pt x="6913971" y="591066"/>
                  </a:cubicBezTo>
                  <a:cubicBezTo>
                    <a:pt x="6951505" y="548481"/>
                    <a:pt x="7002433" y="525990"/>
                    <a:pt x="7061143" y="525990"/>
                  </a:cubicBezTo>
                  <a:cubicBezTo>
                    <a:pt x="7110748" y="525990"/>
                    <a:pt x="7155428" y="544744"/>
                    <a:pt x="7177769" y="575089"/>
                  </a:cubicBezTo>
                  <a:cubicBezTo>
                    <a:pt x="7197410" y="601215"/>
                    <a:pt x="7205139" y="638722"/>
                    <a:pt x="7205139" y="708709"/>
                  </a:cubicBezTo>
                  <a:lnTo>
                    <a:pt x="7205139" y="1271563"/>
                  </a:lnTo>
                  <a:close/>
                  <a:moveTo>
                    <a:pt x="7822309" y="162418"/>
                  </a:moveTo>
                  <a:cubicBezTo>
                    <a:pt x="7822309" y="99268"/>
                    <a:pt x="7774452" y="49847"/>
                    <a:pt x="7713412" y="49847"/>
                  </a:cubicBezTo>
                  <a:cubicBezTo>
                    <a:pt x="7650255" y="49847"/>
                    <a:pt x="7602662" y="97451"/>
                    <a:pt x="7602662" y="160549"/>
                  </a:cubicBezTo>
                  <a:cubicBezTo>
                    <a:pt x="7602662" y="223699"/>
                    <a:pt x="7649514" y="271303"/>
                    <a:pt x="7711560" y="271303"/>
                  </a:cubicBezTo>
                  <a:cubicBezTo>
                    <a:pt x="7773711" y="271303"/>
                    <a:pt x="7822309" y="223432"/>
                    <a:pt x="7822309" y="162418"/>
                  </a:cubicBezTo>
                  <a:moveTo>
                    <a:pt x="8704760" y="826838"/>
                  </a:moveTo>
                  <a:cubicBezTo>
                    <a:pt x="8704760" y="1000692"/>
                    <a:pt x="8594751" y="1122077"/>
                    <a:pt x="8437150" y="1122077"/>
                  </a:cubicBezTo>
                  <a:cubicBezTo>
                    <a:pt x="8276002" y="1122077"/>
                    <a:pt x="8167740" y="1003466"/>
                    <a:pt x="8167740" y="826838"/>
                  </a:cubicBezTo>
                  <a:cubicBezTo>
                    <a:pt x="8167740" y="649088"/>
                    <a:pt x="8276743" y="529677"/>
                    <a:pt x="8439003" y="529677"/>
                  </a:cubicBezTo>
                  <a:cubicBezTo>
                    <a:pt x="8597980" y="529677"/>
                    <a:pt x="8704760" y="649088"/>
                    <a:pt x="8704760" y="826838"/>
                  </a:cubicBezTo>
                  <a:moveTo>
                    <a:pt x="8889307" y="828654"/>
                  </a:moveTo>
                  <a:cubicBezTo>
                    <a:pt x="8889307" y="557084"/>
                    <a:pt x="8699942" y="359885"/>
                    <a:pt x="8439003" y="359885"/>
                  </a:cubicBezTo>
                  <a:cubicBezTo>
                    <a:pt x="8170652" y="359885"/>
                    <a:pt x="7983193" y="551155"/>
                    <a:pt x="7983193" y="824916"/>
                  </a:cubicBezTo>
                  <a:cubicBezTo>
                    <a:pt x="7983193" y="1099848"/>
                    <a:pt x="8168375" y="1291865"/>
                    <a:pt x="8433444" y="1291865"/>
                  </a:cubicBezTo>
                  <a:cubicBezTo>
                    <a:pt x="8689089" y="1291865"/>
                    <a:pt x="8889307" y="1088418"/>
                    <a:pt x="8889307" y="828654"/>
                  </a:cubicBezTo>
                  <a:moveTo>
                    <a:pt x="9658150" y="1197940"/>
                  </a:moveTo>
                  <a:cubicBezTo>
                    <a:pt x="9724854" y="1137144"/>
                    <a:pt x="9749630" y="1068539"/>
                    <a:pt x="9749630" y="944968"/>
                  </a:cubicBezTo>
                  <a:lnTo>
                    <a:pt x="9749630" y="380187"/>
                  </a:lnTo>
                  <a:lnTo>
                    <a:pt x="9566988" y="380187"/>
                  </a:lnTo>
                  <a:lnTo>
                    <a:pt x="9566988" y="944968"/>
                  </a:lnTo>
                  <a:cubicBezTo>
                    <a:pt x="9566988" y="1008437"/>
                    <a:pt x="9558835" y="1039587"/>
                    <a:pt x="9535012" y="1068222"/>
                  </a:cubicBezTo>
                  <a:cubicBezTo>
                    <a:pt x="9503831" y="1104284"/>
                    <a:pt x="9453009" y="1125815"/>
                    <a:pt x="9399010" y="1125815"/>
                  </a:cubicBezTo>
                  <a:cubicBezTo>
                    <a:pt x="9299060" y="1125815"/>
                    <a:pt x="9229233" y="1049947"/>
                    <a:pt x="9229233" y="941225"/>
                  </a:cubicBezTo>
                  <a:lnTo>
                    <a:pt x="9229233" y="380187"/>
                  </a:lnTo>
                  <a:lnTo>
                    <a:pt x="9048391" y="380187"/>
                  </a:lnTo>
                  <a:lnTo>
                    <a:pt x="9048391" y="944968"/>
                  </a:lnTo>
                  <a:cubicBezTo>
                    <a:pt x="9048391" y="1054330"/>
                    <a:pt x="9078249" y="1136392"/>
                    <a:pt x="9139659" y="1195965"/>
                  </a:cubicBezTo>
                  <a:cubicBezTo>
                    <a:pt x="9204563" y="1256925"/>
                    <a:pt x="9299113" y="1291865"/>
                    <a:pt x="9399010" y="1291865"/>
                  </a:cubicBezTo>
                  <a:cubicBezTo>
                    <a:pt x="9499701" y="1291865"/>
                    <a:pt x="9591763" y="1258529"/>
                    <a:pt x="9658150" y="1197945"/>
                  </a:cubicBezTo>
                  <a:moveTo>
                    <a:pt x="10385594" y="653307"/>
                  </a:moveTo>
                  <a:lnTo>
                    <a:pt x="10567335" y="653307"/>
                  </a:lnTo>
                  <a:lnTo>
                    <a:pt x="10566383" y="632041"/>
                  </a:lnTo>
                  <a:cubicBezTo>
                    <a:pt x="10558442" y="459099"/>
                    <a:pt x="10442768" y="359885"/>
                    <a:pt x="10249009" y="359885"/>
                  </a:cubicBezTo>
                  <a:cubicBezTo>
                    <a:pt x="10058003" y="359885"/>
                    <a:pt x="9929730" y="467434"/>
                    <a:pt x="9929730" y="627446"/>
                  </a:cubicBezTo>
                  <a:cubicBezTo>
                    <a:pt x="9929730" y="765666"/>
                    <a:pt x="10016922" y="850825"/>
                    <a:pt x="10212587" y="903611"/>
                  </a:cubicBezTo>
                  <a:cubicBezTo>
                    <a:pt x="10347689" y="937858"/>
                    <a:pt x="10391099" y="968955"/>
                    <a:pt x="10391099" y="1031625"/>
                  </a:cubicBezTo>
                  <a:cubicBezTo>
                    <a:pt x="10391099" y="1095576"/>
                    <a:pt x="10336730" y="1136874"/>
                    <a:pt x="10252715" y="1136874"/>
                  </a:cubicBezTo>
                  <a:cubicBezTo>
                    <a:pt x="10155517" y="1136874"/>
                    <a:pt x="10102102" y="1093384"/>
                    <a:pt x="10093843" y="1007579"/>
                  </a:cubicBezTo>
                  <a:lnTo>
                    <a:pt x="10092096" y="989257"/>
                  </a:lnTo>
                  <a:lnTo>
                    <a:pt x="9913054" y="989257"/>
                  </a:lnTo>
                  <a:lnTo>
                    <a:pt x="9915066" y="1011216"/>
                  </a:lnTo>
                  <a:cubicBezTo>
                    <a:pt x="9930789" y="1194843"/>
                    <a:pt x="10047626" y="1291865"/>
                    <a:pt x="10252715" y="1291865"/>
                  </a:cubicBezTo>
                  <a:cubicBezTo>
                    <a:pt x="10445839" y="1291865"/>
                    <a:pt x="10575647" y="1184371"/>
                    <a:pt x="10575647" y="1024303"/>
                  </a:cubicBezTo>
                  <a:cubicBezTo>
                    <a:pt x="10575647" y="956667"/>
                    <a:pt x="10548542" y="890948"/>
                    <a:pt x="10501426" y="843879"/>
                  </a:cubicBezTo>
                  <a:cubicBezTo>
                    <a:pt x="10457485" y="799913"/>
                    <a:pt x="10397028" y="770955"/>
                    <a:pt x="10285750" y="740769"/>
                  </a:cubicBezTo>
                  <a:cubicBezTo>
                    <a:pt x="10125660" y="696474"/>
                    <a:pt x="10110519" y="671471"/>
                    <a:pt x="10110519" y="616440"/>
                  </a:cubicBezTo>
                  <a:cubicBezTo>
                    <a:pt x="10110519" y="553823"/>
                    <a:pt x="10161447" y="514877"/>
                    <a:pt x="10243398" y="514877"/>
                  </a:cubicBezTo>
                  <a:cubicBezTo>
                    <a:pt x="10329795" y="514877"/>
                    <a:pt x="10385594" y="557672"/>
                    <a:pt x="10385594" y="623762"/>
                  </a:cubicBezTo>
                  <a:lnTo>
                    <a:pt x="10385594" y="653307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</p:grp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56521332-1C40-3B2D-E866-DA4DD019EB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3C65610F-C9DD-99D9-A427-76C421FCD0B0}"/>
              </a:ext>
            </a:extLst>
          </p:cNvPr>
          <p:cNvGrpSpPr/>
          <p:nvPr userDrawn="1"/>
        </p:nvGrpSpPr>
        <p:grpSpPr>
          <a:xfrm rot="5400000">
            <a:off x="-3617983" y="3323777"/>
            <a:ext cx="6854690" cy="213756"/>
            <a:chOff x="-1" y="-286346"/>
            <a:chExt cx="5820565" cy="181508"/>
          </a:xfrm>
        </p:grpSpPr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BF3A7220-0018-82E4-C2EE-601A458458B7}"/>
                </a:ext>
              </a:extLst>
            </p:cNvPr>
            <p:cNvGrpSpPr/>
            <p:nvPr userDrawn="1"/>
          </p:nvGrpSpPr>
          <p:grpSpPr>
            <a:xfrm rot="16200000">
              <a:off x="363007" y="-649354"/>
              <a:ext cx="181503" cy="907520"/>
              <a:chOff x="1319213" y="-1663170"/>
              <a:chExt cx="181503" cy="907520"/>
            </a:xfrm>
          </p:grpSpPr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DFB5F8F2-70DF-9B34-EF36-734D6D842993}"/>
                  </a:ext>
                </a:extLst>
              </p:cNvPr>
              <p:cNvSpPr/>
              <p:nvPr/>
            </p:nvSpPr>
            <p:spPr>
              <a:xfrm>
                <a:off x="1319213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44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51C88F9E-8ADB-E7DF-2E21-B29B5C5F29EF}"/>
                  </a:ext>
                </a:extLst>
              </p:cNvPr>
              <p:cNvSpPr/>
              <p:nvPr/>
            </p:nvSpPr>
            <p:spPr>
              <a:xfrm>
                <a:off x="1319213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69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65BD55E0-7BB5-D3AE-7BA8-EC97B4B49227}"/>
                  </a:ext>
                </a:extLst>
              </p:cNvPr>
              <p:cNvSpPr/>
              <p:nvPr/>
            </p:nvSpPr>
            <p:spPr>
              <a:xfrm>
                <a:off x="1319213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FE8F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96808F07-39C3-7EC7-F1DD-079197E5CDE2}"/>
                  </a:ext>
                </a:extLst>
              </p:cNvPr>
              <p:cNvSpPr/>
              <p:nvPr/>
            </p:nvSpPr>
            <p:spPr>
              <a:xfrm>
                <a:off x="1319213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B4B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3A677237-42AA-8D73-4BAD-E05177337B52}"/>
                  </a:ext>
                </a:extLst>
              </p:cNvPr>
              <p:cNvSpPr/>
              <p:nvPr/>
            </p:nvSpPr>
            <p:spPr>
              <a:xfrm>
                <a:off x="1319213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D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CA952DA8-62BE-DC10-ED3F-8A25F1BEED32}"/>
                </a:ext>
              </a:extLst>
            </p:cNvPr>
            <p:cNvGrpSpPr/>
            <p:nvPr userDrawn="1"/>
          </p:nvGrpSpPr>
          <p:grpSpPr>
            <a:xfrm rot="16200000">
              <a:off x="1345616" y="-649354"/>
              <a:ext cx="181503" cy="907520"/>
              <a:chOff x="1319213" y="-664912"/>
              <a:chExt cx="181503" cy="907520"/>
            </a:xfrm>
          </p:grpSpPr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9169149F-CDDC-AF2F-0DB6-43163F3CCDBF}"/>
                  </a:ext>
                </a:extLst>
              </p:cNvPr>
              <p:cNvSpPr/>
              <p:nvPr/>
            </p:nvSpPr>
            <p:spPr>
              <a:xfrm>
                <a:off x="1319213" y="-66491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6400A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00E22D7D-D35B-6129-1D13-61B55F46F417}"/>
                  </a:ext>
                </a:extLst>
              </p:cNvPr>
              <p:cNvSpPr/>
              <p:nvPr/>
            </p:nvSpPr>
            <p:spPr>
              <a:xfrm>
                <a:off x="1319213" y="-483404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33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2C5526FD-809F-8E92-7F5B-2B011A4A08BE}"/>
                  </a:ext>
                </a:extLst>
              </p:cNvPr>
              <p:cNvSpPr/>
              <p:nvPr/>
            </p:nvSpPr>
            <p:spPr>
              <a:xfrm>
                <a:off x="1319213" y="-30189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266C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4F76FEA1-419A-3D29-F4C8-37F817ADDA2E}"/>
                  </a:ext>
                </a:extLst>
              </p:cNvPr>
              <p:cNvSpPr/>
              <p:nvPr/>
            </p:nvSpPr>
            <p:spPr>
              <a:xfrm>
                <a:off x="1319213" y="-120387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199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3ED11F61-3651-2E09-D92A-A26C8455C570}"/>
                  </a:ext>
                </a:extLst>
              </p:cNvPr>
              <p:cNvSpPr/>
              <p:nvPr/>
            </p:nvSpPr>
            <p:spPr>
              <a:xfrm>
                <a:off x="1319213" y="6110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0CC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DA7F8AF4-D852-C6A7-452B-92257EA1CE99}"/>
                </a:ext>
              </a:extLst>
            </p:cNvPr>
            <p:cNvGrpSpPr/>
            <p:nvPr userDrawn="1"/>
          </p:nvGrpSpPr>
          <p:grpSpPr>
            <a:xfrm rot="16200000">
              <a:off x="2328223" y="-649352"/>
              <a:ext cx="181508" cy="907520"/>
              <a:chOff x="1682219" y="-1663170"/>
              <a:chExt cx="181508" cy="907520"/>
            </a:xfrm>
          </p:grpSpPr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3DA024A9-7763-2028-4259-EE558725FA49}"/>
                  </a:ext>
                </a:extLst>
              </p:cNvPr>
              <p:cNvSpPr/>
              <p:nvPr/>
            </p:nvSpPr>
            <p:spPr>
              <a:xfrm>
                <a:off x="1682219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CC8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E3B226BC-D8C8-3CED-2516-B3869BCD34DB}"/>
                  </a:ext>
                </a:extLst>
              </p:cNvPr>
              <p:cNvSpPr/>
              <p:nvPr/>
            </p:nvSpPr>
            <p:spPr>
              <a:xfrm>
                <a:off x="1682224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3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F0F3118C-2694-64F6-DAEC-649BA15CFD64}"/>
                  </a:ext>
                </a:extLst>
              </p:cNvPr>
              <p:cNvSpPr/>
              <p:nvPr/>
            </p:nvSpPr>
            <p:spPr>
              <a:xfrm>
                <a:off x="1682224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ADE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B90500B8-E064-E554-C70D-9FE963A62680}"/>
                  </a:ext>
                </a:extLst>
              </p:cNvPr>
              <p:cNvSpPr/>
              <p:nvPr/>
            </p:nvSpPr>
            <p:spPr>
              <a:xfrm>
                <a:off x="1682224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E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A87D75F8-4C67-1536-4810-A46F61BE56B6}"/>
                  </a:ext>
                </a:extLst>
              </p:cNvPr>
              <p:cNvSpPr/>
              <p:nvPr/>
            </p:nvSpPr>
            <p:spPr>
              <a:xfrm>
                <a:off x="1682219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8F4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327D27F-340C-3B24-F626-A28BE93334BB}"/>
                </a:ext>
              </a:extLst>
            </p:cNvPr>
            <p:cNvGrpSpPr/>
            <p:nvPr userDrawn="1"/>
          </p:nvGrpSpPr>
          <p:grpSpPr>
            <a:xfrm rot="16200000">
              <a:off x="5276052" y="-649354"/>
              <a:ext cx="181503" cy="907520"/>
              <a:chOff x="2226738" y="-1663170"/>
              <a:chExt cx="181503" cy="907520"/>
            </a:xfrm>
          </p:grpSpPr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78859DEC-DFCE-13D6-5A0B-CA7FA7DF28E1}"/>
                  </a:ext>
                </a:extLst>
              </p:cNvPr>
              <p:cNvSpPr/>
              <p:nvPr/>
            </p:nvSpPr>
            <p:spPr>
              <a:xfrm>
                <a:off x="2226738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DBD81056-ADEA-E875-347C-92D5F909628E}"/>
                  </a:ext>
                </a:extLst>
              </p:cNvPr>
              <p:cNvSpPr/>
              <p:nvPr/>
            </p:nvSpPr>
            <p:spPr>
              <a:xfrm>
                <a:off x="2226738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5757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E31B857C-E686-7238-3BBE-41805EC241C8}"/>
                  </a:ext>
                </a:extLst>
              </p:cNvPr>
              <p:cNvSpPr/>
              <p:nvPr/>
            </p:nvSpPr>
            <p:spPr>
              <a:xfrm>
                <a:off x="2226738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8787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BE9D85B0-A1C7-2687-FE3D-0CACBE1ACDAA}"/>
                  </a:ext>
                </a:extLst>
              </p:cNvPr>
              <p:cNvSpPr/>
              <p:nvPr/>
            </p:nvSpPr>
            <p:spPr>
              <a:xfrm>
                <a:off x="2226738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2B2B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58B6948B-7EB3-2E80-9808-58BD517FDC29}"/>
                  </a:ext>
                </a:extLst>
              </p:cNvPr>
              <p:cNvSpPr/>
              <p:nvPr/>
            </p:nvSpPr>
            <p:spPr>
              <a:xfrm>
                <a:off x="2226738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DA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99F874AA-E9F1-987E-51D7-D05BACB71445}"/>
                </a:ext>
              </a:extLst>
            </p:cNvPr>
            <p:cNvGrpSpPr/>
            <p:nvPr userDrawn="1"/>
          </p:nvGrpSpPr>
          <p:grpSpPr>
            <a:xfrm rot="16200000">
              <a:off x="3310834" y="-649354"/>
              <a:ext cx="181503" cy="907520"/>
              <a:chOff x="1863727" y="-1663170"/>
              <a:chExt cx="181503" cy="907520"/>
            </a:xfrm>
          </p:grpSpPr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090ACA57-A1E4-EA6B-CE0F-53EFEBB46823}"/>
                  </a:ext>
                </a:extLst>
              </p:cNvPr>
              <p:cNvSpPr/>
              <p:nvPr/>
            </p:nvSpPr>
            <p:spPr>
              <a:xfrm>
                <a:off x="1863727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2A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2676A9B0-F77E-B7D7-3DAC-995CF1DAAF25}"/>
                  </a:ext>
                </a:extLst>
              </p:cNvPr>
              <p:cNvSpPr/>
              <p:nvPr/>
            </p:nvSpPr>
            <p:spPr>
              <a:xfrm>
                <a:off x="1863727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5DB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318376F1-B05C-161B-8B84-73E9E6692D1B}"/>
                  </a:ext>
                </a:extLst>
              </p:cNvPr>
              <p:cNvSpPr/>
              <p:nvPr/>
            </p:nvSpPr>
            <p:spPr>
              <a:xfrm>
                <a:off x="1863727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8E4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DC008F65-E254-1BD3-D2BE-0DB3EE3F6CDF}"/>
                  </a:ext>
                </a:extLst>
              </p:cNvPr>
              <p:cNvSpPr/>
              <p:nvPr/>
            </p:nvSpPr>
            <p:spPr>
              <a:xfrm>
                <a:off x="1863727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ED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037E2BBE-1C93-F884-EDE9-B218534A70F0}"/>
                  </a:ext>
                </a:extLst>
              </p:cNvPr>
              <p:cNvSpPr/>
              <p:nvPr/>
            </p:nvSpPr>
            <p:spPr>
              <a:xfrm>
                <a:off x="1863727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DF6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8B57DC9B-7DA3-30B6-BADA-735A008F3DF5}"/>
                </a:ext>
              </a:extLst>
            </p:cNvPr>
            <p:cNvGrpSpPr/>
            <p:nvPr userDrawn="1"/>
          </p:nvGrpSpPr>
          <p:grpSpPr>
            <a:xfrm rot="16200000">
              <a:off x="4293441" y="-649352"/>
              <a:ext cx="181508" cy="907520"/>
              <a:chOff x="2045230" y="-1663170"/>
              <a:chExt cx="181508" cy="907520"/>
            </a:xfrm>
          </p:grpSpPr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EB7C088D-1084-9429-6AA1-AB6D13509102}"/>
                  </a:ext>
                </a:extLst>
              </p:cNvPr>
              <p:cNvSpPr/>
              <p:nvPr/>
            </p:nvSpPr>
            <p:spPr>
              <a:xfrm>
                <a:off x="2045230" y="-937158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9F7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85A8EFED-96C7-0AD1-9A1C-55D1F44BDCC8}"/>
                  </a:ext>
                </a:extLst>
              </p:cNvPr>
              <p:cNvSpPr/>
              <p:nvPr/>
            </p:nvSpPr>
            <p:spPr>
              <a:xfrm>
                <a:off x="2045230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FED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427ECB87-EC9F-205A-1659-D8DA767DC1F0}"/>
                  </a:ext>
                </a:extLst>
              </p:cNvPr>
              <p:cNvSpPr/>
              <p:nvPr/>
            </p:nvSpPr>
            <p:spPr>
              <a:xfrm>
                <a:off x="2045230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5E3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7D6395C4-90A9-0F4F-A1A7-B5A64CB985F0}"/>
                  </a:ext>
                </a:extLst>
              </p:cNvPr>
              <p:cNvSpPr/>
              <p:nvPr/>
            </p:nvSpPr>
            <p:spPr>
              <a:xfrm>
                <a:off x="2045230" y="-1663170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CFC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98DA1839-7494-F77E-F3D1-B32345CB027F}"/>
                  </a:ext>
                </a:extLst>
              </p:cNvPr>
              <p:cNvSpPr/>
              <p:nvPr/>
            </p:nvSpPr>
            <p:spPr>
              <a:xfrm>
                <a:off x="2045230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BD9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320606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(sand) and Content 2/3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5440E761-56DA-1F16-C101-779B792715A1}"/>
              </a:ext>
            </a:extLst>
          </p:cNvPr>
          <p:cNvSpPr/>
          <p:nvPr userDrawn="1"/>
        </p:nvSpPr>
        <p:spPr>
          <a:xfrm>
            <a:off x="8136000" y="0"/>
            <a:ext cx="40559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63000" y="843891"/>
            <a:ext cx="2770186" cy="55106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56521332-1C40-3B2D-E866-DA4DD019EB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C98D1939-9951-5163-CFFC-350B0D96FF6E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0415668" y="503483"/>
            <a:ext cx="1289916" cy="180000"/>
            <a:chOff x="-161925" y="-1630732"/>
            <a:chExt cx="12193587" cy="1701544"/>
          </a:xfrm>
          <a:solidFill>
            <a:schemeClr val="accent2"/>
          </a:solidFill>
        </p:grpSpPr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09F83712-49AD-81BF-3F15-94D5DBD99B47}"/>
                </a:ext>
              </a:extLst>
            </p:cNvPr>
            <p:cNvSpPr/>
            <p:nvPr/>
          </p:nvSpPr>
          <p:spPr bwMode="gray">
            <a:xfrm>
              <a:off x="10774928" y="-1247713"/>
              <a:ext cx="1256734" cy="356304"/>
            </a:xfrm>
            <a:custGeom>
              <a:avLst/>
              <a:gdLst>
                <a:gd name="connsiteX0" fmla="*/ 1226823 w 1256734"/>
                <a:gd name="connsiteY0" fmla="*/ 269166 h 356304"/>
                <a:gd name="connsiteX1" fmla="*/ 1133491 w 1256734"/>
                <a:gd name="connsiteY1" fmla="*/ 316610 h 356304"/>
                <a:gd name="connsiteX2" fmla="*/ 1010248 w 1256734"/>
                <a:gd name="connsiteY2" fmla="*/ 178448 h 356304"/>
                <a:gd name="connsiteX3" fmla="*/ 1131426 w 1256734"/>
                <a:gd name="connsiteY3" fmla="*/ 39696 h 356304"/>
                <a:gd name="connsiteX4" fmla="*/ 1226823 w 1256734"/>
                <a:gd name="connsiteY4" fmla="*/ 86659 h 356304"/>
                <a:gd name="connsiteX5" fmla="*/ 1256735 w 1256734"/>
                <a:gd name="connsiteY5" fmla="*/ 58823 h 356304"/>
                <a:gd name="connsiteX6" fmla="*/ 1216553 w 1256734"/>
                <a:gd name="connsiteY6" fmla="*/ 23241 h 356304"/>
                <a:gd name="connsiteX7" fmla="*/ 1130420 w 1256734"/>
                <a:gd name="connsiteY7" fmla="*/ 0 h 356304"/>
                <a:gd name="connsiteX8" fmla="*/ 965885 w 1256734"/>
                <a:gd name="connsiteY8" fmla="*/ 178448 h 356304"/>
                <a:gd name="connsiteX9" fmla="*/ 1011783 w 1256734"/>
                <a:gd name="connsiteY9" fmla="*/ 305763 h 356304"/>
                <a:gd name="connsiteX10" fmla="*/ 1129892 w 1256734"/>
                <a:gd name="connsiteY10" fmla="*/ 356305 h 356304"/>
                <a:gd name="connsiteX11" fmla="*/ 1255676 w 1256734"/>
                <a:gd name="connsiteY11" fmla="*/ 298071 h 356304"/>
                <a:gd name="connsiteX12" fmla="*/ 1226823 w 1256734"/>
                <a:gd name="connsiteY12" fmla="*/ 269166 h 356304"/>
                <a:gd name="connsiteX13" fmla="*/ 679216 w 1256734"/>
                <a:gd name="connsiteY13" fmla="*/ 197999 h 356304"/>
                <a:gd name="connsiteX14" fmla="*/ 846824 w 1256734"/>
                <a:gd name="connsiteY14" fmla="*/ 197999 h 356304"/>
                <a:gd name="connsiteX15" fmla="*/ 846824 w 1256734"/>
                <a:gd name="connsiteY15" fmla="*/ 350105 h 356304"/>
                <a:gd name="connsiteX16" fmla="*/ 890075 w 1256734"/>
                <a:gd name="connsiteY16" fmla="*/ 350105 h 356304"/>
                <a:gd name="connsiteX17" fmla="*/ 890075 w 1256734"/>
                <a:gd name="connsiteY17" fmla="*/ 6198 h 356304"/>
                <a:gd name="connsiteX18" fmla="*/ 846824 w 1256734"/>
                <a:gd name="connsiteY18" fmla="*/ 6198 h 356304"/>
                <a:gd name="connsiteX19" fmla="*/ 846824 w 1256734"/>
                <a:gd name="connsiteY19" fmla="*/ 160920 h 356304"/>
                <a:gd name="connsiteX20" fmla="*/ 679216 w 1256734"/>
                <a:gd name="connsiteY20" fmla="*/ 160920 h 356304"/>
                <a:gd name="connsiteX21" fmla="*/ 679216 w 1256734"/>
                <a:gd name="connsiteY21" fmla="*/ 6198 h 356304"/>
                <a:gd name="connsiteX22" fmla="*/ 635912 w 1256734"/>
                <a:gd name="connsiteY22" fmla="*/ 6198 h 356304"/>
                <a:gd name="connsiteX23" fmla="*/ 635912 w 1256734"/>
                <a:gd name="connsiteY23" fmla="*/ 350105 h 356304"/>
                <a:gd name="connsiteX24" fmla="*/ 679216 w 1256734"/>
                <a:gd name="connsiteY24" fmla="*/ 350105 h 356304"/>
                <a:gd name="connsiteX25" fmla="*/ 679216 w 1256734"/>
                <a:gd name="connsiteY25" fmla="*/ 197999 h 356304"/>
                <a:gd name="connsiteX26" fmla="*/ 392018 w 1256734"/>
                <a:gd name="connsiteY26" fmla="*/ 40230 h 356304"/>
                <a:gd name="connsiteX27" fmla="*/ 476563 w 1256734"/>
                <a:gd name="connsiteY27" fmla="*/ 75813 h 356304"/>
                <a:gd name="connsiteX28" fmla="*/ 515792 w 1256734"/>
                <a:gd name="connsiteY28" fmla="*/ 181011 h 356304"/>
                <a:gd name="connsiteX29" fmla="*/ 482758 w 1256734"/>
                <a:gd name="connsiteY29" fmla="*/ 275365 h 356304"/>
                <a:gd name="connsiteX30" fmla="*/ 390960 w 1256734"/>
                <a:gd name="connsiteY30" fmla="*/ 316610 h 356304"/>
                <a:gd name="connsiteX31" fmla="*/ 267239 w 1256734"/>
                <a:gd name="connsiteY31" fmla="*/ 178448 h 356304"/>
                <a:gd name="connsiteX32" fmla="*/ 392018 w 1256734"/>
                <a:gd name="connsiteY32" fmla="*/ 40230 h 356304"/>
                <a:gd name="connsiteX33" fmla="*/ 393077 w 1256734"/>
                <a:gd name="connsiteY33" fmla="*/ 0 h 356304"/>
                <a:gd name="connsiteX34" fmla="*/ 222876 w 1256734"/>
                <a:gd name="connsiteY34" fmla="*/ 179994 h 356304"/>
                <a:gd name="connsiteX35" fmla="*/ 258982 w 1256734"/>
                <a:gd name="connsiteY35" fmla="*/ 291872 h 356304"/>
                <a:gd name="connsiteX36" fmla="*/ 392018 w 1256734"/>
                <a:gd name="connsiteY36" fmla="*/ 356305 h 356304"/>
                <a:gd name="connsiteX37" fmla="*/ 501868 w 1256734"/>
                <a:gd name="connsiteY37" fmla="*/ 315059 h 356304"/>
                <a:gd name="connsiteX38" fmla="*/ 560155 w 1256734"/>
                <a:gd name="connsiteY38" fmla="*/ 181545 h 356304"/>
                <a:gd name="connsiteX39" fmla="*/ 519921 w 1256734"/>
                <a:gd name="connsiteY39" fmla="*/ 59304 h 356304"/>
                <a:gd name="connsiteX40" fmla="*/ 393077 w 1256734"/>
                <a:gd name="connsiteY40" fmla="*/ 0 h 356304"/>
                <a:gd name="connsiteX41" fmla="*/ 43306 w 1256734"/>
                <a:gd name="connsiteY41" fmla="*/ 310946 h 356304"/>
                <a:gd name="connsiteX42" fmla="*/ 43306 w 1256734"/>
                <a:gd name="connsiteY42" fmla="*/ 6198 h 356304"/>
                <a:gd name="connsiteX43" fmla="*/ 0 w 1256734"/>
                <a:gd name="connsiteY43" fmla="*/ 6198 h 356304"/>
                <a:gd name="connsiteX44" fmla="*/ 0 w 1256734"/>
                <a:gd name="connsiteY44" fmla="*/ 350105 h 356304"/>
                <a:gd name="connsiteX45" fmla="*/ 194237 w 1256734"/>
                <a:gd name="connsiteY45" fmla="*/ 350105 h 356304"/>
                <a:gd name="connsiteX46" fmla="*/ 194237 w 1256734"/>
                <a:gd name="connsiteY46" fmla="*/ 310946 h 356304"/>
                <a:gd name="connsiteX47" fmla="*/ 43306 w 1256734"/>
                <a:gd name="connsiteY47" fmla="*/ 310946 h 35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256734" h="356304">
                  <a:moveTo>
                    <a:pt x="1226823" y="269166"/>
                  </a:moveTo>
                  <a:cubicBezTo>
                    <a:pt x="1200037" y="301650"/>
                    <a:pt x="1171131" y="316610"/>
                    <a:pt x="1133491" y="316610"/>
                  </a:cubicBezTo>
                  <a:cubicBezTo>
                    <a:pt x="1062341" y="316610"/>
                    <a:pt x="1010248" y="258371"/>
                    <a:pt x="1010248" y="178448"/>
                  </a:cubicBezTo>
                  <a:cubicBezTo>
                    <a:pt x="1010248" y="97985"/>
                    <a:pt x="1061334" y="39696"/>
                    <a:pt x="1131426" y="39696"/>
                  </a:cubicBezTo>
                  <a:cubicBezTo>
                    <a:pt x="1168008" y="39696"/>
                    <a:pt x="1193313" y="52092"/>
                    <a:pt x="1226823" y="86659"/>
                  </a:cubicBezTo>
                  <a:lnTo>
                    <a:pt x="1256735" y="58823"/>
                  </a:lnTo>
                  <a:cubicBezTo>
                    <a:pt x="1239742" y="40230"/>
                    <a:pt x="1230424" y="32003"/>
                    <a:pt x="1216553" y="23241"/>
                  </a:cubicBezTo>
                  <a:cubicBezTo>
                    <a:pt x="1191725" y="8281"/>
                    <a:pt x="1161338" y="0"/>
                    <a:pt x="1130420" y="0"/>
                  </a:cubicBezTo>
                  <a:cubicBezTo>
                    <a:pt x="1035500" y="0"/>
                    <a:pt x="965885" y="75279"/>
                    <a:pt x="965885" y="178448"/>
                  </a:cubicBezTo>
                  <a:cubicBezTo>
                    <a:pt x="965885" y="226369"/>
                    <a:pt x="982931" y="273279"/>
                    <a:pt x="1011783" y="305763"/>
                  </a:cubicBezTo>
                  <a:cubicBezTo>
                    <a:pt x="1041165" y="338782"/>
                    <a:pt x="1081928" y="356305"/>
                    <a:pt x="1129892" y="356305"/>
                  </a:cubicBezTo>
                  <a:cubicBezTo>
                    <a:pt x="1182990" y="356305"/>
                    <a:pt x="1221107" y="338782"/>
                    <a:pt x="1255676" y="298071"/>
                  </a:cubicBezTo>
                  <a:lnTo>
                    <a:pt x="1226823" y="269166"/>
                  </a:lnTo>
                  <a:close/>
                  <a:moveTo>
                    <a:pt x="679216" y="197999"/>
                  </a:moveTo>
                  <a:lnTo>
                    <a:pt x="846824" y="197999"/>
                  </a:lnTo>
                  <a:lnTo>
                    <a:pt x="846824" y="350105"/>
                  </a:lnTo>
                  <a:lnTo>
                    <a:pt x="890075" y="350105"/>
                  </a:lnTo>
                  <a:lnTo>
                    <a:pt x="890075" y="6198"/>
                  </a:lnTo>
                  <a:lnTo>
                    <a:pt x="846824" y="6198"/>
                  </a:lnTo>
                  <a:lnTo>
                    <a:pt x="846824" y="160920"/>
                  </a:lnTo>
                  <a:lnTo>
                    <a:pt x="679216" y="160920"/>
                  </a:lnTo>
                  <a:lnTo>
                    <a:pt x="679216" y="6198"/>
                  </a:lnTo>
                  <a:lnTo>
                    <a:pt x="635912" y="6198"/>
                  </a:lnTo>
                  <a:lnTo>
                    <a:pt x="635912" y="350105"/>
                  </a:lnTo>
                  <a:lnTo>
                    <a:pt x="679216" y="350105"/>
                  </a:lnTo>
                  <a:lnTo>
                    <a:pt x="679216" y="197999"/>
                  </a:lnTo>
                  <a:close/>
                  <a:moveTo>
                    <a:pt x="392018" y="40230"/>
                  </a:moveTo>
                  <a:cubicBezTo>
                    <a:pt x="422459" y="40230"/>
                    <a:pt x="453904" y="53641"/>
                    <a:pt x="476563" y="75813"/>
                  </a:cubicBezTo>
                  <a:cubicBezTo>
                    <a:pt x="503404" y="101618"/>
                    <a:pt x="515792" y="135117"/>
                    <a:pt x="515792" y="181011"/>
                  </a:cubicBezTo>
                  <a:cubicBezTo>
                    <a:pt x="515792" y="216057"/>
                    <a:pt x="502874" y="253189"/>
                    <a:pt x="482758" y="275365"/>
                  </a:cubicBezTo>
                  <a:cubicBezTo>
                    <a:pt x="459569" y="301650"/>
                    <a:pt x="425530" y="316610"/>
                    <a:pt x="390960" y="316610"/>
                  </a:cubicBezTo>
                  <a:cubicBezTo>
                    <a:pt x="319809" y="316610"/>
                    <a:pt x="267239" y="258371"/>
                    <a:pt x="267239" y="178448"/>
                  </a:cubicBezTo>
                  <a:cubicBezTo>
                    <a:pt x="267239" y="99000"/>
                    <a:pt x="320338" y="40230"/>
                    <a:pt x="392018" y="40230"/>
                  </a:cubicBezTo>
                  <a:moveTo>
                    <a:pt x="393077" y="0"/>
                  </a:moveTo>
                  <a:cubicBezTo>
                    <a:pt x="295615" y="0"/>
                    <a:pt x="222876" y="77362"/>
                    <a:pt x="222876" y="179994"/>
                  </a:cubicBezTo>
                  <a:cubicBezTo>
                    <a:pt x="222876" y="223273"/>
                    <a:pt x="235318" y="261956"/>
                    <a:pt x="258982" y="291872"/>
                  </a:cubicBezTo>
                  <a:cubicBezTo>
                    <a:pt x="290957" y="332101"/>
                    <a:pt x="340985" y="356305"/>
                    <a:pt x="392018" y="356305"/>
                  </a:cubicBezTo>
                  <a:cubicBezTo>
                    <a:pt x="431723" y="356305"/>
                    <a:pt x="470899" y="341879"/>
                    <a:pt x="501868" y="315059"/>
                  </a:cubicBezTo>
                  <a:cubicBezTo>
                    <a:pt x="539509" y="283110"/>
                    <a:pt x="560155" y="235131"/>
                    <a:pt x="560155" y="181545"/>
                  </a:cubicBezTo>
                  <a:cubicBezTo>
                    <a:pt x="560155" y="129935"/>
                    <a:pt x="547715" y="91788"/>
                    <a:pt x="519921" y="59304"/>
                  </a:cubicBezTo>
                  <a:cubicBezTo>
                    <a:pt x="486886" y="21691"/>
                    <a:pt x="440988" y="0"/>
                    <a:pt x="393077" y="0"/>
                  </a:cubicBezTo>
                  <a:moveTo>
                    <a:pt x="43306" y="310946"/>
                  </a:moveTo>
                  <a:lnTo>
                    <a:pt x="43306" y="6198"/>
                  </a:lnTo>
                  <a:lnTo>
                    <a:pt x="0" y="6198"/>
                  </a:lnTo>
                  <a:lnTo>
                    <a:pt x="0" y="350105"/>
                  </a:lnTo>
                  <a:lnTo>
                    <a:pt x="194237" y="350105"/>
                  </a:lnTo>
                  <a:lnTo>
                    <a:pt x="194237" y="310946"/>
                  </a:lnTo>
                  <a:lnTo>
                    <a:pt x="43306" y="310946"/>
                  </a:lnTo>
                  <a:close/>
                </a:path>
              </a:pathLst>
            </a:custGeom>
            <a:solidFill>
              <a:schemeClr val="accent2"/>
            </a:solidFill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F501DDC5-292F-AC4A-AB3D-03324A593520}"/>
                </a:ext>
              </a:extLst>
            </p:cNvPr>
            <p:cNvSpPr/>
            <p:nvPr/>
          </p:nvSpPr>
          <p:spPr bwMode="gray">
            <a:xfrm>
              <a:off x="-161925" y="-1630732"/>
              <a:ext cx="10575647" cy="1701544"/>
            </a:xfrm>
            <a:custGeom>
              <a:avLst/>
              <a:gdLst>
                <a:gd name="connsiteX0" fmla="*/ 7802033 w 10575647"/>
                <a:gd name="connsiteY0" fmla="*/ 380187 h 1701544"/>
                <a:gd name="connsiteX1" fmla="*/ 7621138 w 10575647"/>
                <a:gd name="connsiteY1" fmla="*/ 380187 h 1701544"/>
                <a:gd name="connsiteX2" fmla="*/ 7621138 w 10575647"/>
                <a:gd name="connsiteY2" fmla="*/ 1271563 h 1701544"/>
                <a:gd name="connsiteX3" fmla="*/ 7802033 w 10575647"/>
                <a:gd name="connsiteY3" fmla="*/ 1271563 h 1701544"/>
                <a:gd name="connsiteX4" fmla="*/ 7802033 w 10575647"/>
                <a:gd name="connsiteY4" fmla="*/ 380187 h 1701544"/>
                <a:gd name="connsiteX5" fmla="*/ 706522 w 10575647"/>
                <a:gd name="connsiteY5" fmla="*/ 1271563 h 1701544"/>
                <a:gd name="connsiteX6" fmla="*/ 902065 w 10575647"/>
                <a:gd name="connsiteY6" fmla="*/ 1271563 h 1701544"/>
                <a:gd name="connsiteX7" fmla="*/ 902065 w 10575647"/>
                <a:gd name="connsiteY7" fmla="*/ 0 h 1701544"/>
                <a:gd name="connsiteX8" fmla="*/ 706522 w 10575647"/>
                <a:gd name="connsiteY8" fmla="*/ 0 h 1701544"/>
                <a:gd name="connsiteX9" fmla="*/ 706522 w 10575647"/>
                <a:gd name="connsiteY9" fmla="*/ 553717 h 1701544"/>
                <a:gd name="connsiteX10" fmla="*/ 195543 w 10575647"/>
                <a:gd name="connsiteY10" fmla="*/ 553717 h 1701544"/>
                <a:gd name="connsiteX11" fmla="*/ 195543 w 10575647"/>
                <a:gd name="connsiteY11" fmla="*/ 0 h 1701544"/>
                <a:gd name="connsiteX12" fmla="*/ 0 w 10575647"/>
                <a:gd name="connsiteY12" fmla="*/ 0 h 1701544"/>
                <a:gd name="connsiteX13" fmla="*/ 0 w 10575647"/>
                <a:gd name="connsiteY13" fmla="*/ 1271563 h 1701544"/>
                <a:gd name="connsiteX14" fmla="*/ 195543 w 10575647"/>
                <a:gd name="connsiteY14" fmla="*/ 1271563 h 1701544"/>
                <a:gd name="connsiteX15" fmla="*/ 195543 w 10575647"/>
                <a:gd name="connsiteY15" fmla="*/ 727142 h 1701544"/>
                <a:gd name="connsiteX16" fmla="*/ 706522 w 10575647"/>
                <a:gd name="connsiteY16" fmla="*/ 727142 h 1701544"/>
                <a:gd name="connsiteX17" fmla="*/ 706522 w 10575647"/>
                <a:gd name="connsiteY17" fmla="*/ 1271563 h 1701544"/>
                <a:gd name="connsiteX18" fmla="*/ 1306185 w 10575647"/>
                <a:gd name="connsiteY18" fmla="*/ 1690649 h 1701544"/>
                <a:gd name="connsiteX19" fmla="*/ 1654904 w 10575647"/>
                <a:gd name="connsiteY19" fmla="*/ 1036061 h 1701544"/>
                <a:gd name="connsiteX20" fmla="*/ 1306185 w 10575647"/>
                <a:gd name="connsiteY20" fmla="*/ 381469 h 1701544"/>
                <a:gd name="connsiteX21" fmla="*/ 1090234 w 10575647"/>
                <a:gd name="connsiteY21" fmla="*/ 381469 h 1701544"/>
                <a:gd name="connsiteX22" fmla="*/ 1438900 w 10575647"/>
                <a:gd name="connsiteY22" fmla="*/ 1036061 h 1701544"/>
                <a:gd name="connsiteX23" fmla="*/ 1090234 w 10575647"/>
                <a:gd name="connsiteY23" fmla="*/ 1690649 h 1701544"/>
                <a:gd name="connsiteX24" fmla="*/ 1306185 w 10575647"/>
                <a:gd name="connsiteY24" fmla="*/ 1690649 h 1701544"/>
                <a:gd name="connsiteX25" fmla="*/ 2581808 w 10575647"/>
                <a:gd name="connsiteY25" fmla="*/ 828654 h 1701544"/>
                <a:gd name="connsiteX26" fmla="*/ 2317883 w 10575647"/>
                <a:gd name="connsiteY26" fmla="*/ 1129505 h 1701544"/>
                <a:gd name="connsiteX27" fmla="*/ 2065011 w 10575647"/>
                <a:gd name="connsiteY27" fmla="*/ 832338 h 1701544"/>
                <a:gd name="connsiteX28" fmla="*/ 2327068 w 10575647"/>
                <a:gd name="connsiteY28" fmla="*/ 525990 h 1701544"/>
                <a:gd name="connsiteX29" fmla="*/ 2581808 w 10575647"/>
                <a:gd name="connsiteY29" fmla="*/ 828654 h 1701544"/>
                <a:gd name="connsiteX30" fmla="*/ 2581808 w 10575647"/>
                <a:gd name="connsiteY30" fmla="*/ 1271563 h 1701544"/>
                <a:gd name="connsiteX31" fmla="*/ 2762608 w 10575647"/>
                <a:gd name="connsiteY31" fmla="*/ 1271563 h 1701544"/>
                <a:gd name="connsiteX32" fmla="*/ 2762608 w 10575647"/>
                <a:gd name="connsiteY32" fmla="*/ 0 h 1701544"/>
                <a:gd name="connsiteX33" fmla="*/ 2581808 w 10575647"/>
                <a:gd name="connsiteY33" fmla="*/ 0 h 1701544"/>
                <a:gd name="connsiteX34" fmla="*/ 2581808 w 10575647"/>
                <a:gd name="connsiteY34" fmla="*/ 476356 h 1701544"/>
                <a:gd name="connsiteX35" fmla="*/ 2297581 w 10575647"/>
                <a:gd name="connsiteY35" fmla="*/ 359885 h 1701544"/>
                <a:gd name="connsiteX36" fmla="*/ 1876785 w 10575647"/>
                <a:gd name="connsiteY36" fmla="*/ 830470 h 1701544"/>
                <a:gd name="connsiteX37" fmla="*/ 2297581 w 10575647"/>
                <a:gd name="connsiteY37" fmla="*/ 1291865 h 1701544"/>
                <a:gd name="connsiteX38" fmla="*/ 2581808 w 10575647"/>
                <a:gd name="connsiteY38" fmla="*/ 1163217 h 1701544"/>
                <a:gd name="connsiteX39" fmla="*/ 2581808 w 10575647"/>
                <a:gd name="connsiteY39" fmla="*/ 1271563 h 1701544"/>
                <a:gd name="connsiteX40" fmla="*/ 3437445 w 10575647"/>
                <a:gd name="connsiteY40" fmla="*/ 542393 h 1701544"/>
                <a:gd name="connsiteX41" fmla="*/ 3460310 w 10575647"/>
                <a:gd name="connsiteY41" fmla="*/ 545331 h 1701544"/>
                <a:gd name="connsiteX42" fmla="*/ 3460310 w 10575647"/>
                <a:gd name="connsiteY42" fmla="*/ 359885 h 1701544"/>
                <a:gd name="connsiteX43" fmla="*/ 3406830 w 10575647"/>
                <a:gd name="connsiteY43" fmla="*/ 359885 h 1701544"/>
                <a:gd name="connsiteX44" fmla="*/ 3231965 w 10575647"/>
                <a:gd name="connsiteY44" fmla="*/ 415877 h 1701544"/>
                <a:gd name="connsiteX45" fmla="*/ 3187194 w 10575647"/>
                <a:gd name="connsiteY45" fmla="*/ 462091 h 1701544"/>
                <a:gd name="connsiteX46" fmla="*/ 3187194 w 10575647"/>
                <a:gd name="connsiteY46" fmla="*/ 380187 h 1701544"/>
                <a:gd name="connsiteX47" fmla="*/ 3006395 w 10575647"/>
                <a:gd name="connsiteY47" fmla="*/ 380187 h 1701544"/>
                <a:gd name="connsiteX48" fmla="*/ 3006395 w 10575647"/>
                <a:gd name="connsiteY48" fmla="*/ 1271563 h 1701544"/>
                <a:gd name="connsiteX49" fmla="*/ 3187194 w 10575647"/>
                <a:gd name="connsiteY49" fmla="*/ 1271563 h 1701544"/>
                <a:gd name="connsiteX50" fmla="*/ 3187194 w 10575647"/>
                <a:gd name="connsiteY50" fmla="*/ 819411 h 1701544"/>
                <a:gd name="connsiteX51" fmla="*/ 3233517 w 10575647"/>
                <a:gd name="connsiteY51" fmla="*/ 629638 h 1701544"/>
                <a:gd name="connsiteX52" fmla="*/ 3401277 w 10575647"/>
                <a:gd name="connsiteY52" fmla="*/ 540683 h 1701544"/>
                <a:gd name="connsiteX53" fmla="*/ 3437445 w 10575647"/>
                <a:gd name="connsiteY53" fmla="*/ 542393 h 1701544"/>
                <a:gd name="connsiteX54" fmla="*/ 4250980 w 10575647"/>
                <a:gd name="connsiteY54" fmla="*/ 826838 h 1701544"/>
                <a:gd name="connsiteX55" fmla="*/ 3983364 w 10575647"/>
                <a:gd name="connsiteY55" fmla="*/ 1122077 h 1701544"/>
                <a:gd name="connsiteX56" fmla="*/ 3713875 w 10575647"/>
                <a:gd name="connsiteY56" fmla="*/ 826838 h 1701544"/>
                <a:gd name="connsiteX57" fmla="*/ 3985180 w 10575647"/>
                <a:gd name="connsiteY57" fmla="*/ 529677 h 1701544"/>
                <a:gd name="connsiteX58" fmla="*/ 4250980 w 10575647"/>
                <a:gd name="connsiteY58" fmla="*/ 826838 h 1701544"/>
                <a:gd name="connsiteX59" fmla="*/ 4435464 w 10575647"/>
                <a:gd name="connsiteY59" fmla="*/ 828654 h 1701544"/>
                <a:gd name="connsiteX60" fmla="*/ 3985180 w 10575647"/>
                <a:gd name="connsiteY60" fmla="*/ 359885 h 1701544"/>
                <a:gd name="connsiteX61" fmla="*/ 3529338 w 10575647"/>
                <a:gd name="connsiteY61" fmla="*/ 824916 h 1701544"/>
                <a:gd name="connsiteX62" fmla="*/ 3979622 w 10575647"/>
                <a:gd name="connsiteY62" fmla="*/ 1291865 h 1701544"/>
                <a:gd name="connsiteX63" fmla="*/ 4435464 w 10575647"/>
                <a:gd name="connsiteY63" fmla="*/ 828654 h 1701544"/>
                <a:gd name="connsiteX64" fmla="*/ 5261608 w 10575647"/>
                <a:gd name="connsiteY64" fmla="*/ 828654 h 1701544"/>
                <a:gd name="connsiteX65" fmla="*/ 5205508 w 10575647"/>
                <a:gd name="connsiteY65" fmla="*/ 1025854 h 1701544"/>
                <a:gd name="connsiteX66" fmla="*/ 5005052 w 10575647"/>
                <a:gd name="connsiteY66" fmla="*/ 1122077 h 1701544"/>
                <a:gd name="connsiteX67" fmla="*/ 4746675 w 10575647"/>
                <a:gd name="connsiteY67" fmla="*/ 823153 h 1701544"/>
                <a:gd name="connsiteX68" fmla="*/ 5008683 w 10575647"/>
                <a:gd name="connsiteY68" fmla="*/ 529677 h 1701544"/>
                <a:gd name="connsiteX69" fmla="*/ 5200378 w 10575647"/>
                <a:gd name="connsiteY69" fmla="*/ 617081 h 1701544"/>
                <a:gd name="connsiteX70" fmla="*/ 5261608 w 10575647"/>
                <a:gd name="connsiteY70" fmla="*/ 828654 h 1701544"/>
                <a:gd name="connsiteX71" fmla="*/ 5327264 w 10575647"/>
                <a:gd name="connsiteY71" fmla="*/ 1583314 h 1701544"/>
                <a:gd name="connsiteX72" fmla="*/ 5446113 w 10575647"/>
                <a:gd name="connsiteY72" fmla="*/ 1256819 h 1701544"/>
                <a:gd name="connsiteX73" fmla="*/ 5446113 w 10575647"/>
                <a:gd name="connsiteY73" fmla="*/ 380187 h 1701544"/>
                <a:gd name="connsiteX74" fmla="*/ 5265239 w 10575647"/>
                <a:gd name="connsiteY74" fmla="*/ 380187 h 1701544"/>
                <a:gd name="connsiteX75" fmla="*/ 5265239 w 10575647"/>
                <a:gd name="connsiteY75" fmla="*/ 488537 h 1701544"/>
                <a:gd name="connsiteX76" fmla="*/ 4982875 w 10575647"/>
                <a:gd name="connsiteY76" fmla="*/ 359885 h 1701544"/>
                <a:gd name="connsiteX77" fmla="*/ 4699394 w 10575647"/>
                <a:gd name="connsiteY77" fmla="*/ 465190 h 1701544"/>
                <a:gd name="connsiteX78" fmla="*/ 4558400 w 10575647"/>
                <a:gd name="connsiteY78" fmla="*/ 828654 h 1701544"/>
                <a:gd name="connsiteX79" fmla="*/ 4971816 w 10575647"/>
                <a:gd name="connsiteY79" fmla="*/ 1291865 h 1701544"/>
                <a:gd name="connsiteX80" fmla="*/ 5265239 w 10575647"/>
                <a:gd name="connsiteY80" fmla="*/ 1150553 h 1701544"/>
                <a:gd name="connsiteX81" fmla="*/ 5265239 w 10575647"/>
                <a:gd name="connsiteY81" fmla="*/ 1267931 h 1701544"/>
                <a:gd name="connsiteX82" fmla="*/ 5206095 w 10575647"/>
                <a:gd name="connsiteY82" fmla="*/ 1457116 h 1701544"/>
                <a:gd name="connsiteX83" fmla="*/ 4999546 w 10575647"/>
                <a:gd name="connsiteY83" fmla="*/ 1533625 h 1701544"/>
                <a:gd name="connsiteX84" fmla="*/ 4811695 w 10575647"/>
                <a:gd name="connsiteY84" fmla="*/ 1487409 h 1701544"/>
                <a:gd name="connsiteX85" fmla="*/ 4733588 w 10575647"/>
                <a:gd name="connsiteY85" fmla="*/ 1416300 h 1701544"/>
                <a:gd name="connsiteX86" fmla="*/ 4719215 w 10575647"/>
                <a:gd name="connsiteY86" fmla="*/ 1401339 h 1701544"/>
                <a:gd name="connsiteX87" fmla="*/ 4595103 w 10575647"/>
                <a:gd name="connsiteY87" fmla="*/ 1525451 h 1701544"/>
                <a:gd name="connsiteX88" fmla="*/ 4607819 w 10575647"/>
                <a:gd name="connsiteY88" fmla="*/ 1539824 h 1701544"/>
                <a:gd name="connsiteX89" fmla="*/ 4999546 w 10575647"/>
                <a:gd name="connsiteY89" fmla="*/ 1701544 h 1701544"/>
                <a:gd name="connsiteX90" fmla="*/ 5327264 w 10575647"/>
                <a:gd name="connsiteY90" fmla="*/ 1583314 h 1701544"/>
                <a:gd name="connsiteX91" fmla="*/ 6317923 w 10575647"/>
                <a:gd name="connsiteY91" fmla="*/ 747497 h 1701544"/>
                <a:gd name="connsiteX92" fmla="*/ 5805203 w 10575647"/>
                <a:gd name="connsiteY92" fmla="*/ 747497 h 1701544"/>
                <a:gd name="connsiteX93" fmla="*/ 5845913 w 10575647"/>
                <a:gd name="connsiteY93" fmla="*/ 635144 h 1701544"/>
                <a:gd name="connsiteX94" fmla="*/ 6057989 w 10575647"/>
                <a:gd name="connsiteY94" fmla="*/ 525990 h 1701544"/>
                <a:gd name="connsiteX95" fmla="*/ 6275730 w 10575647"/>
                <a:gd name="connsiteY95" fmla="*/ 633487 h 1701544"/>
                <a:gd name="connsiteX96" fmla="*/ 6317923 w 10575647"/>
                <a:gd name="connsiteY96" fmla="*/ 747497 h 1701544"/>
                <a:gd name="connsiteX97" fmla="*/ 6508188 w 10575647"/>
                <a:gd name="connsiteY97" fmla="*/ 872890 h 1701544"/>
                <a:gd name="connsiteX98" fmla="*/ 6510094 w 10575647"/>
                <a:gd name="connsiteY98" fmla="*/ 815779 h 1701544"/>
                <a:gd name="connsiteX99" fmla="*/ 6057989 w 10575647"/>
                <a:gd name="connsiteY99" fmla="*/ 359885 h 1701544"/>
                <a:gd name="connsiteX100" fmla="*/ 5609538 w 10575647"/>
                <a:gd name="connsiteY100" fmla="*/ 828654 h 1701544"/>
                <a:gd name="connsiteX101" fmla="*/ 6063495 w 10575647"/>
                <a:gd name="connsiteY101" fmla="*/ 1291865 h 1701544"/>
                <a:gd name="connsiteX102" fmla="*/ 6460066 w 10575647"/>
                <a:gd name="connsiteY102" fmla="*/ 1051710 h 1701544"/>
                <a:gd name="connsiteX103" fmla="*/ 6469966 w 10575647"/>
                <a:gd name="connsiteY103" fmla="*/ 1031572 h 1701544"/>
                <a:gd name="connsiteX104" fmla="*/ 6308923 w 10575647"/>
                <a:gd name="connsiteY104" fmla="*/ 971517 h 1701544"/>
                <a:gd name="connsiteX105" fmla="*/ 6300559 w 10575647"/>
                <a:gd name="connsiteY105" fmla="*/ 986689 h 1701544"/>
                <a:gd name="connsiteX106" fmla="*/ 6063495 w 10575647"/>
                <a:gd name="connsiteY106" fmla="*/ 1122077 h 1701544"/>
                <a:gd name="connsiteX107" fmla="*/ 5850784 w 10575647"/>
                <a:gd name="connsiteY107" fmla="*/ 1013832 h 1701544"/>
                <a:gd name="connsiteX108" fmla="*/ 5802132 w 10575647"/>
                <a:gd name="connsiteY108" fmla="*/ 891377 h 1701544"/>
                <a:gd name="connsiteX109" fmla="*/ 6506547 w 10575647"/>
                <a:gd name="connsiteY109" fmla="*/ 891377 h 1701544"/>
                <a:gd name="connsiteX110" fmla="*/ 6508188 w 10575647"/>
                <a:gd name="connsiteY110" fmla="*/ 872890 h 1701544"/>
                <a:gd name="connsiteX111" fmla="*/ 7205139 w 10575647"/>
                <a:gd name="connsiteY111" fmla="*/ 1271563 h 1701544"/>
                <a:gd name="connsiteX112" fmla="*/ 7385928 w 10575647"/>
                <a:gd name="connsiteY112" fmla="*/ 1271563 h 1701544"/>
                <a:gd name="connsiteX113" fmla="*/ 7385928 w 10575647"/>
                <a:gd name="connsiteY113" fmla="*/ 677294 h 1701544"/>
                <a:gd name="connsiteX114" fmla="*/ 7307154 w 10575647"/>
                <a:gd name="connsiteY114" fmla="*/ 435163 h 1701544"/>
                <a:gd name="connsiteX115" fmla="*/ 7096189 w 10575647"/>
                <a:gd name="connsiteY115" fmla="*/ 359885 h 1701544"/>
                <a:gd name="connsiteX116" fmla="*/ 6863625 w 10575647"/>
                <a:gd name="connsiteY116" fmla="*/ 463694 h 1701544"/>
                <a:gd name="connsiteX117" fmla="*/ 6863625 w 10575647"/>
                <a:gd name="connsiteY117" fmla="*/ 380187 h 1701544"/>
                <a:gd name="connsiteX118" fmla="*/ 6682836 w 10575647"/>
                <a:gd name="connsiteY118" fmla="*/ 380187 h 1701544"/>
                <a:gd name="connsiteX119" fmla="*/ 6682836 w 10575647"/>
                <a:gd name="connsiteY119" fmla="*/ 1271563 h 1701544"/>
                <a:gd name="connsiteX120" fmla="*/ 6863625 w 10575647"/>
                <a:gd name="connsiteY120" fmla="*/ 1271563 h 1701544"/>
                <a:gd name="connsiteX121" fmla="*/ 6863625 w 10575647"/>
                <a:gd name="connsiteY121" fmla="*/ 732701 h 1701544"/>
                <a:gd name="connsiteX122" fmla="*/ 6913971 w 10575647"/>
                <a:gd name="connsiteY122" fmla="*/ 591066 h 1701544"/>
                <a:gd name="connsiteX123" fmla="*/ 7061143 w 10575647"/>
                <a:gd name="connsiteY123" fmla="*/ 525990 h 1701544"/>
                <a:gd name="connsiteX124" fmla="*/ 7177769 w 10575647"/>
                <a:gd name="connsiteY124" fmla="*/ 575089 h 1701544"/>
                <a:gd name="connsiteX125" fmla="*/ 7205139 w 10575647"/>
                <a:gd name="connsiteY125" fmla="*/ 708709 h 1701544"/>
                <a:gd name="connsiteX126" fmla="*/ 7205139 w 10575647"/>
                <a:gd name="connsiteY126" fmla="*/ 1271563 h 1701544"/>
                <a:gd name="connsiteX127" fmla="*/ 7822309 w 10575647"/>
                <a:gd name="connsiteY127" fmla="*/ 162418 h 1701544"/>
                <a:gd name="connsiteX128" fmla="*/ 7713412 w 10575647"/>
                <a:gd name="connsiteY128" fmla="*/ 49847 h 1701544"/>
                <a:gd name="connsiteX129" fmla="*/ 7602662 w 10575647"/>
                <a:gd name="connsiteY129" fmla="*/ 160549 h 1701544"/>
                <a:gd name="connsiteX130" fmla="*/ 7711560 w 10575647"/>
                <a:gd name="connsiteY130" fmla="*/ 271303 h 1701544"/>
                <a:gd name="connsiteX131" fmla="*/ 7822309 w 10575647"/>
                <a:gd name="connsiteY131" fmla="*/ 162418 h 1701544"/>
                <a:gd name="connsiteX132" fmla="*/ 8704760 w 10575647"/>
                <a:gd name="connsiteY132" fmla="*/ 826838 h 1701544"/>
                <a:gd name="connsiteX133" fmla="*/ 8437150 w 10575647"/>
                <a:gd name="connsiteY133" fmla="*/ 1122077 h 1701544"/>
                <a:gd name="connsiteX134" fmla="*/ 8167740 w 10575647"/>
                <a:gd name="connsiteY134" fmla="*/ 826838 h 1701544"/>
                <a:gd name="connsiteX135" fmla="*/ 8439003 w 10575647"/>
                <a:gd name="connsiteY135" fmla="*/ 529677 h 1701544"/>
                <a:gd name="connsiteX136" fmla="*/ 8704760 w 10575647"/>
                <a:gd name="connsiteY136" fmla="*/ 826838 h 1701544"/>
                <a:gd name="connsiteX137" fmla="*/ 8889307 w 10575647"/>
                <a:gd name="connsiteY137" fmla="*/ 828654 h 1701544"/>
                <a:gd name="connsiteX138" fmla="*/ 8439003 w 10575647"/>
                <a:gd name="connsiteY138" fmla="*/ 359885 h 1701544"/>
                <a:gd name="connsiteX139" fmla="*/ 7983193 w 10575647"/>
                <a:gd name="connsiteY139" fmla="*/ 824916 h 1701544"/>
                <a:gd name="connsiteX140" fmla="*/ 8433444 w 10575647"/>
                <a:gd name="connsiteY140" fmla="*/ 1291865 h 1701544"/>
                <a:gd name="connsiteX141" fmla="*/ 8889307 w 10575647"/>
                <a:gd name="connsiteY141" fmla="*/ 828654 h 1701544"/>
                <a:gd name="connsiteX142" fmla="*/ 9658150 w 10575647"/>
                <a:gd name="connsiteY142" fmla="*/ 1197940 h 1701544"/>
                <a:gd name="connsiteX143" fmla="*/ 9749630 w 10575647"/>
                <a:gd name="connsiteY143" fmla="*/ 944968 h 1701544"/>
                <a:gd name="connsiteX144" fmla="*/ 9749630 w 10575647"/>
                <a:gd name="connsiteY144" fmla="*/ 380187 h 1701544"/>
                <a:gd name="connsiteX145" fmla="*/ 9566988 w 10575647"/>
                <a:gd name="connsiteY145" fmla="*/ 380187 h 1701544"/>
                <a:gd name="connsiteX146" fmla="*/ 9566988 w 10575647"/>
                <a:gd name="connsiteY146" fmla="*/ 944968 h 1701544"/>
                <a:gd name="connsiteX147" fmla="*/ 9535012 w 10575647"/>
                <a:gd name="connsiteY147" fmla="*/ 1068222 h 1701544"/>
                <a:gd name="connsiteX148" fmla="*/ 9399010 w 10575647"/>
                <a:gd name="connsiteY148" fmla="*/ 1125815 h 1701544"/>
                <a:gd name="connsiteX149" fmla="*/ 9229233 w 10575647"/>
                <a:gd name="connsiteY149" fmla="*/ 941225 h 1701544"/>
                <a:gd name="connsiteX150" fmla="*/ 9229233 w 10575647"/>
                <a:gd name="connsiteY150" fmla="*/ 380187 h 1701544"/>
                <a:gd name="connsiteX151" fmla="*/ 9048391 w 10575647"/>
                <a:gd name="connsiteY151" fmla="*/ 380187 h 1701544"/>
                <a:gd name="connsiteX152" fmla="*/ 9048391 w 10575647"/>
                <a:gd name="connsiteY152" fmla="*/ 944968 h 1701544"/>
                <a:gd name="connsiteX153" fmla="*/ 9139659 w 10575647"/>
                <a:gd name="connsiteY153" fmla="*/ 1195965 h 1701544"/>
                <a:gd name="connsiteX154" fmla="*/ 9399010 w 10575647"/>
                <a:gd name="connsiteY154" fmla="*/ 1291865 h 1701544"/>
                <a:gd name="connsiteX155" fmla="*/ 9658150 w 10575647"/>
                <a:gd name="connsiteY155" fmla="*/ 1197945 h 1701544"/>
                <a:gd name="connsiteX156" fmla="*/ 10385594 w 10575647"/>
                <a:gd name="connsiteY156" fmla="*/ 653307 h 1701544"/>
                <a:gd name="connsiteX157" fmla="*/ 10567335 w 10575647"/>
                <a:gd name="connsiteY157" fmla="*/ 653307 h 1701544"/>
                <a:gd name="connsiteX158" fmla="*/ 10566383 w 10575647"/>
                <a:gd name="connsiteY158" fmla="*/ 632041 h 1701544"/>
                <a:gd name="connsiteX159" fmla="*/ 10249009 w 10575647"/>
                <a:gd name="connsiteY159" fmla="*/ 359885 h 1701544"/>
                <a:gd name="connsiteX160" fmla="*/ 9929730 w 10575647"/>
                <a:gd name="connsiteY160" fmla="*/ 627446 h 1701544"/>
                <a:gd name="connsiteX161" fmla="*/ 10212587 w 10575647"/>
                <a:gd name="connsiteY161" fmla="*/ 903611 h 1701544"/>
                <a:gd name="connsiteX162" fmla="*/ 10391099 w 10575647"/>
                <a:gd name="connsiteY162" fmla="*/ 1031625 h 1701544"/>
                <a:gd name="connsiteX163" fmla="*/ 10252715 w 10575647"/>
                <a:gd name="connsiteY163" fmla="*/ 1136874 h 1701544"/>
                <a:gd name="connsiteX164" fmla="*/ 10093843 w 10575647"/>
                <a:gd name="connsiteY164" fmla="*/ 1007579 h 1701544"/>
                <a:gd name="connsiteX165" fmla="*/ 10092096 w 10575647"/>
                <a:gd name="connsiteY165" fmla="*/ 989257 h 1701544"/>
                <a:gd name="connsiteX166" fmla="*/ 9913054 w 10575647"/>
                <a:gd name="connsiteY166" fmla="*/ 989257 h 1701544"/>
                <a:gd name="connsiteX167" fmla="*/ 9915066 w 10575647"/>
                <a:gd name="connsiteY167" fmla="*/ 1011216 h 1701544"/>
                <a:gd name="connsiteX168" fmla="*/ 10252715 w 10575647"/>
                <a:gd name="connsiteY168" fmla="*/ 1291865 h 1701544"/>
                <a:gd name="connsiteX169" fmla="*/ 10575647 w 10575647"/>
                <a:gd name="connsiteY169" fmla="*/ 1024303 h 1701544"/>
                <a:gd name="connsiteX170" fmla="*/ 10501426 w 10575647"/>
                <a:gd name="connsiteY170" fmla="*/ 843879 h 1701544"/>
                <a:gd name="connsiteX171" fmla="*/ 10285750 w 10575647"/>
                <a:gd name="connsiteY171" fmla="*/ 740769 h 1701544"/>
                <a:gd name="connsiteX172" fmla="*/ 10110519 w 10575647"/>
                <a:gd name="connsiteY172" fmla="*/ 616440 h 1701544"/>
                <a:gd name="connsiteX173" fmla="*/ 10243398 w 10575647"/>
                <a:gd name="connsiteY173" fmla="*/ 514877 h 1701544"/>
                <a:gd name="connsiteX174" fmla="*/ 10385594 w 10575647"/>
                <a:gd name="connsiteY174" fmla="*/ 623762 h 1701544"/>
                <a:gd name="connsiteX175" fmla="*/ 10385594 w 10575647"/>
                <a:gd name="connsiteY175" fmla="*/ 653307 h 170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10575647" h="1701544">
                  <a:moveTo>
                    <a:pt x="7802033" y="380187"/>
                  </a:moveTo>
                  <a:lnTo>
                    <a:pt x="7621138" y="380187"/>
                  </a:lnTo>
                  <a:lnTo>
                    <a:pt x="7621138" y="1271563"/>
                  </a:lnTo>
                  <a:lnTo>
                    <a:pt x="7802033" y="1271563"/>
                  </a:lnTo>
                  <a:lnTo>
                    <a:pt x="7802033" y="380187"/>
                  </a:lnTo>
                  <a:close/>
                  <a:moveTo>
                    <a:pt x="706522" y="1271563"/>
                  </a:moveTo>
                  <a:lnTo>
                    <a:pt x="902065" y="1271563"/>
                  </a:lnTo>
                  <a:lnTo>
                    <a:pt x="902065" y="0"/>
                  </a:lnTo>
                  <a:lnTo>
                    <a:pt x="706522" y="0"/>
                  </a:lnTo>
                  <a:lnTo>
                    <a:pt x="706522" y="553717"/>
                  </a:lnTo>
                  <a:lnTo>
                    <a:pt x="195543" y="553717"/>
                  </a:lnTo>
                  <a:lnTo>
                    <a:pt x="195543" y="0"/>
                  </a:lnTo>
                  <a:lnTo>
                    <a:pt x="0" y="0"/>
                  </a:lnTo>
                  <a:lnTo>
                    <a:pt x="0" y="1271563"/>
                  </a:lnTo>
                  <a:lnTo>
                    <a:pt x="195543" y="1271563"/>
                  </a:lnTo>
                  <a:lnTo>
                    <a:pt x="195543" y="727142"/>
                  </a:lnTo>
                  <a:lnTo>
                    <a:pt x="706522" y="727142"/>
                  </a:lnTo>
                  <a:lnTo>
                    <a:pt x="706522" y="1271563"/>
                  </a:lnTo>
                  <a:close/>
                  <a:moveTo>
                    <a:pt x="1306185" y="1690649"/>
                  </a:moveTo>
                  <a:lnTo>
                    <a:pt x="1654904" y="1036061"/>
                  </a:lnTo>
                  <a:lnTo>
                    <a:pt x="1306185" y="381469"/>
                  </a:lnTo>
                  <a:lnTo>
                    <a:pt x="1090234" y="381469"/>
                  </a:lnTo>
                  <a:lnTo>
                    <a:pt x="1438900" y="1036061"/>
                  </a:lnTo>
                  <a:lnTo>
                    <a:pt x="1090234" y="1690649"/>
                  </a:lnTo>
                  <a:lnTo>
                    <a:pt x="1306185" y="1690649"/>
                  </a:lnTo>
                  <a:close/>
                  <a:moveTo>
                    <a:pt x="2581808" y="828654"/>
                  </a:moveTo>
                  <a:cubicBezTo>
                    <a:pt x="2581808" y="1002989"/>
                    <a:pt x="2470789" y="1129505"/>
                    <a:pt x="2317883" y="1129505"/>
                  </a:cubicBezTo>
                  <a:cubicBezTo>
                    <a:pt x="2168980" y="1129505"/>
                    <a:pt x="2065011" y="1007262"/>
                    <a:pt x="2065011" y="832338"/>
                  </a:cubicBezTo>
                  <a:cubicBezTo>
                    <a:pt x="2065011" y="649088"/>
                    <a:pt x="2170314" y="525990"/>
                    <a:pt x="2327068" y="525990"/>
                  </a:cubicBezTo>
                  <a:cubicBezTo>
                    <a:pt x="2479444" y="525990"/>
                    <a:pt x="2581808" y="647590"/>
                    <a:pt x="2581808" y="828654"/>
                  </a:cubicBezTo>
                  <a:moveTo>
                    <a:pt x="2581808" y="1271563"/>
                  </a:moveTo>
                  <a:lnTo>
                    <a:pt x="2762608" y="1271563"/>
                  </a:lnTo>
                  <a:lnTo>
                    <a:pt x="2762608" y="0"/>
                  </a:lnTo>
                  <a:lnTo>
                    <a:pt x="2581808" y="0"/>
                  </a:lnTo>
                  <a:lnTo>
                    <a:pt x="2581808" y="476356"/>
                  </a:lnTo>
                  <a:cubicBezTo>
                    <a:pt x="2503431" y="397017"/>
                    <a:pt x="2412449" y="359885"/>
                    <a:pt x="2297581" y="359885"/>
                  </a:cubicBezTo>
                  <a:cubicBezTo>
                    <a:pt x="2057690" y="359885"/>
                    <a:pt x="1876785" y="562214"/>
                    <a:pt x="1876785" y="830470"/>
                  </a:cubicBezTo>
                  <a:cubicBezTo>
                    <a:pt x="1876785" y="1102145"/>
                    <a:pt x="2049839" y="1291865"/>
                    <a:pt x="2297581" y="1291865"/>
                  </a:cubicBezTo>
                  <a:cubicBezTo>
                    <a:pt x="2414371" y="1291865"/>
                    <a:pt x="2503061" y="1251959"/>
                    <a:pt x="2581808" y="1163217"/>
                  </a:cubicBezTo>
                  <a:lnTo>
                    <a:pt x="2581808" y="1271563"/>
                  </a:lnTo>
                  <a:close/>
                  <a:moveTo>
                    <a:pt x="3437445" y="542393"/>
                  </a:moveTo>
                  <a:lnTo>
                    <a:pt x="3460310" y="545331"/>
                  </a:lnTo>
                  <a:lnTo>
                    <a:pt x="3460310" y="359885"/>
                  </a:lnTo>
                  <a:lnTo>
                    <a:pt x="3406830" y="359885"/>
                  </a:lnTo>
                  <a:cubicBezTo>
                    <a:pt x="3341169" y="359885"/>
                    <a:pt x="3277430" y="380294"/>
                    <a:pt x="3231965" y="415877"/>
                  </a:cubicBezTo>
                  <a:cubicBezTo>
                    <a:pt x="3213690" y="430035"/>
                    <a:pt x="3199693" y="444353"/>
                    <a:pt x="3187194" y="462091"/>
                  </a:cubicBezTo>
                  <a:lnTo>
                    <a:pt x="3187194" y="380187"/>
                  </a:lnTo>
                  <a:lnTo>
                    <a:pt x="3006395" y="380187"/>
                  </a:lnTo>
                  <a:lnTo>
                    <a:pt x="3006395" y="1271563"/>
                  </a:lnTo>
                  <a:lnTo>
                    <a:pt x="3187194" y="1271563"/>
                  </a:lnTo>
                  <a:lnTo>
                    <a:pt x="3187194" y="819411"/>
                  </a:lnTo>
                  <a:cubicBezTo>
                    <a:pt x="3187194" y="727783"/>
                    <a:pt x="3198894" y="679915"/>
                    <a:pt x="3233517" y="629638"/>
                  </a:cubicBezTo>
                  <a:cubicBezTo>
                    <a:pt x="3272300" y="572310"/>
                    <a:pt x="3331926" y="540683"/>
                    <a:pt x="3401277" y="540683"/>
                  </a:cubicBezTo>
                  <a:cubicBezTo>
                    <a:pt x="3410356" y="540683"/>
                    <a:pt x="3423983" y="540683"/>
                    <a:pt x="3437445" y="542393"/>
                  </a:cubicBezTo>
                  <a:moveTo>
                    <a:pt x="4250980" y="826838"/>
                  </a:moveTo>
                  <a:cubicBezTo>
                    <a:pt x="4250980" y="1000692"/>
                    <a:pt x="4140918" y="1122077"/>
                    <a:pt x="3983364" y="1122077"/>
                  </a:cubicBezTo>
                  <a:cubicBezTo>
                    <a:pt x="3822174" y="1122077"/>
                    <a:pt x="3713875" y="1003466"/>
                    <a:pt x="3713875" y="826838"/>
                  </a:cubicBezTo>
                  <a:cubicBezTo>
                    <a:pt x="3713875" y="649088"/>
                    <a:pt x="3822920" y="529677"/>
                    <a:pt x="3985180" y="529677"/>
                  </a:cubicBezTo>
                  <a:cubicBezTo>
                    <a:pt x="4144179" y="529677"/>
                    <a:pt x="4250980" y="649088"/>
                    <a:pt x="4250980" y="826838"/>
                  </a:cubicBezTo>
                  <a:moveTo>
                    <a:pt x="4435464" y="828654"/>
                  </a:moveTo>
                  <a:cubicBezTo>
                    <a:pt x="4435464" y="557084"/>
                    <a:pt x="4246120" y="359885"/>
                    <a:pt x="3985180" y="359885"/>
                  </a:cubicBezTo>
                  <a:cubicBezTo>
                    <a:pt x="3716818" y="359885"/>
                    <a:pt x="3529338" y="551155"/>
                    <a:pt x="3529338" y="824916"/>
                  </a:cubicBezTo>
                  <a:cubicBezTo>
                    <a:pt x="3529338" y="1099848"/>
                    <a:pt x="3714521" y="1291865"/>
                    <a:pt x="3979622" y="1291865"/>
                  </a:cubicBezTo>
                  <a:cubicBezTo>
                    <a:pt x="4235272" y="1291865"/>
                    <a:pt x="4435464" y="1088418"/>
                    <a:pt x="4435464" y="828654"/>
                  </a:cubicBezTo>
                  <a:moveTo>
                    <a:pt x="5261608" y="828654"/>
                  </a:moveTo>
                  <a:cubicBezTo>
                    <a:pt x="5261608" y="909382"/>
                    <a:pt x="5239596" y="986748"/>
                    <a:pt x="5205508" y="1025854"/>
                  </a:cubicBezTo>
                  <a:cubicBezTo>
                    <a:pt x="5153150" y="1087026"/>
                    <a:pt x="5080062" y="1122077"/>
                    <a:pt x="5005052" y="1122077"/>
                  </a:cubicBezTo>
                  <a:cubicBezTo>
                    <a:pt x="4855296" y="1122077"/>
                    <a:pt x="4746675" y="996361"/>
                    <a:pt x="4746675" y="823153"/>
                  </a:cubicBezTo>
                  <a:cubicBezTo>
                    <a:pt x="4746675" y="650316"/>
                    <a:pt x="4854386" y="529677"/>
                    <a:pt x="5008683" y="529677"/>
                  </a:cubicBezTo>
                  <a:cubicBezTo>
                    <a:pt x="5078193" y="529677"/>
                    <a:pt x="5151652" y="563177"/>
                    <a:pt x="5200378" y="617081"/>
                  </a:cubicBezTo>
                  <a:cubicBezTo>
                    <a:pt x="5246112" y="667892"/>
                    <a:pt x="5261608" y="721266"/>
                    <a:pt x="5261608" y="828654"/>
                  </a:cubicBezTo>
                  <a:moveTo>
                    <a:pt x="5327264" y="1583314"/>
                  </a:moveTo>
                  <a:cubicBezTo>
                    <a:pt x="5409426" y="1504990"/>
                    <a:pt x="5446113" y="1404277"/>
                    <a:pt x="5446113" y="1256819"/>
                  </a:cubicBezTo>
                  <a:lnTo>
                    <a:pt x="5446113" y="380187"/>
                  </a:lnTo>
                  <a:lnTo>
                    <a:pt x="5265239" y="380187"/>
                  </a:lnTo>
                  <a:lnTo>
                    <a:pt x="5265239" y="488537"/>
                  </a:lnTo>
                  <a:cubicBezTo>
                    <a:pt x="5186005" y="398673"/>
                    <a:pt x="5100153" y="359885"/>
                    <a:pt x="4982875" y="359885"/>
                  </a:cubicBezTo>
                  <a:cubicBezTo>
                    <a:pt x="4866567" y="359885"/>
                    <a:pt x="4771201" y="395361"/>
                    <a:pt x="4699394" y="465190"/>
                  </a:cubicBezTo>
                  <a:cubicBezTo>
                    <a:pt x="4611080" y="549710"/>
                    <a:pt x="4558400" y="685574"/>
                    <a:pt x="4558400" y="828654"/>
                  </a:cubicBezTo>
                  <a:cubicBezTo>
                    <a:pt x="4558400" y="1092743"/>
                    <a:pt x="4736097" y="1291865"/>
                    <a:pt x="4971816" y="1291865"/>
                  </a:cubicBezTo>
                  <a:cubicBezTo>
                    <a:pt x="5092032" y="1291865"/>
                    <a:pt x="5185952" y="1246830"/>
                    <a:pt x="5265239" y="1150553"/>
                  </a:cubicBezTo>
                  <a:lnTo>
                    <a:pt x="5265239" y="1267931"/>
                  </a:lnTo>
                  <a:cubicBezTo>
                    <a:pt x="5265239" y="1350745"/>
                    <a:pt x="5245313" y="1414431"/>
                    <a:pt x="5206095" y="1457116"/>
                  </a:cubicBezTo>
                  <a:cubicBezTo>
                    <a:pt x="5162288" y="1504291"/>
                    <a:pt x="5083159" y="1533625"/>
                    <a:pt x="4999546" y="1533625"/>
                  </a:cubicBezTo>
                  <a:cubicBezTo>
                    <a:pt x="4932122" y="1533625"/>
                    <a:pt x="4856471" y="1514979"/>
                    <a:pt x="4811695" y="1487409"/>
                  </a:cubicBezTo>
                  <a:cubicBezTo>
                    <a:pt x="4788777" y="1471596"/>
                    <a:pt x="4771254" y="1455624"/>
                    <a:pt x="4733588" y="1416300"/>
                  </a:cubicBezTo>
                  <a:lnTo>
                    <a:pt x="4719215" y="1401339"/>
                  </a:lnTo>
                  <a:lnTo>
                    <a:pt x="4595103" y="1525451"/>
                  </a:lnTo>
                  <a:lnTo>
                    <a:pt x="4607819" y="1539824"/>
                  </a:lnTo>
                  <a:cubicBezTo>
                    <a:pt x="4703719" y="1647106"/>
                    <a:pt x="4835528" y="1701544"/>
                    <a:pt x="4999546" y="1701544"/>
                  </a:cubicBezTo>
                  <a:cubicBezTo>
                    <a:pt x="5134664" y="1701544"/>
                    <a:pt x="5247981" y="1660675"/>
                    <a:pt x="5327264" y="1583314"/>
                  </a:cubicBezTo>
                  <a:moveTo>
                    <a:pt x="6317923" y="747497"/>
                  </a:moveTo>
                  <a:lnTo>
                    <a:pt x="5805203" y="747497"/>
                  </a:lnTo>
                  <a:cubicBezTo>
                    <a:pt x="5814785" y="696051"/>
                    <a:pt x="5825267" y="667627"/>
                    <a:pt x="5845913" y="635144"/>
                  </a:cubicBezTo>
                  <a:cubicBezTo>
                    <a:pt x="5892024" y="566756"/>
                    <a:pt x="5971327" y="525990"/>
                    <a:pt x="6057989" y="525990"/>
                  </a:cubicBezTo>
                  <a:cubicBezTo>
                    <a:pt x="6144228" y="525990"/>
                    <a:pt x="6225702" y="566274"/>
                    <a:pt x="6275730" y="633487"/>
                  </a:cubicBezTo>
                  <a:cubicBezTo>
                    <a:pt x="6300453" y="669067"/>
                    <a:pt x="6312047" y="699841"/>
                    <a:pt x="6317923" y="747497"/>
                  </a:cubicBezTo>
                  <a:moveTo>
                    <a:pt x="6508188" y="872890"/>
                  </a:moveTo>
                  <a:cubicBezTo>
                    <a:pt x="6510094" y="851683"/>
                    <a:pt x="6510094" y="827426"/>
                    <a:pt x="6510094" y="815779"/>
                  </a:cubicBezTo>
                  <a:cubicBezTo>
                    <a:pt x="6510094" y="555909"/>
                    <a:pt x="6315700" y="359885"/>
                    <a:pt x="6057989" y="359885"/>
                  </a:cubicBezTo>
                  <a:cubicBezTo>
                    <a:pt x="5798109" y="359885"/>
                    <a:pt x="5609538" y="557084"/>
                    <a:pt x="5609538" y="828654"/>
                  </a:cubicBezTo>
                  <a:cubicBezTo>
                    <a:pt x="5609538" y="1097074"/>
                    <a:pt x="5800491" y="1291865"/>
                    <a:pt x="6063495" y="1291865"/>
                  </a:cubicBezTo>
                  <a:cubicBezTo>
                    <a:pt x="6235020" y="1291865"/>
                    <a:pt x="6386956" y="1199867"/>
                    <a:pt x="6460066" y="1051710"/>
                  </a:cubicBezTo>
                  <a:lnTo>
                    <a:pt x="6469966" y="1031572"/>
                  </a:lnTo>
                  <a:lnTo>
                    <a:pt x="6308923" y="971517"/>
                  </a:lnTo>
                  <a:lnTo>
                    <a:pt x="6300559" y="986689"/>
                  </a:lnTo>
                  <a:cubicBezTo>
                    <a:pt x="6254237" y="1068968"/>
                    <a:pt x="6161169" y="1122077"/>
                    <a:pt x="6063495" y="1122077"/>
                  </a:cubicBezTo>
                  <a:cubicBezTo>
                    <a:pt x="5977415" y="1122077"/>
                    <a:pt x="5901923" y="1083664"/>
                    <a:pt x="5850784" y="1013832"/>
                  </a:cubicBezTo>
                  <a:cubicBezTo>
                    <a:pt x="5821932" y="975900"/>
                    <a:pt x="5809438" y="945021"/>
                    <a:pt x="5802132" y="891377"/>
                  </a:cubicBezTo>
                  <a:lnTo>
                    <a:pt x="6506547" y="891377"/>
                  </a:lnTo>
                  <a:lnTo>
                    <a:pt x="6508188" y="872890"/>
                  </a:lnTo>
                  <a:close/>
                  <a:moveTo>
                    <a:pt x="7205139" y="1271563"/>
                  </a:moveTo>
                  <a:lnTo>
                    <a:pt x="7385928" y="1271563"/>
                  </a:lnTo>
                  <a:lnTo>
                    <a:pt x="7385928" y="677294"/>
                  </a:lnTo>
                  <a:cubicBezTo>
                    <a:pt x="7385928" y="554734"/>
                    <a:pt x="7365387" y="491422"/>
                    <a:pt x="7307154" y="435163"/>
                  </a:cubicBezTo>
                  <a:cubicBezTo>
                    <a:pt x="7252520" y="386599"/>
                    <a:pt x="7177557" y="359885"/>
                    <a:pt x="7096189" y="359885"/>
                  </a:cubicBezTo>
                  <a:cubicBezTo>
                    <a:pt x="7000739" y="359885"/>
                    <a:pt x="6929853" y="391193"/>
                    <a:pt x="6863625" y="463694"/>
                  </a:cubicBezTo>
                  <a:lnTo>
                    <a:pt x="6863625" y="380187"/>
                  </a:lnTo>
                  <a:lnTo>
                    <a:pt x="6682836" y="380187"/>
                  </a:lnTo>
                  <a:lnTo>
                    <a:pt x="6682836" y="1271563"/>
                  </a:lnTo>
                  <a:lnTo>
                    <a:pt x="6863625" y="1271563"/>
                  </a:lnTo>
                  <a:lnTo>
                    <a:pt x="6863625" y="732701"/>
                  </a:lnTo>
                  <a:cubicBezTo>
                    <a:pt x="6863625" y="667839"/>
                    <a:pt x="6876278" y="632147"/>
                    <a:pt x="6913971" y="591066"/>
                  </a:cubicBezTo>
                  <a:cubicBezTo>
                    <a:pt x="6951505" y="548481"/>
                    <a:pt x="7002433" y="525990"/>
                    <a:pt x="7061143" y="525990"/>
                  </a:cubicBezTo>
                  <a:cubicBezTo>
                    <a:pt x="7110748" y="525990"/>
                    <a:pt x="7155428" y="544744"/>
                    <a:pt x="7177769" y="575089"/>
                  </a:cubicBezTo>
                  <a:cubicBezTo>
                    <a:pt x="7197410" y="601215"/>
                    <a:pt x="7205139" y="638722"/>
                    <a:pt x="7205139" y="708709"/>
                  </a:cubicBezTo>
                  <a:lnTo>
                    <a:pt x="7205139" y="1271563"/>
                  </a:lnTo>
                  <a:close/>
                  <a:moveTo>
                    <a:pt x="7822309" y="162418"/>
                  </a:moveTo>
                  <a:cubicBezTo>
                    <a:pt x="7822309" y="99268"/>
                    <a:pt x="7774452" y="49847"/>
                    <a:pt x="7713412" y="49847"/>
                  </a:cubicBezTo>
                  <a:cubicBezTo>
                    <a:pt x="7650255" y="49847"/>
                    <a:pt x="7602662" y="97451"/>
                    <a:pt x="7602662" y="160549"/>
                  </a:cubicBezTo>
                  <a:cubicBezTo>
                    <a:pt x="7602662" y="223699"/>
                    <a:pt x="7649514" y="271303"/>
                    <a:pt x="7711560" y="271303"/>
                  </a:cubicBezTo>
                  <a:cubicBezTo>
                    <a:pt x="7773711" y="271303"/>
                    <a:pt x="7822309" y="223432"/>
                    <a:pt x="7822309" y="162418"/>
                  </a:cubicBezTo>
                  <a:moveTo>
                    <a:pt x="8704760" y="826838"/>
                  </a:moveTo>
                  <a:cubicBezTo>
                    <a:pt x="8704760" y="1000692"/>
                    <a:pt x="8594751" y="1122077"/>
                    <a:pt x="8437150" y="1122077"/>
                  </a:cubicBezTo>
                  <a:cubicBezTo>
                    <a:pt x="8276002" y="1122077"/>
                    <a:pt x="8167740" y="1003466"/>
                    <a:pt x="8167740" y="826838"/>
                  </a:cubicBezTo>
                  <a:cubicBezTo>
                    <a:pt x="8167740" y="649088"/>
                    <a:pt x="8276743" y="529677"/>
                    <a:pt x="8439003" y="529677"/>
                  </a:cubicBezTo>
                  <a:cubicBezTo>
                    <a:pt x="8597980" y="529677"/>
                    <a:pt x="8704760" y="649088"/>
                    <a:pt x="8704760" y="826838"/>
                  </a:cubicBezTo>
                  <a:moveTo>
                    <a:pt x="8889307" y="828654"/>
                  </a:moveTo>
                  <a:cubicBezTo>
                    <a:pt x="8889307" y="557084"/>
                    <a:pt x="8699942" y="359885"/>
                    <a:pt x="8439003" y="359885"/>
                  </a:cubicBezTo>
                  <a:cubicBezTo>
                    <a:pt x="8170652" y="359885"/>
                    <a:pt x="7983193" y="551155"/>
                    <a:pt x="7983193" y="824916"/>
                  </a:cubicBezTo>
                  <a:cubicBezTo>
                    <a:pt x="7983193" y="1099848"/>
                    <a:pt x="8168375" y="1291865"/>
                    <a:pt x="8433444" y="1291865"/>
                  </a:cubicBezTo>
                  <a:cubicBezTo>
                    <a:pt x="8689089" y="1291865"/>
                    <a:pt x="8889307" y="1088418"/>
                    <a:pt x="8889307" y="828654"/>
                  </a:cubicBezTo>
                  <a:moveTo>
                    <a:pt x="9658150" y="1197940"/>
                  </a:moveTo>
                  <a:cubicBezTo>
                    <a:pt x="9724854" y="1137144"/>
                    <a:pt x="9749630" y="1068539"/>
                    <a:pt x="9749630" y="944968"/>
                  </a:cubicBezTo>
                  <a:lnTo>
                    <a:pt x="9749630" y="380187"/>
                  </a:lnTo>
                  <a:lnTo>
                    <a:pt x="9566988" y="380187"/>
                  </a:lnTo>
                  <a:lnTo>
                    <a:pt x="9566988" y="944968"/>
                  </a:lnTo>
                  <a:cubicBezTo>
                    <a:pt x="9566988" y="1008437"/>
                    <a:pt x="9558835" y="1039587"/>
                    <a:pt x="9535012" y="1068222"/>
                  </a:cubicBezTo>
                  <a:cubicBezTo>
                    <a:pt x="9503831" y="1104284"/>
                    <a:pt x="9453009" y="1125815"/>
                    <a:pt x="9399010" y="1125815"/>
                  </a:cubicBezTo>
                  <a:cubicBezTo>
                    <a:pt x="9299060" y="1125815"/>
                    <a:pt x="9229233" y="1049947"/>
                    <a:pt x="9229233" y="941225"/>
                  </a:cubicBezTo>
                  <a:lnTo>
                    <a:pt x="9229233" y="380187"/>
                  </a:lnTo>
                  <a:lnTo>
                    <a:pt x="9048391" y="380187"/>
                  </a:lnTo>
                  <a:lnTo>
                    <a:pt x="9048391" y="944968"/>
                  </a:lnTo>
                  <a:cubicBezTo>
                    <a:pt x="9048391" y="1054330"/>
                    <a:pt x="9078249" y="1136392"/>
                    <a:pt x="9139659" y="1195965"/>
                  </a:cubicBezTo>
                  <a:cubicBezTo>
                    <a:pt x="9204563" y="1256925"/>
                    <a:pt x="9299113" y="1291865"/>
                    <a:pt x="9399010" y="1291865"/>
                  </a:cubicBezTo>
                  <a:cubicBezTo>
                    <a:pt x="9499701" y="1291865"/>
                    <a:pt x="9591763" y="1258529"/>
                    <a:pt x="9658150" y="1197945"/>
                  </a:cubicBezTo>
                  <a:moveTo>
                    <a:pt x="10385594" y="653307"/>
                  </a:moveTo>
                  <a:lnTo>
                    <a:pt x="10567335" y="653307"/>
                  </a:lnTo>
                  <a:lnTo>
                    <a:pt x="10566383" y="632041"/>
                  </a:lnTo>
                  <a:cubicBezTo>
                    <a:pt x="10558442" y="459099"/>
                    <a:pt x="10442768" y="359885"/>
                    <a:pt x="10249009" y="359885"/>
                  </a:cubicBezTo>
                  <a:cubicBezTo>
                    <a:pt x="10058003" y="359885"/>
                    <a:pt x="9929730" y="467434"/>
                    <a:pt x="9929730" y="627446"/>
                  </a:cubicBezTo>
                  <a:cubicBezTo>
                    <a:pt x="9929730" y="765666"/>
                    <a:pt x="10016922" y="850825"/>
                    <a:pt x="10212587" y="903611"/>
                  </a:cubicBezTo>
                  <a:cubicBezTo>
                    <a:pt x="10347689" y="937858"/>
                    <a:pt x="10391099" y="968955"/>
                    <a:pt x="10391099" y="1031625"/>
                  </a:cubicBezTo>
                  <a:cubicBezTo>
                    <a:pt x="10391099" y="1095576"/>
                    <a:pt x="10336730" y="1136874"/>
                    <a:pt x="10252715" y="1136874"/>
                  </a:cubicBezTo>
                  <a:cubicBezTo>
                    <a:pt x="10155517" y="1136874"/>
                    <a:pt x="10102102" y="1093384"/>
                    <a:pt x="10093843" y="1007579"/>
                  </a:cubicBezTo>
                  <a:lnTo>
                    <a:pt x="10092096" y="989257"/>
                  </a:lnTo>
                  <a:lnTo>
                    <a:pt x="9913054" y="989257"/>
                  </a:lnTo>
                  <a:lnTo>
                    <a:pt x="9915066" y="1011216"/>
                  </a:lnTo>
                  <a:cubicBezTo>
                    <a:pt x="9930789" y="1194843"/>
                    <a:pt x="10047626" y="1291865"/>
                    <a:pt x="10252715" y="1291865"/>
                  </a:cubicBezTo>
                  <a:cubicBezTo>
                    <a:pt x="10445839" y="1291865"/>
                    <a:pt x="10575647" y="1184371"/>
                    <a:pt x="10575647" y="1024303"/>
                  </a:cubicBezTo>
                  <a:cubicBezTo>
                    <a:pt x="10575647" y="956667"/>
                    <a:pt x="10548542" y="890948"/>
                    <a:pt x="10501426" y="843879"/>
                  </a:cubicBezTo>
                  <a:cubicBezTo>
                    <a:pt x="10457485" y="799913"/>
                    <a:pt x="10397028" y="770955"/>
                    <a:pt x="10285750" y="740769"/>
                  </a:cubicBezTo>
                  <a:cubicBezTo>
                    <a:pt x="10125660" y="696474"/>
                    <a:pt x="10110519" y="671471"/>
                    <a:pt x="10110519" y="616440"/>
                  </a:cubicBezTo>
                  <a:cubicBezTo>
                    <a:pt x="10110519" y="553823"/>
                    <a:pt x="10161447" y="514877"/>
                    <a:pt x="10243398" y="514877"/>
                  </a:cubicBezTo>
                  <a:cubicBezTo>
                    <a:pt x="10329795" y="514877"/>
                    <a:pt x="10385594" y="557672"/>
                    <a:pt x="10385594" y="623762"/>
                  </a:cubicBezTo>
                  <a:lnTo>
                    <a:pt x="10385594" y="653307"/>
                  </a:ln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251FCFBF-9395-5D65-5D24-0D51F221C7D1}"/>
              </a:ext>
            </a:extLst>
          </p:cNvPr>
          <p:cNvGrpSpPr/>
          <p:nvPr userDrawn="1"/>
        </p:nvGrpSpPr>
        <p:grpSpPr>
          <a:xfrm rot="5400000">
            <a:off x="-3617983" y="3323777"/>
            <a:ext cx="6854690" cy="213756"/>
            <a:chOff x="-1" y="-286346"/>
            <a:chExt cx="5820565" cy="181508"/>
          </a:xfrm>
        </p:grpSpPr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42F8BBA9-CC40-09A1-15F4-6FF26D9B6A78}"/>
                </a:ext>
              </a:extLst>
            </p:cNvPr>
            <p:cNvGrpSpPr/>
            <p:nvPr userDrawn="1"/>
          </p:nvGrpSpPr>
          <p:grpSpPr>
            <a:xfrm rot="16200000">
              <a:off x="363007" y="-649354"/>
              <a:ext cx="181503" cy="907520"/>
              <a:chOff x="1319213" y="-1663170"/>
              <a:chExt cx="181503" cy="907520"/>
            </a:xfrm>
          </p:grpSpPr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14AD342F-1D31-D6D5-CDD8-94087BCB7599}"/>
                  </a:ext>
                </a:extLst>
              </p:cNvPr>
              <p:cNvSpPr/>
              <p:nvPr/>
            </p:nvSpPr>
            <p:spPr>
              <a:xfrm>
                <a:off x="1319213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44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E1F9648F-7311-5156-521F-F52E6C7C74A8}"/>
                  </a:ext>
                </a:extLst>
              </p:cNvPr>
              <p:cNvSpPr/>
              <p:nvPr/>
            </p:nvSpPr>
            <p:spPr>
              <a:xfrm>
                <a:off x="1319213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69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A026302E-5C28-2484-D78D-E89437EB64D2}"/>
                  </a:ext>
                </a:extLst>
              </p:cNvPr>
              <p:cNvSpPr/>
              <p:nvPr/>
            </p:nvSpPr>
            <p:spPr>
              <a:xfrm>
                <a:off x="1319213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FE8F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F3479317-7615-2C8C-8C78-54B61A7E2284}"/>
                  </a:ext>
                </a:extLst>
              </p:cNvPr>
              <p:cNvSpPr/>
              <p:nvPr/>
            </p:nvSpPr>
            <p:spPr>
              <a:xfrm>
                <a:off x="1319213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B4B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0B130CA8-AB29-14F3-D1A1-59318DF31CD4}"/>
                  </a:ext>
                </a:extLst>
              </p:cNvPr>
              <p:cNvSpPr/>
              <p:nvPr/>
            </p:nvSpPr>
            <p:spPr>
              <a:xfrm>
                <a:off x="1319213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D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61ECA862-F207-E182-9593-6A64FAC8B28C}"/>
                </a:ext>
              </a:extLst>
            </p:cNvPr>
            <p:cNvGrpSpPr/>
            <p:nvPr userDrawn="1"/>
          </p:nvGrpSpPr>
          <p:grpSpPr>
            <a:xfrm rot="16200000">
              <a:off x="1345616" y="-649354"/>
              <a:ext cx="181503" cy="907520"/>
              <a:chOff x="1319213" y="-664912"/>
              <a:chExt cx="181503" cy="907520"/>
            </a:xfrm>
          </p:grpSpPr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4A0A5837-DD3F-557D-42C1-DE687B02B2A5}"/>
                  </a:ext>
                </a:extLst>
              </p:cNvPr>
              <p:cNvSpPr/>
              <p:nvPr/>
            </p:nvSpPr>
            <p:spPr>
              <a:xfrm>
                <a:off x="1319213" y="-66491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6400A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4B786925-C004-725B-06B5-94E5FA36A9C5}"/>
                  </a:ext>
                </a:extLst>
              </p:cNvPr>
              <p:cNvSpPr/>
              <p:nvPr/>
            </p:nvSpPr>
            <p:spPr>
              <a:xfrm>
                <a:off x="1319213" y="-483404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33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44C79F36-ED5D-881D-32EF-0AFBF36A3B5E}"/>
                  </a:ext>
                </a:extLst>
              </p:cNvPr>
              <p:cNvSpPr/>
              <p:nvPr/>
            </p:nvSpPr>
            <p:spPr>
              <a:xfrm>
                <a:off x="1319213" y="-30189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266C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3EDE5789-E825-0C54-B134-314C10AAE30C}"/>
                  </a:ext>
                </a:extLst>
              </p:cNvPr>
              <p:cNvSpPr/>
              <p:nvPr/>
            </p:nvSpPr>
            <p:spPr>
              <a:xfrm>
                <a:off x="1319213" y="-120387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199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CF93D1CF-AAE6-7BA0-67C0-E871DAD51C06}"/>
                  </a:ext>
                </a:extLst>
              </p:cNvPr>
              <p:cNvSpPr/>
              <p:nvPr/>
            </p:nvSpPr>
            <p:spPr>
              <a:xfrm>
                <a:off x="1319213" y="6110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0CC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BF4198A0-B8E0-0D02-B352-95463B43D21F}"/>
                </a:ext>
              </a:extLst>
            </p:cNvPr>
            <p:cNvGrpSpPr/>
            <p:nvPr userDrawn="1"/>
          </p:nvGrpSpPr>
          <p:grpSpPr>
            <a:xfrm rot="16200000">
              <a:off x="2328223" y="-649352"/>
              <a:ext cx="181508" cy="907520"/>
              <a:chOff x="1682219" y="-1663170"/>
              <a:chExt cx="181508" cy="907520"/>
            </a:xfrm>
          </p:grpSpPr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9961FD72-16FA-7B4E-2FE1-DBDCE8D6EBE0}"/>
                  </a:ext>
                </a:extLst>
              </p:cNvPr>
              <p:cNvSpPr/>
              <p:nvPr/>
            </p:nvSpPr>
            <p:spPr>
              <a:xfrm>
                <a:off x="1682219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CC8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0DC7BF85-98A4-E41F-FF33-542DFA44AE02}"/>
                  </a:ext>
                </a:extLst>
              </p:cNvPr>
              <p:cNvSpPr/>
              <p:nvPr/>
            </p:nvSpPr>
            <p:spPr>
              <a:xfrm>
                <a:off x="1682224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3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C6AA0B29-BA2F-113C-4B9F-D45C3DBAD782}"/>
                  </a:ext>
                </a:extLst>
              </p:cNvPr>
              <p:cNvSpPr/>
              <p:nvPr/>
            </p:nvSpPr>
            <p:spPr>
              <a:xfrm>
                <a:off x="1682224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ADE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6F139C90-38D7-DD93-440F-FA86BA9F3F10}"/>
                  </a:ext>
                </a:extLst>
              </p:cNvPr>
              <p:cNvSpPr/>
              <p:nvPr/>
            </p:nvSpPr>
            <p:spPr>
              <a:xfrm>
                <a:off x="1682224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E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A14DEA36-5E43-44FB-9334-9919111311E2}"/>
                  </a:ext>
                </a:extLst>
              </p:cNvPr>
              <p:cNvSpPr/>
              <p:nvPr/>
            </p:nvSpPr>
            <p:spPr>
              <a:xfrm>
                <a:off x="1682219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8F4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AF3DD4F6-18CC-3D18-050A-7F75EF341137}"/>
                </a:ext>
              </a:extLst>
            </p:cNvPr>
            <p:cNvGrpSpPr/>
            <p:nvPr userDrawn="1"/>
          </p:nvGrpSpPr>
          <p:grpSpPr>
            <a:xfrm rot="16200000">
              <a:off x="5276052" y="-649354"/>
              <a:ext cx="181503" cy="907520"/>
              <a:chOff x="2226738" y="-1663170"/>
              <a:chExt cx="181503" cy="907520"/>
            </a:xfrm>
          </p:grpSpPr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044B80CF-33A6-8B09-3FAB-4E8A535FCEA3}"/>
                  </a:ext>
                </a:extLst>
              </p:cNvPr>
              <p:cNvSpPr/>
              <p:nvPr/>
            </p:nvSpPr>
            <p:spPr>
              <a:xfrm>
                <a:off x="2226738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850D9818-B940-4292-7577-DE44971706B0}"/>
                  </a:ext>
                </a:extLst>
              </p:cNvPr>
              <p:cNvSpPr/>
              <p:nvPr/>
            </p:nvSpPr>
            <p:spPr>
              <a:xfrm>
                <a:off x="2226738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5757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A336AF83-ACE2-07D7-59F6-2CA60F2A638B}"/>
                  </a:ext>
                </a:extLst>
              </p:cNvPr>
              <p:cNvSpPr/>
              <p:nvPr/>
            </p:nvSpPr>
            <p:spPr>
              <a:xfrm>
                <a:off x="2226738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8787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05916DAB-2264-280D-08F0-5FAB93F10860}"/>
                  </a:ext>
                </a:extLst>
              </p:cNvPr>
              <p:cNvSpPr/>
              <p:nvPr/>
            </p:nvSpPr>
            <p:spPr>
              <a:xfrm>
                <a:off x="2226738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2B2B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88A67289-79F0-4863-8523-8797119D0B82}"/>
                  </a:ext>
                </a:extLst>
              </p:cNvPr>
              <p:cNvSpPr/>
              <p:nvPr/>
            </p:nvSpPr>
            <p:spPr>
              <a:xfrm>
                <a:off x="2226738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DA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414BFD89-97B7-D2E8-3A25-3FCDBE835F6C}"/>
                </a:ext>
              </a:extLst>
            </p:cNvPr>
            <p:cNvGrpSpPr/>
            <p:nvPr userDrawn="1"/>
          </p:nvGrpSpPr>
          <p:grpSpPr>
            <a:xfrm rot="16200000">
              <a:off x="3310834" y="-649354"/>
              <a:ext cx="181503" cy="907520"/>
              <a:chOff x="1863727" y="-1663170"/>
              <a:chExt cx="181503" cy="907520"/>
            </a:xfrm>
          </p:grpSpPr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D1C2B297-4CAE-7EF6-469F-D4267B532BC6}"/>
                  </a:ext>
                </a:extLst>
              </p:cNvPr>
              <p:cNvSpPr/>
              <p:nvPr/>
            </p:nvSpPr>
            <p:spPr>
              <a:xfrm>
                <a:off x="1863727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2A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D2195FB3-BF57-F6F7-68F7-FC83D743DFC3}"/>
                  </a:ext>
                </a:extLst>
              </p:cNvPr>
              <p:cNvSpPr/>
              <p:nvPr/>
            </p:nvSpPr>
            <p:spPr>
              <a:xfrm>
                <a:off x="1863727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5DB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1CEB800C-0891-FC26-F5B7-76FFCF1F33A1}"/>
                  </a:ext>
                </a:extLst>
              </p:cNvPr>
              <p:cNvSpPr/>
              <p:nvPr/>
            </p:nvSpPr>
            <p:spPr>
              <a:xfrm>
                <a:off x="1863727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8E4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F85B70B9-88BE-77A6-1699-DD686D9E88F3}"/>
                  </a:ext>
                </a:extLst>
              </p:cNvPr>
              <p:cNvSpPr/>
              <p:nvPr/>
            </p:nvSpPr>
            <p:spPr>
              <a:xfrm>
                <a:off x="1863727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ED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69B87C4E-0808-074D-0FB5-BF11A706BAAB}"/>
                  </a:ext>
                </a:extLst>
              </p:cNvPr>
              <p:cNvSpPr/>
              <p:nvPr/>
            </p:nvSpPr>
            <p:spPr>
              <a:xfrm>
                <a:off x="1863727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DF6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EEE61BE7-10AB-A7DE-F8E8-62BAA8294248}"/>
                </a:ext>
              </a:extLst>
            </p:cNvPr>
            <p:cNvGrpSpPr/>
            <p:nvPr userDrawn="1"/>
          </p:nvGrpSpPr>
          <p:grpSpPr>
            <a:xfrm rot="16200000">
              <a:off x="4293441" y="-649352"/>
              <a:ext cx="181508" cy="907520"/>
              <a:chOff x="2045230" y="-1663170"/>
              <a:chExt cx="181508" cy="907520"/>
            </a:xfrm>
          </p:grpSpPr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2A87AAB2-5981-6C37-0C2F-99812D9B27F9}"/>
                  </a:ext>
                </a:extLst>
              </p:cNvPr>
              <p:cNvSpPr/>
              <p:nvPr/>
            </p:nvSpPr>
            <p:spPr>
              <a:xfrm>
                <a:off x="2045230" y="-937158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9F7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8C2750C9-7D1D-7637-22A4-74E6CD78022F}"/>
                  </a:ext>
                </a:extLst>
              </p:cNvPr>
              <p:cNvSpPr/>
              <p:nvPr/>
            </p:nvSpPr>
            <p:spPr>
              <a:xfrm>
                <a:off x="2045230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FED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171C0755-D03F-2847-7536-8354F1B25524}"/>
                  </a:ext>
                </a:extLst>
              </p:cNvPr>
              <p:cNvSpPr/>
              <p:nvPr/>
            </p:nvSpPr>
            <p:spPr>
              <a:xfrm>
                <a:off x="2045230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5E3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AAD06D8E-5496-613D-647F-6A3249164F2A}"/>
                  </a:ext>
                </a:extLst>
              </p:cNvPr>
              <p:cNvSpPr/>
              <p:nvPr/>
            </p:nvSpPr>
            <p:spPr>
              <a:xfrm>
                <a:off x="2045230" y="-1663170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CFC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86D14A61-DFEF-94DC-8724-0FFDB60FAF48}"/>
                  </a:ext>
                </a:extLst>
              </p:cNvPr>
              <p:cNvSpPr/>
              <p:nvPr/>
            </p:nvSpPr>
            <p:spPr>
              <a:xfrm>
                <a:off x="2045230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BD9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797987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(red) and Text 2/3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5440E761-56DA-1F16-C101-779B792715A1}"/>
              </a:ext>
            </a:extLst>
          </p:cNvPr>
          <p:cNvSpPr/>
          <p:nvPr userDrawn="1"/>
        </p:nvSpPr>
        <p:spPr>
          <a:xfrm>
            <a:off x="8136000" y="0"/>
            <a:ext cx="405599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63000" y="843891"/>
            <a:ext cx="2770186" cy="55106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964FA6FD-B18C-64CF-40CD-9C782D91C43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415668" y="503483"/>
            <a:ext cx="1289916" cy="180000"/>
            <a:chOff x="-161925" y="-1630732"/>
            <a:chExt cx="12193587" cy="1701544"/>
          </a:xfrm>
          <a:solidFill>
            <a:schemeClr val="bg1"/>
          </a:solidFill>
        </p:grpSpPr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0BAA8276-ECA1-E336-BCFB-04B3EC51B77A}"/>
                </a:ext>
              </a:extLst>
            </p:cNvPr>
            <p:cNvSpPr/>
            <p:nvPr/>
          </p:nvSpPr>
          <p:spPr>
            <a:xfrm>
              <a:off x="10774928" y="-1247713"/>
              <a:ext cx="1256734" cy="356304"/>
            </a:xfrm>
            <a:custGeom>
              <a:avLst/>
              <a:gdLst>
                <a:gd name="connsiteX0" fmla="*/ 1226823 w 1256734"/>
                <a:gd name="connsiteY0" fmla="*/ 269166 h 356304"/>
                <a:gd name="connsiteX1" fmla="*/ 1133491 w 1256734"/>
                <a:gd name="connsiteY1" fmla="*/ 316610 h 356304"/>
                <a:gd name="connsiteX2" fmla="*/ 1010248 w 1256734"/>
                <a:gd name="connsiteY2" fmla="*/ 178448 h 356304"/>
                <a:gd name="connsiteX3" fmla="*/ 1131426 w 1256734"/>
                <a:gd name="connsiteY3" fmla="*/ 39696 h 356304"/>
                <a:gd name="connsiteX4" fmla="*/ 1226823 w 1256734"/>
                <a:gd name="connsiteY4" fmla="*/ 86659 h 356304"/>
                <a:gd name="connsiteX5" fmla="*/ 1256735 w 1256734"/>
                <a:gd name="connsiteY5" fmla="*/ 58823 h 356304"/>
                <a:gd name="connsiteX6" fmla="*/ 1216553 w 1256734"/>
                <a:gd name="connsiteY6" fmla="*/ 23241 h 356304"/>
                <a:gd name="connsiteX7" fmla="*/ 1130420 w 1256734"/>
                <a:gd name="connsiteY7" fmla="*/ 0 h 356304"/>
                <a:gd name="connsiteX8" fmla="*/ 965885 w 1256734"/>
                <a:gd name="connsiteY8" fmla="*/ 178448 h 356304"/>
                <a:gd name="connsiteX9" fmla="*/ 1011783 w 1256734"/>
                <a:gd name="connsiteY9" fmla="*/ 305763 h 356304"/>
                <a:gd name="connsiteX10" fmla="*/ 1129892 w 1256734"/>
                <a:gd name="connsiteY10" fmla="*/ 356305 h 356304"/>
                <a:gd name="connsiteX11" fmla="*/ 1255676 w 1256734"/>
                <a:gd name="connsiteY11" fmla="*/ 298071 h 356304"/>
                <a:gd name="connsiteX12" fmla="*/ 1226823 w 1256734"/>
                <a:gd name="connsiteY12" fmla="*/ 269166 h 356304"/>
                <a:gd name="connsiteX13" fmla="*/ 679216 w 1256734"/>
                <a:gd name="connsiteY13" fmla="*/ 197999 h 356304"/>
                <a:gd name="connsiteX14" fmla="*/ 846824 w 1256734"/>
                <a:gd name="connsiteY14" fmla="*/ 197999 h 356304"/>
                <a:gd name="connsiteX15" fmla="*/ 846824 w 1256734"/>
                <a:gd name="connsiteY15" fmla="*/ 350105 h 356304"/>
                <a:gd name="connsiteX16" fmla="*/ 890075 w 1256734"/>
                <a:gd name="connsiteY16" fmla="*/ 350105 h 356304"/>
                <a:gd name="connsiteX17" fmla="*/ 890075 w 1256734"/>
                <a:gd name="connsiteY17" fmla="*/ 6198 h 356304"/>
                <a:gd name="connsiteX18" fmla="*/ 846824 w 1256734"/>
                <a:gd name="connsiteY18" fmla="*/ 6198 h 356304"/>
                <a:gd name="connsiteX19" fmla="*/ 846824 w 1256734"/>
                <a:gd name="connsiteY19" fmla="*/ 160920 h 356304"/>
                <a:gd name="connsiteX20" fmla="*/ 679216 w 1256734"/>
                <a:gd name="connsiteY20" fmla="*/ 160920 h 356304"/>
                <a:gd name="connsiteX21" fmla="*/ 679216 w 1256734"/>
                <a:gd name="connsiteY21" fmla="*/ 6198 h 356304"/>
                <a:gd name="connsiteX22" fmla="*/ 635912 w 1256734"/>
                <a:gd name="connsiteY22" fmla="*/ 6198 h 356304"/>
                <a:gd name="connsiteX23" fmla="*/ 635912 w 1256734"/>
                <a:gd name="connsiteY23" fmla="*/ 350105 h 356304"/>
                <a:gd name="connsiteX24" fmla="*/ 679216 w 1256734"/>
                <a:gd name="connsiteY24" fmla="*/ 350105 h 356304"/>
                <a:gd name="connsiteX25" fmla="*/ 679216 w 1256734"/>
                <a:gd name="connsiteY25" fmla="*/ 197999 h 356304"/>
                <a:gd name="connsiteX26" fmla="*/ 392018 w 1256734"/>
                <a:gd name="connsiteY26" fmla="*/ 40230 h 356304"/>
                <a:gd name="connsiteX27" fmla="*/ 476563 w 1256734"/>
                <a:gd name="connsiteY27" fmla="*/ 75813 h 356304"/>
                <a:gd name="connsiteX28" fmla="*/ 515792 w 1256734"/>
                <a:gd name="connsiteY28" fmla="*/ 181011 h 356304"/>
                <a:gd name="connsiteX29" fmla="*/ 482758 w 1256734"/>
                <a:gd name="connsiteY29" fmla="*/ 275365 h 356304"/>
                <a:gd name="connsiteX30" fmla="*/ 390960 w 1256734"/>
                <a:gd name="connsiteY30" fmla="*/ 316610 h 356304"/>
                <a:gd name="connsiteX31" fmla="*/ 267239 w 1256734"/>
                <a:gd name="connsiteY31" fmla="*/ 178448 h 356304"/>
                <a:gd name="connsiteX32" fmla="*/ 392018 w 1256734"/>
                <a:gd name="connsiteY32" fmla="*/ 40230 h 356304"/>
                <a:gd name="connsiteX33" fmla="*/ 393077 w 1256734"/>
                <a:gd name="connsiteY33" fmla="*/ 0 h 356304"/>
                <a:gd name="connsiteX34" fmla="*/ 222876 w 1256734"/>
                <a:gd name="connsiteY34" fmla="*/ 179994 h 356304"/>
                <a:gd name="connsiteX35" fmla="*/ 258982 w 1256734"/>
                <a:gd name="connsiteY35" fmla="*/ 291872 h 356304"/>
                <a:gd name="connsiteX36" fmla="*/ 392018 w 1256734"/>
                <a:gd name="connsiteY36" fmla="*/ 356305 h 356304"/>
                <a:gd name="connsiteX37" fmla="*/ 501868 w 1256734"/>
                <a:gd name="connsiteY37" fmla="*/ 315059 h 356304"/>
                <a:gd name="connsiteX38" fmla="*/ 560155 w 1256734"/>
                <a:gd name="connsiteY38" fmla="*/ 181545 h 356304"/>
                <a:gd name="connsiteX39" fmla="*/ 519921 w 1256734"/>
                <a:gd name="connsiteY39" fmla="*/ 59304 h 356304"/>
                <a:gd name="connsiteX40" fmla="*/ 393077 w 1256734"/>
                <a:gd name="connsiteY40" fmla="*/ 0 h 356304"/>
                <a:gd name="connsiteX41" fmla="*/ 43306 w 1256734"/>
                <a:gd name="connsiteY41" fmla="*/ 310946 h 356304"/>
                <a:gd name="connsiteX42" fmla="*/ 43306 w 1256734"/>
                <a:gd name="connsiteY42" fmla="*/ 6198 h 356304"/>
                <a:gd name="connsiteX43" fmla="*/ 0 w 1256734"/>
                <a:gd name="connsiteY43" fmla="*/ 6198 h 356304"/>
                <a:gd name="connsiteX44" fmla="*/ 0 w 1256734"/>
                <a:gd name="connsiteY44" fmla="*/ 350105 h 356304"/>
                <a:gd name="connsiteX45" fmla="*/ 194237 w 1256734"/>
                <a:gd name="connsiteY45" fmla="*/ 350105 h 356304"/>
                <a:gd name="connsiteX46" fmla="*/ 194237 w 1256734"/>
                <a:gd name="connsiteY46" fmla="*/ 310946 h 356304"/>
                <a:gd name="connsiteX47" fmla="*/ 43306 w 1256734"/>
                <a:gd name="connsiteY47" fmla="*/ 310946 h 35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256734" h="356304">
                  <a:moveTo>
                    <a:pt x="1226823" y="269166"/>
                  </a:moveTo>
                  <a:cubicBezTo>
                    <a:pt x="1200037" y="301650"/>
                    <a:pt x="1171131" y="316610"/>
                    <a:pt x="1133491" y="316610"/>
                  </a:cubicBezTo>
                  <a:cubicBezTo>
                    <a:pt x="1062341" y="316610"/>
                    <a:pt x="1010248" y="258371"/>
                    <a:pt x="1010248" y="178448"/>
                  </a:cubicBezTo>
                  <a:cubicBezTo>
                    <a:pt x="1010248" y="97985"/>
                    <a:pt x="1061334" y="39696"/>
                    <a:pt x="1131426" y="39696"/>
                  </a:cubicBezTo>
                  <a:cubicBezTo>
                    <a:pt x="1168008" y="39696"/>
                    <a:pt x="1193313" y="52092"/>
                    <a:pt x="1226823" y="86659"/>
                  </a:cubicBezTo>
                  <a:lnTo>
                    <a:pt x="1256735" y="58823"/>
                  </a:lnTo>
                  <a:cubicBezTo>
                    <a:pt x="1239742" y="40230"/>
                    <a:pt x="1230424" y="32003"/>
                    <a:pt x="1216553" y="23241"/>
                  </a:cubicBezTo>
                  <a:cubicBezTo>
                    <a:pt x="1191725" y="8281"/>
                    <a:pt x="1161338" y="0"/>
                    <a:pt x="1130420" y="0"/>
                  </a:cubicBezTo>
                  <a:cubicBezTo>
                    <a:pt x="1035500" y="0"/>
                    <a:pt x="965885" y="75279"/>
                    <a:pt x="965885" y="178448"/>
                  </a:cubicBezTo>
                  <a:cubicBezTo>
                    <a:pt x="965885" y="226369"/>
                    <a:pt x="982931" y="273279"/>
                    <a:pt x="1011783" y="305763"/>
                  </a:cubicBezTo>
                  <a:cubicBezTo>
                    <a:pt x="1041165" y="338782"/>
                    <a:pt x="1081928" y="356305"/>
                    <a:pt x="1129892" y="356305"/>
                  </a:cubicBezTo>
                  <a:cubicBezTo>
                    <a:pt x="1182990" y="356305"/>
                    <a:pt x="1221107" y="338782"/>
                    <a:pt x="1255676" y="298071"/>
                  </a:cubicBezTo>
                  <a:lnTo>
                    <a:pt x="1226823" y="269166"/>
                  </a:lnTo>
                  <a:close/>
                  <a:moveTo>
                    <a:pt x="679216" y="197999"/>
                  </a:moveTo>
                  <a:lnTo>
                    <a:pt x="846824" y="197999"/>
                  </a:lnTo>
                  <a:lnTo>
                    <a:pt x="846824" y="350105"/>
                  </a:lnTo>
                  <a:lnTo>
                    <a:pt x="890075" y="350105"/>
                  </a:lnTo>
                  <a:lnTo>
                    <a:pt x="890075" y="6198"/>
                  </a:lnTo>
                  <a:lnTo>
                    <a:pt x="846824" y="6198"/>
                  </a:lnTo>
                  <a:lnTo>
                    <a:pt x="846824" y="160920"/>
                  </a:lnTo>
                  <a:lnTo>
                    <a:pt x="679216" y="160920"/>
                  </a:lnTo>
                  <a:lnTo>
                    <a:pt x="679216" y="6198"/>
                  </a:lnTo>
                  <a:lnTo>
                    <a:pt x="635912" y="6198"/>
                  </a:lnTo>
                  <a:lnTo>
                    <a:pt x="635912" y="350105"/>
                  </a:lnTo>
                  <a:lnTo>
                    <a:pt x="679216" y="350105"/>
                  </a:lnTo>
                  <a:lnTo>
                    <a:pt x="679216" y="197999"/>
                  </a:lnTo>
                  <a:close/>
                  <a:moveTo>
                    <a:pt x="392018" y="40230"/>
                  </a:moveTo>
                  <a:cubicBezTo>
                    <a:pt x="422459" y="40230"/>
                    <a:pt x="453904" y="53641"/>
                    <a:pt x="476563" y="75813"/>
                  </a:cubicBezTo>
                  <a:cubicBezTo>
                    <a:pt x="503404" y="101618"/>
                    <a:pt x="515792" y="135117"/>
                    <a:pt x="515792" y="181011"/>
                  </a:cubicBezTo>
                  <a:cubicBezTo>
                    <a:pt x="515792" y="216057"/>
                    <a:pt x="502874" y="253189"/>
                    <a:pt x="482758" y="275365"/>
                  </a:cubicBezTo>
                  <a:cubicBezTo>
                    <a:pt x="459569" y="301650"/>
                    <a:pt x="425530" y="316610"/>
                    <a:pt x="390960" y="316610"/>
                  </a:cubicBezTo>
                  <a:cubicBezTo>
                    <a:pt x="319809" y="316610"/>
                    <a:pt x="267239" y="258371"/>
                    <a:pt x="267239" y="178448"/>
                  </a:cubicBezTo>
                  <a:cubicBezTo>
                    <a:pt x="267239" y="99000"/>
                    <a:pt x="320338" y="40230"/>
                    <a:pt x="392018" y="40230"/>
                  </a:cubicBezTo>
                  <a:moveTo>
                    <a:pt x="393077" y="0"/>
                  </a:moveTo>
                  <a:cubicBezTo>
                    <a:pt x="295615" y="0"/>
                    <a:pt x="222876" y="77362"/>
                    <a:pt x="222876" y="179994"/>
                  </a:cubicBezTo>
                  <a:cubicBezTo>
                    <a:pt x="222876" y="223273"/>
                    <a:pt x="235318" y="261956"/>
                    <a:pt x="258982" y="291872"/>
                  </a:cubicBezTo>
                  <a:cubicBezTo>
                    <a:pt x="290957" y="332101"/>
                    <a:pt x="340985" y="356305"/>
                    <a:pt x="392018" y="356305"/>
                  </a:cubicBezTo>
                  <a:cubicBezTo>
                    <a:pt x="431723" y="356305"/>
                    <a:pt x="470899" y="341879"/>
                    <a:pt x="501868" y="315059"/>
                  </a:cubicBezTo>
                  <a:cubicBezTo>
                    <a:pt x="539509" y="283110"/>
                    <a:pt x="560155" y="235131"/>
                    <a:pt x="560155" y="181545"/>
                  </a:cubicBezTo>
                  <a:cubicBezTo>
                    <a:pt x="560155" y="129935"/>
                    <a:pt x="547715" y="91788"/>
                    <a:pt x="519921" y="59304"/>
                  </a:cubicBezTo>
                  <a:cubicBezTo>
                    <a:pt x="486886" y="21691"/>
                    <a:pt x="440988" y="0"/>
                    <a:pt x="393077" y="0"/>
                  </a:cubicBezTo>
                  <a:moveTo>
                    <a:pt x="43306" y="310946"/>
                  </a:moveTo>
                  <a:lnTo>
                    <a:pt x="43306" y="6198"/>
                  </a:lnTo>
                  <a:lnTo>
                    <a:pt x="0" y="6198"/>
                  </a:lnTo>
                  <a:lnTo>
                    <a:pt x="0" y="350105"/>
                  </a:lnTo>
                  <a:lnTo>
                    <a:pt x="194237" y="350105"/>
                  </a:lnTo>
                  <a:lnTo>
                    <a:pt x="194237" y="310946"/>
                  </a:lnTo>
                  <a:lnTo>
                    <a:pt x="43306" y="310946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B77DA9CA-81E3-9C95-68A3-BFADB2CD7E3C}"/>
                </a:ext>
              </a:extLst>
            </p:cNvPr>
            <p:cNvSpPr/>
            <p:nvPr/>
          </p:nvSpPr>
          <p:spPr>
            <a:xfrm>
              <a:off x="-161925" y="-1630732"/>
              <a:ext cx="10575647" cy="1701544"/>
            </a:xfrm>
            <a:custGeom>
              <a:avLst/>
              <a:gdLst>
                <a:gd name="connsiteX0" fmla="*/ 7802033 w 10575647"/>
                <a:gd name="connsiteY0" fmla="*/ 380187 h 1701544"/>
                <a:gd name="connsiteX1" fmla="*/ 7621138 w 10575647"/>
                <a:gd name="connsiteY1" fmla="*/ 380187 h 1701544"/>
                <a:gd name="connsiteX2" fmla="*/ 7621138 w 10575647"/>
                <a:gd name="connsiteY2" fmla="*/ 1271563 h 1701544"/>
                <a:gd name="connsiteX3" fmla="*/ 7802033 w 10575647"/>
                <a:gd name="connsiteY3" fmla="*/ 1271563 h 1701544"/>
                <a:gd name="connsiteX4" fmla="*/ 7802033 w 10575647"/>
                <a:gd name="connsiteY4" fmla="*/ 380187 h 1701544"/>
                <a:gd name="connsiteX5" fmla="*/ 706522 w 10575647"/>
                <a:gd name="connsiteY5" fmla="*/ 1271563 h 1701544"/>
                <a:gd name="connsiteX6" fmla="*/ 902065 w 10575647"/>
                <a:gd name="connsiteY6" fmla="*/ 1271563 h 1701544"/>
                <a:gd name="connsiteX7" fmla="*/ 902065 w 10575647"/>
                <a:gd name="connsiteY7" fmla="*/ 0 h 1701544"/>
                <a:gd name="connsiteX8" fmla="*/ 706522 w 10575647"/>
                <a:gd name="connsiteY8" fmla="*/ 0 h 1701544"/>
                <a:gd name="connsiteX9" fmla="*/ 706522 w 10575647"/>
                <a:gd name="connsiteY9" fmla="*/ 553717 h 1701544"/>
                <a:gd name="connsiteX10" fmla="*/ 195543 w 10575647"/>
                <a:gd name="connsiteY10" fmla="*/ 553717 h 1701544"/>
                <a:gd name="connsiteX11" fmla="*/ 195543 w 10575647"/>
                <a:gd name="connsiteY11" fmla="*/ 0 h 1701544"/>
                <a:gd name="connsiteX12" fmla="*/ 0 w 10575647"/>
                <a:gd name="connsiteY12" fmla="*/ 0 h 1701544"/>
                <a:gd name="connsiteX13" fmla="*/ 0 w 10575647"/>
                <a:gd name="connsiteY13" fmla="*/ 1271563 h 1701544"/>
                <a:gd name="connsiteX14" fmla="*/ 195543 w 10575647"/>
                <a:gd name="connsiteY14" fmla="*/ 1271563 h 1701544"/>
                <a:gd name="connsiteX15" fmla="*/ 195543 w 10575647"/>
                <a:gd name="connsiteY15" fmla="*/ 727142 h 1701544"/>
                <a:gd name="connsiteX16" fmla="*/ 706522 w 10575647"/>
                <a:gd name="connsiteY16" fmla="*/ 727142 h 1701544"/>
                <a:gd name="connsiteX17" fmla="*/ 706522 w 10575647"/>
                <a:gd name="connsiteY17" fmla="*/ 1271563 h 1701544"/>
                <a:gd name="connsiteX18" fmla="*/ 1306185 w 10575647"/>
                <a:gd name="connsiteY18" fmla="*/ 1690649 h 1701544"/>
                <a:gd name="connsiteX19" fmla="*/ 1654904 w 10575647"/>
                <a:gd name="connsiteY19" fmla="*/ 1036061 h 1701544"/>
                <a:gd name="connsiteX20" fmla="*/ 1306185 w 10575647"/>
                <a:gd name="connsiteY20" fmla="*/ 381469 h 1701544"/>
                <a:gd name="connsiteX21" fmla="*/ 1090234 w 10575647"/>
                <a:gd name="connsiteY21" fmla="*/ 381469 h 1701544"/>
                <a:gd name="connsiteX22" fmla="*/ 1438900 w 10575647"/>
                <a:gd name="connsiteY22" fmla="*/ 1036061 h 1701544"/>
                <a:gd name="connsiteX23" fmla="*/ 1090234 w 10575647"/>
                <a:gd name="connsiteY23" fmla="*/ 1690649 h 1701544"/>
                <a:gd name="connsiteX24" fmla="*/ 1306185 w 10575647"/>
                <a:gd name="connsiteY24" fmla="*/ 1690649 h 1701544"/>
                <a:gd name="connsiteX25" fmla="*/ 2581808 w 10575647"/>
                <a:gd name="connsiteY25" fmla="*/ 828654 h 1701544"/>
                <a:gd name="connsiteX26" fmla="*/ 2317883 w 10575647"/>
                <a:gd name="connsiteY26" fmla="*/ 1129505 h 1701544"/>
                <a:gd name="connsiteX27" fmla="*/ 2065011 w 10575647"/>
                <a:gd name="connsiteY27" fmla="*/ 832338 h 1701544"/>
                <a:gd name="connsiteX28" fmla="*/ 2327068 w 10575647"/>
                <a:gd name="connsiteY28" fmla="*/ 525990 h 1701544"/>
                <a:gd name="connsiteX29" fmla="*/ 2581808 w 10575647"/>
                <a:gd name="connsiteY29" fmla="*/ 828654 h 1701544"/>
                <a:gd name="connsiteX30" fmla="*/ 2581808 w 10575647"/>
                <a:gd name="connsiteY30" fmla="*/ 1271563 h 1701544"/>
                <a:gd name="connsiteX31" fmla="*/ 2762608 w 10575647"/>
                <a:gd name="connsiteY31" fmla="*/ 1271563 h 1701544"/>
                <a:gd name="connsiteX32" fmla="*/ 2762608 w 10575647"/>
                <a:gd name="connsiteY32" fmla="*/ 0 h 1701544"/>
                <a:gd name="connsiteX33" fmla="*/ 2581808 w 10575647"/>
                <a:gd name="connsiteY33" fmla="*/ 0 h 1701544"/>
                <a:gd name="connsiteX34" fmla="*/ 2581808 w 10575647"/>
                <a:gd name="connsiteY34" fmla="*/ 476356 h 1701544"/>
                <a:gd name="connsiteX35" fmla="*/ 2297581 w 10575647"/>
                <a:gd name="connsiteY35" fmla="*/ 359885 h 1701544"/>
                <a:gd name="connsiteX36" fmla="*/ 1876785 w 10575647"/>
                <a:gd name="connsiteY36" fmla="*/ 830470 h 1701544"/>
                <a:gd name="connsiteX37" fmla="*/ 2297581 w 10575647"/>
                <a:gd name="connsiteY37" fmla="*/ 1291865 h 1701544"/>
                <a:gd name="connsiteX38" fmla="*/ 2581808 w 10575647"/>
                <a:gd name="connsiteY38" fmla="*/ 1163217 h 1701544"/>
                <a:gd name="connsiteX39" fmla="*/ 2581808 w 10575647"/>
                <a:gd name="connsiteY39" fmla="*/ 1271563 h 1701544"/>
                <a:gd name="connsiteX40" fmla="*/ 3437445 w 10575647"/>
                <a:gd name="connsiteY40" fmla="*/ 542393 h 1701544"/>
                <a:gd name="connsiteX41" fmla="*/ 3460310 w 10575647"/>
                <a:gd name="connsiteY41" fmla="*/ 545331 h 1701544"/>
                <a:gd name="connsiteX42" fmla="*/ 3460310 w 10575647"/>
                <a:gd name="connsiteY42" fmla="*/ 359885 h 1701544"/>
                <a:gd name="connsiteX43" fmla="*/ 3406830 w 10575647"/>
                <a:gd name="connsiteY43" fmla="*/ 359885 h 1701544"/>
                <a:gd name="connsiteX44" fmla="*/ 3231965 w 10575647"/>
                <a:gd name="connsiteY44" fmla="*/ 415877 h 1701544"/>
                <a:gd name="connsiteX45" fmla="*/ 3187194 w 10575647"/>
                <a:gd name="connsiteY45" fmla="*/ 462091 h 1701544"/>
                <a:gd name="connsiteX46" fmla="*/ 3187194 w 10575647"/>
                <a:gd name="connsiteY46" fmla="*/ 380187 h 1701544"/>
                <a:gd name="connsiteX47" fmla="*/ 3006395 w 10575647"/>
                <a:gd name="connsiteY47" fmla="*/ 380187 h 1701544"/>
                <a:gd name="connsiteX48" fmla="*/ 3006395 w 10575647"/>
                <a:gd name="connsiteY48" fmla="*/ 1271563 h 1701544"/>
                <a:gd name="connsiteX49" fmla="*/ 3187194 w 10575647"/>
                <a:gd name="connsiteY49" fmla="*/ 1271563 h 1701544"/>
                <a:gd name="connsiteX50" fmla="*/ 3187194 w 10575647"/>
                <a:gd name="connsiteY50" fmla="*/ 819411 h 1701544"/>
                <a:gd name="connsiteX51" fmla="*/ 3233517 w 10575647"/>
                <a:gd name="connsiteY51" fmla="*/ 629638 h 1701544"/>
                <a:gd name="connsiteX52" fmla="*/ 3401277 w 10575647"/>
                <a:gd name="connsiteY52" fmla="*/ 540683 h 1701544"/>
                <a:gd name="connsiteX53" fmla="*/ 3437445 w 10575647"/>
                <a:gd name="connsiteY53" fmla="*/ 542393 h 1701544"/>
                <a:gd name="connsiteX54" fmla="*/ 4250980 w 10575647"/>
                <a:gd name="connsiteY54" fmla="*/ 826838 h 1701544"/>
                <a:gd name="connsiteX55" fmla="*/ 3983364 w 10575647"/>
                <a:gd name="connsiteY55" fmla="*/ 1122077 h 1701544"/>
                <a:gd name="connsiteX56" fmla="*/ 3713875 w 10575647"/>
                <a:gd name="connsiteY56" fmla="*/ 826838 h 1701544"/>
                <a:gd name="connsiteX57" fmla="*/ 3985180 w 10575647"/>
                <a:gd name="connsiteY57" fmla="*/ 529677 h 1701544"/>
                <a:gd name="connsiteX58" fmla="*/ 4250980 w 10575647"/>
                <a:gd name="connsiteY58" fmla="*/ 826838 h 1701544"/>
                <a:gd name="connsiteX59" fmla="*/ 4435464 w 10575647"/>
                <a:gd name="connsiteY59" fmla="*/ 828654 h 1701544"/>
                <a:gd name="connsiteX60" fmla="*/ 3985180 w 10575647"/>
                <a:gd name="connsiteY60" fmla="*/ 359885 h 1701544"/>
                <a:gd name="connsiteX61" fmla="*/ 3529338 w 10575647"/>
                <a:gd name="connsiteY61" fmla="*/ 824916 h 1701544"/>
                <a:gd name="connsiteX62" fmla="*/ 3979622 w 10575647"/>
                <a:gd name="connsiteY62" fmla="*/ 1291865 h 1701544"/>
                <a:gd name="connsiteX63" fmla="*/ 4435464 w 10575647"/>
                <a:gd name="connsiteY63" fmla="*/ 828654 h 1701544"/>
                <a:gd name="connsiteX64" fmla="*/ 5261608 w 10575647"/>
                <a:gd name="connsiteY64" fmla="*/ 828654 h 1701544"/>
                <a:gd name="connsiteX65" fmla="*/ 5205508 w 10575647"/>
                <a:gd name="connsiteY65" fmla="*/ 1025854 h 1701544"/>
                <a:gd name="connsiteX66" fmla="*/ 5005052 w 10575647"/>
                <a:gd name="connsiteY66" fmla="*/ 1122077 h 1701544"/>
                <a:gd name="connsiteX67" fmla="*/ 4746675 w 10575647"/>
                <a:gd name="connsiteY67" fmla="*/ 823153 h 1701544"/>
                <a:gd name="connsiteX68" fmla="*/ 5008683 w 10575647"/>
                <a:gd name="connsiteY68" fmla="*/ 529677 h 1701544"/>
                <a:gd name="connsiteX69" fmla="*/ 5200378 w 10575647"/>
                <a:gd name="connsiteY69" fmla="*/ 617081 h 1701544"/>
                <a:gd name="connsiteX70" fmla="*/ 5261608 w 10575647"/>
                <a:gd name="connsiteY70" fmla="*/ 828654 h 1701544"/>
                <a:gd name="connsiteX71" fmla="*/ 5327264 w 10575647"/>
                <a:gd name="connsiteY71" fmla="*/ 1583314 h 1701544"/>
                <a:gd name="connsiteX72" fmla="*/ 5446113 w 10575647"/>
                <a:gd name="connsiteY72" fmla="*/ 1256819 h 1701544"/>
                <a:gd name="connsiteX73" fmla="*/ 5446113 w 10575647"/>
                <a:gd name="connsiteY73" fmla="*/ 380187 h 1701544"/>
                <a:gd name="connsiteX74" fmla="*/ 5265239 w 10575647"/>
                <a:gd name="connsiteY74" fmla="*/ 380187 h 1701544"/>
                <a:gd name="connsiteX75" fmla="*/ 5265239 w 10575647"/>
                <a:gd name="connsiteY75" fmla="*/ 488537 h 1701544"/>
                <a:gd name="connsiteX76" fmla="*/ 4982875 w 10575647"/>
                <a:gd name="connsiteY76" fmla="*/ 359885 h 1701544"/>
                <a:gd name="connsiteX77" fmla="*/ 4699394 w 10575647"/>
                <a:gd name="connsiteY77" fmla="*/ 465190 h 1701544"/>
                <a:gd name="connsiteX78" fmla="*/ 4558400 w 10575647"/>
                <a:gd name="connsiteY78" fmla="*/ 828654 h 1701544"/>
                <a:gd name="connsiteX79" fmla="*/ 4971816 w 10575647"/>
                <a:gd name="connsiteY79" fmla="*/ 1291865 h 1701544"/>
                <a:gd name="connsiteX80" fmla="*/ 5265239 w 10575647"/>
                <a:gd name="connsiteY80" fmla="*/ 1150553 h 1701544"/>
                <a:gd name="connsiteX81" fmla="*/ 5265239 w 10575647"/>
                <a:gd name="connsiteY81" fmla="*/ 1267931 h 1701544"/>
                <a:gd name="connsiteX82" fmla="*/ 5206095 w 10575647"/>
                <a:gd name="connsiteY82" fmla="*/ 1457116 h 1701544"/>
                <a:gd name="connsiteX83" fmla="*/ 4999546 w 10575647"/>
                <a:gd name="connsiteY83" fmla="*/ 1533625 h 1701544"/>
                <a:gd name="connsiteX84" fmla="*/ 4811695 w 10575647"/>
                <a:gd name="connsiteY84" fmla="*/ 1487409 h 1701544"/>
                <a:gd name="connsiteX85" fmla="*/ 4733588 w 10575647"/>
                <a:gd name="connsiteY85" fmla="*/ 1416300 h 1701544"/>
                <a:gd name="connsiteX86" fmla="*/ 4719215 w 10575647"/>
                <a:gd name="connsiteY86" fmla="*/ 1401339 h 1701544"/>
                <a:gd name="connsiteX87" fmla="*/ 4595103 w 10575647"/>
                <a:gd name="connsiteY87" fmla="*/ 1525451 h 1701544"/>
                <a:gd name="connsiteX88" fmla="*/ 4607819 w 10575647"/>
                <a:gd name="connsiteY88" fmla="*/ 1539824 h 1701544"/>
                <a:gd name="connsiteX89" fmla="*/ 4999546 w 10575647"/>
                <a:gd name="connsiteY89" fmla="*/ 1701544 h 1701544"/>
                <a:gd name="connsiteX90" fmla="*/ 5327264 w 10575647"/>
                <a:gd name="connsiteY90" fmla="*/ 1583314 h 1701544"/>
                <a:gd name="connsiteX91" fmla="*/ 6317923 w 10575647"/>
                <a:gd name="connsiteY91" fmla="*/ 747497 h 1701544"/>
                <a:gd name="connsiteX92" fmla="*/ 5805203 w 10575647"/>
                <a:gd name="connsiteY92" fmla="*/ 747497 h 1701544"/>
                <a:gd name="connsiteX93" fmla="*/ 5845913 w 10575647"/>
                <a:gd name="connsiteY93" fmla="*/ 635144 h 1701544"/>
                <a:gd name="connsiteX94" fmla="*/ 6057989 w 10575647"/>
                <a:gd name="connsiteY94" fmla="*/ 525990 h 1701544"/>
                <a:gd name="connsiteX95" fmla="*/ 6275730 w 10575647"/>
                <a:gd name="connsiteY95" fmla="*/ 633487 h 1701544"/>
                <a:gd name="connsiteX96" fmla="*/ 6317923 w 10575647"/>
                <a:gd name="connsiteY96" fmla="*/ 747497 h 1701544"/>
                <a:gd name="connsiteX97" fmla="*/ 6508188 w 10575647"/>
                <a:gd name="connsiteY97" fmla="*/ 872890 h 1701544"/>
                <a:gd name="connsiteX98" fmla="*/ 6510094 w 10575647"/>
                <a:gd name="connsiteY98" fmla="*/ 815779 h 1701544"/>
                <a:gd name="connsiteX99" fmla="*/ 6057989 w 10575647"/>
                <a:gd name="connsiteY99" fmla="*/ 359885 h 1701544"/>
                <a:gd name="connsiteX100" fmla="*/ 5609538 w 10575647"/>
                <a:gd name="connsiteY100" fmla="*/ 828654 h 1701544"/>
                <a:gd name="connsiteX101" fmla="*/ 6063495 w 10575647"/>
                <a:gd name="connsiteY101" fmla="*/ 1291865 h 1701544"/>
                <a:gd name="connsiteX102" fmla="*/ 6460066 w 10575647"/>
                <a:gd name="connsiteY102" fmla="*/ 1051710 h 1701544"/>
                <a:gd name="connsiteX103" fmla="*/ 6469966 w 10575647"/>
                <a:gd name="connsiteY103" fmla="*/ 1031572 h 1701544"/>
                <a:gd name="connsiteX104" fmla="*/ 6308923 w 10575647"/>
                <a:gd name="connsiteY104" fmla="*/ 971517 h 1701544"/>
                <a:gd name="connsiteX105" fmla="*/ 6300559 w 10575647"/>
                <a:gd name="connsiteY105" fmla="*/ 986689 h 1701544"/>
                <a:gd name="connsiteX106" fmla="*/ 6063495 w 10575647"/>
                <a:gd name="connsiteY106" fmla="*/ 1122077 h 1701544"/>
                <a:gd name="connsiteX107" fmla="*/ 5850784 w 10575647"/>
                <a:gd name="connsiteY107" fmla="*/ 1013832 h 1701544"/>
                <a:gd name="connsiteX108" fmla="*/ 5802132 w 10575647"/>
                <a:gd name="connsiteY108" fmla="*/ 891377 h 1701544"/>
                <a:gd name="connsiteX109" fmla="*/ 6506547 w 10575647"/>
                <a:gd name="connsiteY109" fmla="*/ 891377 h 1701544"/>
                <a:gd name="connsiteX110" fmla="*/ 6508188 w 10575647"/>
                <a:gd name="connsiteY110" fmla="*/ 872890 h 1701544"/>
                <a:gd name="connsiteX111" fmla="*/ 7205139 w 10575647"/>
                <a:gd name="connsiteY111" fmla="*/ 1271563 h 1701544"/>
                <a:gd name="connsiteX112" fmla="*/ 7385928 w 10575647"/>
                <a:gd name="connsiteY112" fmla="*/ 1271563 h 1701544"/>
                <a:gd name="connsiteX113" fmla="*/ 7385928 w 10575647"/>
                <a:gd name="connsiteY113" fmla="*/ 677294 h 1701544"/>
                <a:gd name="connsiteX114" fmla="*/ 7307154 w 10575647"/>
                <a:gd name="connsiteY114" fmla="*/ 435163 h 1701544"/>
                <a:gd name="connsiteX115" fmla="*/ 7096189 w 10575647"/>
                <a:gd name="connsiteY115" fmla="*/ 359885 h 1701544"/>
                <a:gd name="connsiteX116" fmla="*/ 6863625 w 10575647"/>
                <a:gd name="connsiteY116" fmla="*/ 463694 h 1701544"/>
                <a:gd name="connsiteX117" fmla="*/ 6863625 w 10575647"/>
                <a:gd name="connsiteY117" fmla="*/ 380187 h 1701544"/>
                <a:gd name="connsiteX118" fmla="*/ 6682836 w 10575647"/>
                <a:gd name="connsiteY118" fmla="*/ 380187 h 1701544"/>
                <a:gd name="connsiteX119" fmla="*/ 6682836 w 10575647"/>
                <a:gd name="connsiteY119" fmla="*/ 1271563 h 1701544"/>
                <a:gd name="connsiteX120" fmla="*/ 6863625 w 10575647"/>
                <a:gd name="connsiteY120" fmla="*/ 1271563 h 1701544"/>
                <a:gd name="connsiteX121" fmla="*/ 6863625 w 10575647"/>
                <a:gd name="connsiteY121" fmla="*/ 732701 h 1701544"/>
                <a:gd name="connsiteX122" fmla="*/ 6913971 w 10575647"/>
                <a:gd name="connsiteY122" fmla="*/ 591066 h 1701544"/>
                <a:gd name="connsiteX123" fmla="*/ 7061143 w 10575647"/>
                <a:gd name="connsiteY123" fmla="*/ 525990 h 1701544"/>
                <a:gd name="connsiteX124" fmla="*/ 7177769 w 10575647"/>
                <a:gd name="connsiteY124" fmla="*/ 575089 h 1701544"/>
                <a:gd name="connsiteX125" fmla="*/ 7205139 w 10575647"/>
                <a:gd name="connsiteY125" fmla="*/ 708709 h 1701544"/>
                <a:gd name="connsiteX126" fmla="*/ 7205139 w 10575647"/>
                <a:gd name="connsiteY126" fmla="*/ 1271563 h 1701544"/>
                <a:gd name="connsiteX127" fmla="*/ 7822309 w 10575647"/>
                <a:gd name="connsiteY127" fmla="*/ 162418 h 1701544"/>
                <a:gd name="connsiteX128" fmla="*/ 7713412 w 10575647"/>
                <a:gd name="connsiteY128" fmla="*/ 49847 h 1701544"/>
                <a:gd name="connsiteX129" fmla="*/ 7602662 w 10575647"/>
                <a:gd name="connsiteY129" fmla="*/ 160549 h 1701544"/>
                <a:gd name="connsiteX130" fmla="*/ 7711560 w 10575647"/>
                <a:gd name="connsiteY130" fmla="*/ 271303 h 1701544"/>
                <a:gd name="connsiteX131" fmla="*/ 7822309 w 10575647"/>
                <a:gd name="connsiteY131" fmla="*/ 162418 h 1701544"/>
                <a:gd name="connsiteX132" fmla="*/ 8704760 w 10575647"/>
                <a:gd name="connsiteY132" fmla="*/ 826838 h 1701544"/>
                <a:gd name="connsiteX133" fmla="*/ 8437150 w 10575647"/>
                <a:gd name="connsiteY133" fmla="*/ 1122077 h 1701544"/>
                <a:gd name="connsiteX134" fmla="*/ 8167740 w 10575647"/>
                <a:gd name="connsiteY134" fmla="*/ 826838 h 1701544"/>
                <a:gd name="connsiteX135" fmla="*/ 8439003 w 10575647"/>
                <a:gd name="connsiteY135" fmla="*/ 529677 h 1701544"/>
                <a:gd name="connsiteX136" fmla="*/ 8704760 w 10575647"/>
                <a:gd name="connsiteY136" fmla="*/ 826838 h 1701544"/>
                <a:gd name="connsiteX137" fmla="*/ 8889307 w 10575647"/>
                <a:gd name="connsiteY137" fmla="*/ 828654 h 1701544"/>
                <a:gd name="connsiteX138" fmla="*/ 8439003 w 10575647"/>
                <a:gd name="connsiteY138" fmla="*/ 359885 h 1701544"/>
                <a:gd name="connsiteX139" fmla="*/ 7983193 w 10575647"/>
                <a:gd name="connsiteY139" fmla="*/ 824916 h 1701544"/>
                <a:gd name="connsiteX140" fmla="*/ 8433444 w 10575647"/>
                <a:gd name="connsiteY140" fmla="*/ 1291865 h 1701544"/>
                <a:gd name="connsiteX141" fmla="*/ 8889307 w 10575647"/>
                <a:gd name="connsiteY141" fmla="*/ 828654 h 1701544"/>
                <a:gd name="connsiteX142" fmla="*/ 9658150 w 10575647"/>
                <a:gd name="connsiteY142" fmla="*/ 1197940 h 1701544"/>
                <a:gd name="connsiteX143" fmla="*/ 9749630 w 10575647"/>
                <a:gd name="connsiteY143" fmla="*/ 944968 h 1701544"/>
                <a:gd name="connsiteX144" fmla="*/ 9749630 w 10575647"/>
                <a:gd name="connsiteY144" fmla="*/ 380187 h 1701544"/>
                <a:gd name="connsiteX145" fmla="*/ 9566988 w 10575647"/>
                <a:gd name="connsiteY145" fmla="*/ 380187 h 1701544"/>
                <a:gd name="connsiteX146" fmla="*/ 9566988 w 10575647"/>
                <a:gd name="connsiteY146" fmla="*/ 944968 h 1701544"/>
                <a:gd name="connsiteX147" fmla="*/ 9535012 w 10575647"/>
                <a:gd name="connsiteY147" fmla="*/ 1068222 h 1701544"/>
                <a:gd name="connsiteX148" fmla="*/ 9399010 w 10575647"/>
                <a:gd name="connsiteY148" fmla="*/ 1125815 h 1701544"/>
                <a:gd name="connsiteX149" fmla="*/ 9229233 w 10575647"/>
                <a:gd name="connsiteY149" fmla="*/ 941225 h 1701544"/>
                <a:gd name="connsiteX150" fmla="*/ 9229233 w 10575647"/>
                <a:gd name="connsiteY150" fmla="*/ 380187 h 1701544"/>
                <a:gd name="connsiteX151" fmla="*/ 9048391 w 10575647"/>
                <a:gd name="connsiteY151" fmla="*/ 380187 h 1701544"/>
                <a:gd name="connsiteX152" fmla="*/ 9048391 w 10575647"/>
                <a:gd name="connsiteY152" fmla="*/ 944968 h 1701544"/>
                <a:gd name="connsiteX153" fmla="*/ 9139659 w 10575647"/>
                <a:gd name="connsiteY153" fmla="*/ 1195965 h 1701544"/>
                <a:gd name="connsiteX154" fmla="*/ 9399010 w 10575647"/>
                <a:gd name="connsiteY154" fmla="*/ 1291865 h 1701544"/>
                <a:gd name="connsiteX155" fmla="*/ 9658150 w 10575647"/>
                <a:gd name="connsiteY155" fmla="*/ 1197945 h 1701544"/>
                <a:gd name="connsiteX156" fmla="*/ 10385594 w 10575647"/>
                <a:gd name="connsiteY156" fmla="*/ 653307 h 1701544"/>
                <a:gd name="connsiteX157" fmla="*/ 10567335 w 10575647"/>
                <a:gd name="connsiteY157" fmla="*/ 653307 h 1701544"/>
                <a:gd name="connsiteX158" fmla="*/ 10566383 w 10575647"/>
                <a:gd name="connsiteY158" fmla="*/ 632041 h 1701544"/>
                <a:gd name="connsiteX159" fmla="*/ 10249009 w 10575647"/>
                <a:gd name="connsiteY159" fmla="*/ 359885 h 1701544"/>
                <a:gd name="connsiteX160" fmla="*/ 9929730 w 10575647"/>
                <a:gd name="connsiteY160" fmla="*/ 627446 h 1701544"/>
                <a:gd name="connsiteX161" fmla="*/ 10212587 w 10575647"/>
                <a:gd name="connsiteY161" fmla="*/ 903611 h 1701544"/>
                <a:gd name="connsiteX162" fmla="*/ 10391099 w 10575647"/>
                <a:gd name="connsiteY162" fmla="*/ 1031625 h 1701544"/>
                <a:gd name="connsiteX163" fmla="*/ 10252715 w 10575647"/>
                <a:gd name="connsiteY163" fmla="*/ 1136874 h 1701544"/>
                <a:gd name="connsiteX164" fmla="*/ 10093843 w 10575647"/>
                <a:gd name="connsiteY164" fmla="*/ 1007579 h 1701544"/>
                <a:gd name="connsiteX165" fmla="*/ 10092096 w 10575647"/>
                <a:gd name="connsiteY165" fmla="*/ 989257 h 1701544"/>
                <a:gd name="connsiteX166" fmla="*/ 9913054 w 10575647"/>
                <a:gd name="connsiteY166" fmla="*/ 989257 h 1701544"/>
                <a:gd name="connsiteX167" fmla="*/ 9915066 w 10575647"/>
                <a:gd name="connsiteY167" fmla="*/ 1011216 h 1701544"/>
                <a:gd name="connsiteX168" fmla="*/ 10252715 w 10575647"/>
                <a:gd name="connsiteY168" fmla="*/ 1291865 h 1701544"/>
                <a:gd name="connsiteX169" fmla="*/ 10575647 w 10575647"/>
                <a:gd name="connsiteY169" fmla="*/ 1024303 h 1701544"/>
                <a:gd name="connsiteX170" fmla="*/ 10501426 w 10575647"/>
                <a:gd name="connsiteY170" fmla="*/ 843879 h 1701544"/>
                <a:gd name="connsiteX171" fmla="*/ 10285750 w 10575647"/>
                <a:gd name="connsiteY171" fmla="*/ 740769 h 1701544"/>
                <a:gd name="connsiteX172" fmla="*/ 10110519 w 10575647"/>
                <a:gd name="connsiteY172" fmla="*/ 616440 h 1701544"/>
                <a:gd name="connsiteX173" fmla="*/ 10243398 w 10575647"/>
                <a:gd name="connsiteY173" fmla="*/ 514877 h 1701544"/>
                <a:gd name="connsiteX174" fmla="*/ 10385594 w 10575647"/>
                <a:gd name="connsiteY174" fmla="*/ 623762 h 1701544"/>
                <a:gd name="connsiteX175" fmla="*/ 10385594 w 10575647"/>
                <a:gd name="connsiteY175" fmla="*/ 653307 h 170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10575647" h="1701544">
                  <a:moveTo>
                    <a:pt x="7802033" y="380187"/>
                  </a:moveTo>
                  <a:lnTo>
                    <a:pt x="7621138" y="380187"/>
                  </a:lnTo>
                  <a:lnTo>
                    <a:pt x="7621138" y="1271563"/>
                  </a:lnTo>
                  <a:lnTo>
                    <a:pt x="7802033" y="1271563"/>
                  </a:lnTo>
                  <a:lnTo>
                    <a:pt x="7802033" y="380187"/>
                  </a:lnTo>
                  <a:close/>
                  <a:moveTo>
                    <a:pt x="706522" y="1271563"/>
                  </a:moveTo>
                  <a:lnTo>
                    <a:pt x="902065" y="1271563"/>
                  </a:lnTo>
                  <a:lnTo>
                    <a:pt x="902065" y="0"/>
                  </a:lnTo>
                  <a:lnTo>
                    <a:pt x="706522" y="0"/>
                  </a:lnTo>
                  <a:lnTo>
                    <a:pt x="706522" y="553717"/>
                  </a:lnTo>
                  <a:lnTo>
                    <a:pt x="195543" y="553717"/>
                  </a:lnTo>
                  <a:lnTo>
                    <a:pt x="195543" y="0"/>
                  </a:lnTo>
                  <a:lnTo>
                    <a:pt x="0" y="0"/>
                  </a:lnTo>
                  <a:lnTo>
                    <a:pt x="0" y="1271563"/>
                  </a:lnTo>
                  <a:lnTo>
                    <a:pt x="195543" y="1271563"/>
                  </a:lnTo>
                  <a:lnTo>
                    <a:pt x="195543" y="727142"/>
                  </a:lnTo>
                  <a:lnTo>
                    <a:pt x="706522" y="727142"/>
                  </a:lnTo>
                  <a:lnTo>
                    <a:pt x="706522" y="1271563"/>
                  </a:lnTo>
                  <a:close/>
                  <a:moveTo>
                    <a:pt x="1306185" y="1690649"/>
                  </a:moveTo>
                  <a:lnTo>
                    <a:pt x="1654904" y="1036061"/>
                  </a:lnTo>
                  <a:lnTo>
                    <a:pt x="1306185" y="381469"/>
                  </a:lnTo>
                  <a:lnTo>
                    <a:pt x="1090234" y="381469"/>
                  </a:lnTo>
                  <a:lnTo>
                    <a:pt x="1438900" y="1036061"/>
                  </a:lnTo>
                  <a:lnTo>
                    <a:pt x="1090234" y="1690649"/>
                  </a:lnTo>
                  <a:lnTo>
                    <a:pt x="1306185" y="1690649"/>
                  </a:lnTo>
                  <a:close/>
                  <a:moveTo>
                    <a:pt x="2581808" y="828654"/>
                  </a:moveTo>
                  <a:cubicBezTo>
                    <a:pt x="2581808" y="1002989"/>
                    <a:pt x="2470789" y="1129505"/>
                    <a:pt x="2317883" y="1129505"/>
                  </a:cubicBezTo>
                  <a:cubicBezTo>
                    <a:pt x="2168980" y="1129505"/>
                    <a:pt x="2065011" y="1007262"/>
                    <a:pt x="2065011" y="832338"/>
                  </a:cubicBezTo>
                  <a:cubicBezTo>
                    <a:pt x="2065011" y="649088"/>
                    <a:pt x="2170314" y="525990"/>
                    <a:pt x="2327068" y="525990"/>
                  </a:cubicBezTo>
                  <a:cubicBezTo>
                    <a:pt x="2479444" y="525990"/>
                    <a:pt x="2581808" y="647590"/>
                    <a:pt x="2581808" y="828654"/>
                  </a:cubicBezTo>
                  <a:moveTo>
                    <a:pt x="2581808" y="1271563"/>
                  </a:moveTo>
                  <a:lnTo>
                    <a:pt x="2762608" y="1271563"/>
                  </a:lnTo>
                  <a:lnTo>
                    <a:pt x="2762608" y="0"/>
                  </a:lnTo>
                  <a:lnTo>
                    <a:pt x="2581808" y="0"/>
                  </a:lnTo>
                  <a:lnTo>
                    <a:pt x="2581808" y="476356"/>
                  </a:lnTo>
                  <a:cubicBezTo>
                    <a:pt x="2503431" y="397017"/>
                    <a:pt x="2412449" y="359885"/>
                    <a:pt x="2297581" y="359885"/>
                  </a:cubicBezTo>
                  <a:cubicBezTo>
                    <a:pt x="2057690" y="359885"/>
                    <a:pt x="1876785" y="562214"/>
                    <a:pt x="1876785" y="830470"/>
                  </a:cubicBezTo>
                  <a:cubicBezTo>
                    <a:pt x="1876785" y="1102145"/>
                    <a:pt x="2049839" y="1291865"/>
                    <a:pt x="2297581" y="1291865"/>
                  </a:cubicBezTo>
                  <a:cubicBezTo>
                    <a:pt x="2414371" y="1291865"/>
                    <a:pt x="2503061" y="1251959"/>
                    <a:pt x="2581808" y="1163217"/>
                  </a:cubicBezTo>
                  <a:lnTo>
                    <a:pt x="2581808" y="1271563"/>
                  </a:lnTo>
                  <a:close/>
                  <a:moveTo>
                    <a:pt x="3437445" y="542393"/>
                  </a:moveTo>
                  <a:lnTo>
                    <a:pt x="3460310" y="545331"/>
                  </a:lnTo>
                  <a:lnTo>
                    <a:pt x="3460310" y="359885"/>
                  </a:lnTo>
                  <a:lnTo>
                    <a:pt x="3406830" y="359885"/>
                  </a:lnTo>
                  <a:cubicBezTo>
                    <a:pt x="3341169" y="359885"/>
                    <a:pt x="3277430" y="380294"/>
                    <a:pt x="3231965" y="415877"/>
                  </a:cubicBezTo>
                  <a:cubicBezTo>
                    <a:pt x="3213690" y="430035"/>
                    <a:pt x="3199693" y="444353"/>
                    <a:pt x="3187194" y="462091"/>
                  </a:cubicBezTo>
                  <a:lnTo>
                    <a:pt x="3187194" y="380187"/>
                  </a:lnTo>
                  <a:lnTo>
                    <a:pt x="3006395" y="380187"/>
                  </a:lnTo>
                  <a:lnTo>
                    <a:pt x="3006395" y="1271563"/>
                  </a:lnTo>
                  <a:lnTo>
                    <a:pt x="3187194" y="1271563"/>
                  </a:lnTo>
                  <a:lnTo>
                    <a:pt x="3187194" y="819411"/>
                  </a:lnTo>
                  <a:cubicBezTo>
                    <a:pt x="3187194" y="727783"/>
                    <a:pt x="3198894" y="679915"/>
                    <a:pt x="3233517" y="629638"/>
                  </a:cubicBezTo>
                  <a:cubicBezTo>
                    <a:pt x="3272300" y="572310"/>
                    <a:pt x="3331926" y="540683"/>
                    <a:pt x="3401277" y="540683"/>
                  </a:cubicBezTo>
                  <a:cubicBezTo>
                    <a:pt x="3410356" y="540683"/>
                    <a:pt x="3423983" y="540683"/>
                    <a:pt x="3437445" y="542393"/>
                  </a:cubicBezTo>
                  <a:moveTo>
                    <a:pt x="4250980" y="826838"/>
                  </a:moveTo>
                  <a:cubicBezTo>
                    <a:pt x="4250980" y="1000692"/>
                    <a:pt x="4140918" y="1122077"/>
                    <a:pt x="3983364" y="1122077"/>
                  </a:cubicBezTo>
                  <a:cubicBezTo>
                    <a:pt x="3822174" y="1122077"/>
                    <a:pt x="3713875" y="1003466"/>
                    <a:pt x="3713875" y="826838"/>
                  </a:cubicBezTo>
                  <a:cubicBezTo>
                    <a:pt x="3713875" y="649088"/>
                    <a:pt x="3822920" y="529677"/>
                    <a:pt x="3985180" y="529677"/>
                  </a:cubicBezTo>
                  <a:cubicBezTo>
                    <a:pt x="4144179" y="529677"/>
                    <a:pt x="4250980" y="649088"/>
                    <a:pt x="4250980" y="826838"/>
                  </a:cubicBezTo>
                  <a:moveTo>
                    <a:pt x="4435464" y="828654"/>
                  </a:moveTo>
                  <a:cubicBezTo>
                    <a:pt x="4435464" y="557084"/>
                    <a:pt x="4246120" y="359885"/>
                    <a:pt x="3985180" y="359885"/>
                  </a:cubicBezTo>
                  <a:cubicBezTo>
                    <a:pt x="3716818" y="359885"/>
                    <a:pt x="3529338" y="551155"/>
                    <a:pt x="3529338" y="824916"/>
                  </a:cubicBezTo>
                  <a:cubicBezTo>
                    <a:pt x="3529338" y="1099848"/>
                    <a:pt x="3714521" y="1291865"/>
                    <a:pt x="3979622" y="1291865"/>
                  </a:cubicBezTo>
                  <a:cubicBezTo>
                    <a:pt x="4235272" y="1291865"/>
                    <a:pt x="4435464" y="1088418"/>
                    <a:pt x="4435464" y="828654"/>
                  </a:cubicBezTo>
                  <a:moveTo>
                    <a:pt x="5261608" y="828654"/>
                  </a:moveTo>
                  <a:cubicBezTo>
                    <a:pt x="5261608" y="909382"/>
                    <a:pt x="5239596" y="986748"/>
                    <a:pt x="5205508" y="1025854"/>
                  </a:cubicBezTo>
                  <a:cubicBezTo>
                    <a:pt x="5153150" y="1087026"/>
                    <a:pt x="5080062" y="1122077"/>
                    <a:pt x="5005052" y="1122077"/>
                  </a:cubicBezTo>
                  <a:cubicBezTo>
                    <a:pt x="4855296" y="1122077"/>
                    <a:pt x="4746675" y="996361"/>
                    <a:pt x="4746675" y="823153"/>
                  </a:cubicBezTo>
                  <a:cubicBezTo>
                    <a:pt x="4746675" y="650316"/>
                    <a:pt x="4854386" y="529677"/>
                    <a:pt x="5008683" y="529677"/>
                  </a:cubicBezTo>
                  <a:cubicBezTo>
                    <a:pt x="5078193" y="529677"/>
                    <a:pt x="5151652" y="563177"/>
                    <a:pt x="5200378" y="617081"/>
                  </a:cubicBezTo>
                  <a:cubicBezTo>
                    <a:pt x="5246112" y="667892"/>
                    <a:pt x="5261608" y="721266"/>
                    <a:pt x="5261608" y="828654"/>
                  </a:cubicBezTo>
                  <a:moveTo>
                    <a:pt x="5327264" y="1583314"/>
                  </a:moveTo>
                  <a:cubicBezTo>
                    <a:pt x="5409426" y="1504990"/>
                    <a:pt x="5446113" y="1404277"/>
                    <a:pt x="5446113" y="1256819"/>
                  </a:cubicBezTo>
                  <a:lnTo>
                    <a:pt x="5446113" y="380187"/>
                  </a:lnTo>
                  <a:lnTo>
                    <a:pt x="5265239" y="380187"/>
                  </a:lnTo>
                  <a:lnTo>
                    <a:pt x="5265239" y="488537"/>
                  </a:lnTo>
                  <a:cubicBezTo>
                    <a:pt x="5186005" y="398673"/>
                    <a:pt x="5100153" y="359885"/>
                    <a:pt x="4982875" y="359885"/>
                  </a:cubicBezTo>
                  <a:cubicBezTo>
                    <a:pt x="4866567" y="359885"/>
                    <a:pt x="4771201" y="395361"/>
                    <a:pt x="4699394" y="465190"/>
                  </a:cubicBezTo>
                  <a:cubicBezTo>
                    <a:pt x="4611080" y="549710"/>
                    <a:pt x="4558400" y="685574"/>
                    <a:pt x="4558400" y="828654"/>
                  </a:cubicBezTo>
                  <a:cubicBezTo>
                    <a:pt x="4558400" y="1092743"/>
                    <a:pt x="4736097" y="1291865"/>
                    <a:pt x="4971816" y="1291865"/>
                  </a:cubicBezTo>
                  <a:cubicBezTo>
                    <a:pt x="5092032" y="1291865"/>
                    <a:pt x="5185952" y="1246830"/>
                    <a:pt x="5265239" y="1150553"/>
                  </a:cubicBezTo>
                  <a:lnTo>
                    <a:pt x="5265239" y="1267931"/>
                  </a:lnTo>
                  <a:cubicBezTo>
                    <a:pt x="5265239" y="1350745"/>
                    <a:pt x="5245313" y="1414431"/>
                    <a:pt x="5206095" y="1457116"/>
                  </a:cubicBezTo>
                  <a:cubicBezTo>
                    <a:pt x="5162288" y="1504291"/>
                    <a:pt x="5083159" y="1533625"/>
                    <a:pt x="4999546" y="1533625"/>
                  </a:cubicBezTo>
                  <a:cubicBezTo>
                    <a:pt x="4932122" y="1533625"/>
                    <a:pt x="4856471" y="1514979"/>
                    <a:pt x="4811695" y="1487409"/>
                  </a:cubicBezTo>
                  <a:cubicBezTo>
                    <a:pt x="4788777" y="1471596"/>
                    <a:pt x="4771254" y="1455624"/>
                    <a:pt x="4733588" y="1416300"/>
                  </a:cubicBezTo>
                  <a:lnTo>
                    <a:pt x="4719215" y="1401339"/>
                  </a:lnTo>
                  <a:lnTo>
                    <a:pt x="4595103" y="1525451"/>
                  </a:lnTo>
                  <a:lnTo>
                    <a:pt x="4607819" y="1539824"/>
                  </a:lnTo>
                  <a:cubicBezTo>
                    <a:pt x="4703719" y="1647106"/>
                    <a:pt x="4835528" y="1701544"/>
                    <a:pt x="4999546" y="1701544"/>
                  </a:cubicBezTo>
                  <a:cubicBezTo>
                    <a:pt x="5134664" y="1701544"/>
                    <a:pt x="5247981" y="1660675"/>
                    <a:pt x="5327264" y="1583314"/>
                  </a:cubicBezTo>
                  <a:moveTo>
                    <a:pt x="6317923" y="747497"/>
                  </a:moveTo>
                  <a:lnTo>
                    <a:pt x="5805203" y="747497"/>
                  </a:lnTo>
                  <a:cubicBezTo>
                    <a:pt x="5814785" y="696051"/>
                    <a:pt x="5825267" y="667627"/>
                    <a:pt x="5845913" y="635144"/>
                  </a:cubicBezTo>
                  <a:cubicBezTo>
                    <a:pt x="5892024" y="566756"/>
                    <a:pt x="5971327" y="525990"/>
                    <a:pt x="6057989" y="525990"/>
                  </a:cubicBezTo>
                  <a:cubicBezTo>
                    <a:pt x="6144228" y="525990"/>
                    <a:pt x="6225702" y="566274"/>
                    <a:pt x="6275730" y="633487"/>
                  </a:cubicBezTo>
                  <a:cubicBezTo>
                    <a:pt x="6300453" y="669067"/>
                    <a:pt x="6312047" y="699841"/>
                    <a:pt x="6317923" y="747497"/>
                  </a:cubicBezTo>
                  <a:moveTo>
                    <a:pt x="6508188" y="872890"/>
                  </a:moveTo>
                  <a:cubicBezTo>
                    <a:pt x="6510094" y="851683"/>
                    <a:pt x="6510094" y="827426"/>
                    <a:pt x="6510094" y="815779"/>
                  </a:cubicBezTo>
                  <a:cubicBezTo>
                    <a:pt x="6510094" y="555909"/>
                    <a:pt x="6315700" y="359885"/>
                    <a:pt x="6057989" y="359885"/>
                  </a:cubicBezTo>
                  <a:cubicBezTo>
                    <a:pt x="5798109" y="359885"/>
                    <a:pt x="5609538" y="557084"/>
                    <a:pt x="5609538" y="828654"/>
                  </a:cubicBezTo>
                  <a:cubicBezTo>
                    <a:pt x="5609538" y="1097074"/>
                    <a:pt x="5800491" y="1291865"/>
                    <a:pt x="6063495" y="1291865"/>
                  </a:cubicBezTo>
                  <a:cubicBezTo>
                    <a:pt x="6235020" y="1291865"/>
                    <a:pt x="6386956" y="1199867"/>
                    <a:pt x="6460066" y="1051710"/>
                  </a:cubicBezTo>
                  <a:lnTo>
                    <a:pt x="6469966" y="1031572"/>
                  </a:lnTo>
                  <a:lnTo>
                    <a:pt x="6308923" y="971517"/>
                  </a:lnTo>
                  <a:lnTo>
                    <a:pt x="6300559" y="986689"/>
                  </a:lnTo>
                  <a:cubicBezTo>
                    <a:pt x="6254237" y="1068968"/>
                    <a:pt x="6161169" y="1122077"/>
                    <a:pt x="6063495" y="1122077"/>
                  </a:cubicBezTo>
                  <a:cubicBezTo>
                    <a:pt x="5977415" y="1122077"/>
                    <a:pt x="5901923" y="1083664"/>
                    <a:pt x="5850784" y="1013832"/>
                  </a:cubicBezTo>
                  <a:cubicBezTo>
                    <a:pt x="5821932" y="975900"/>
                    <a:pt x="5809438" y="945021"/>
                    <a:pt x="5802132" y="891377"/>
                  </a:cubicBezTo>
                  <a:lnTo>
                    <a:pt x="6506547" y="891377"/>
                  </a:lnTo>
                  <a:lnTo>
                    <a:pt x="6508188" y="872890"/>
                  </a:lnTo>
                  <a:close/>
                  <a:moveTo>
                    <a:pt x="7205139" y="1271563"/>
                  </a:moveTo>
                  <a:lnTo>
                    <a:pt x="7385928" y="1271563"/>
                  </a:lnTo>
                  <a:lnTo>
                    <a:pt x="7385928" y="677294"/>
                  </a:lnTo>
                  <a:cubicBezTo>
                    <a:pt x="7385928" y="554734"/>
                    <a:pt x="7365387" y="491422"/>
                    <a:pt x="7307154" y="435163"/>
                  </a:cubicBezTo>
                  <a:cubicBezTo>
                    <a:pt x="7252520" y="386599"/>
                    <a:pt x="7177557" y="359885"/>
                    <a:pt x="7096189" y="359885"/>
                  </a:cubicBezTo>
                  <a:cubicBezTo>
                    <a:pt x="7000739" y="359885"/>
                    <a:pt x="6929853" y="391193"/>
                    <a:pt x="6863625" y="463694"/>
                  </a:cubicBezTo>
                  <a:lnTo>
                    <a:pt x="6863625" y="380187"/>
                  </a:lnTo>
                  <a:lnTo>
                    <a:pt x="6682836" y="380187"/>
                  </a:lnTo>
                  <a:lnTo>
                    <a:pt x="6682836" y="1271563"/>
                  </a:lnTo>
                  <a:lnTo>
                    <a:pt x="6863625" y="1271563"/>
                  </a:lnTo>
                  <a:lnTo>
                    <a:pt x="6863625" y="732701"/>
                  </a:lnTo>
                  <a:cubicBezTo>
                    <a:pt x="6863625" y="667839"/>
                    <a:pt x="6876278" y="632147"/>
                    <a:pt x="6913971" y="591066"/>
                  </a:cubicBezTo>
                  <a:cubicBezTo>
                    <a:pt x="6951505" y="548481"/>
                    <a:pt x="7002433" y="525990"/>
                    <a:pt x="7061143" y="525990"/>
                  </a:cubicBezTo>
                  <a:cubicBezTo>
                    <a:pt x="7110748" y="525990"/>
                    <a:pt x="7155428" y="544744"/>
                    <a:pt x="7177769" y="575089"/>
                  </a:cubicBezTo>
                  <a:cubicBezTo>
                    <a:pt x="7197410" y="601215"/>
                    <a:pt x="7205139" y="638722"/>
                    <a:pt x="7205139" y="708709"/>
                  </a:cubicBezTo>
                  <a:lnTo>
                    <a:pt x="7205139" y="1271563"/>
                  </a:lnTo>
                  <a:close/>
                  <a:moveTo>
                    <a:pt x="7822309" y="162418"/>
                  </a:moveTo>
                  <a:cubicBezTo>
                    <a:pt x="7822309" y="99268"/>
                    <a:pt x="7774452" y="49847"/>
                    <a:pt x="7713412" y="49847"/>
                  </a:cubicBezTo>
                  <a:cubicBezTo>
                    <a:pt x="7650255" y="49847"/>
                    <a:pt x="7602662" y="97451"/>
                    <a:pt x="7602662" y="160549"/>
                  </a:cubicBezTo>
                  <a:cubicBezTo>
                    <a:pt x="7602662" y="223699"/>
                    <a:pt x="7649514" y="271303"/>
                    <a:pt x="7711560" y="271303"/>
                  </a:cubicBezTo>
                  <a:cubicBezTo>
                    <a:pt x="7773711" y="271303"/>
                    <a:pt x="7822309" y="223432"/>
                    <a:pt x="7822309" y="162418"/>
                  </a:cubicBezTo>
                  <a:moveTo>
                    <a:pt x="8704760" y="826838"/>
                  </a:moveTo>
                  <a:cubicBezTo>
                    <a:pt x="8704760" y="1000692"/>
                    <a:pt x="8594751" y="1122077"/>
                    <a:pt x="8437150" y="1122077"/>
                  </a:cubicBezTo>
                  <a:cubicBezTo>
                    <a:pt x="8276002" y="1122077"/>
                    <a:pt x="8167740" y="1003466"/>
                    <a:pt x="8167740" y="826838"/>
                  </a:cubicBezTo>
                  <a:cubicBezTo>
                    <a:pt x="8167740" y="649088"/>
                    <a:pt x="8276743" y="529677"/>
                    <a:pt x="8439003" y="529677"/>
                  </a:cubicBezTo>
                  <a:cubicBezTo>
                    <a:pt x="8597980" y="529677"/>
                    <a:pt x="8704760" y="649088"/>
                    <a:pt x="8704760" y="826838"/>
                  </a:cubicBezTo>
                  <a:moveTo>
                    <a:pt x="8889307" y="828654"/>
                  </a:moveTo>
                  <a:cubicBezTo>
                    <a:pt x="8889307" y="557084"/>
                    <a:pt x="8699942" y="359885"/>
                    <a:pt x="8439003" y="359885"/>
                  </a:cubicBezTo>
                  <a:cubicBezTo>
                    <a:pt x="8170652" y="359885"/>
                    <a:pt x="7983193" y="551155"/>
                    <a:pt x="7983193" y="824916"/>
                  </a:cubicBezTo>
                  <a:cubicBezTo>
                    <a:pt x="7983193" y="1099848"/>
                    <a:pt x="8168375" y="1291865"/>
                    <a:pt x="8433444" y="1291865"/>
                  </a:cubicBezTo>
                  <a:cubicBezTo>
                    <a:pt x="8689089" y="1291865"/>
                    <a:pt x="8889307" y="1088418"/>
                    <a:pt x="8889307" y="828654"/>
                  </a:cubicBezTo>
                  <a:moveTo>
                    <a:pt x="9658150" y="1197940"/>
                  </a:moveTo>
                  <a:cubicBezTo>
                    <a:pt x="9724854" y="1137144"/>
                    <a:pt x="9749630" y="1068539"/>
                    <a:pt x="9749630" y="944968"/>
                  </a:cubicBezTo>
                  <a:lnTo>
                    <a:pt x="9749630" y="380187"/>
                  </a:lnTo>
                  <a:lnTo>
                    <a:pt x="9566988" y="380187"/>
                  </a:lnTo>
                  <a:lnTo>
                    <a:pt x="9566988" y="944968"/>
                  </a:lnTo>
                  <a:cubicBezTo>
                    <a:pt x="9566988" y="1008437"/>
                    <a:pt x="9558835" y="1039587"/>
                    <a:pt x="9535012" y="1068222"/>
                  </a:cubicBezTo>
                  <a:cubicBezTo>
                    <a:pt x="9503831" y="1104284"/>
                    <a:pt x="9453009" y="1125815"/>
                    <a:pt x="9399010" y="1125815"/>
                  </a:cubicBezTo>
                  <a:cubicBezTo>
                    <a:pt x="9299060" y="1125815"/>
                    <a:pt x="9229233" y="1049947"/>
                    <a:pt x="9229233" y="941225"/>
                  </a:cubicBezTo>
                  <a:lnTo>
                    <a:pt x="9229233" y="380187"/>
                  </a:lnTo>
                  <a:lnTo>
                    <a:pt x="9048391" y="380187"/>
                  </a:lnTo>
                  <a:lnTo>
                    <a:pt x="9048391" y="944968"/>
                  </a:lnTo>
                  <a:cubicBezTo>
                    <a:pt x="9048391" y="1054330"/>
                    <a:pt x="9078249" y="1136392"/>
                    <a:pt x="9139659" y="1195965"/>
                  </a:cubicBezTo>
                  <a:cubicBezTo>
                    <a:pt x="9204563" y="1256925"/>
                    <a:pt x="9299113" y="1291865"/>
                    <a:pt x="9399010" y="1291865"/>
                  </a:cubicBezTo>
                  <a:cubicBezTo>
                    <a:pt x="9499701" y="1291865"/>
                    <a:pt x="9591763" y="1258529"/>
                    <a:pt x="9658150" y="1197945"/>
                  </a:cubicBezTo>
                  <a:moveTo>
                    <a:pt x="10385594" y="653307"/>
                  </a:moveTo>
                  <a:lnTo>
                    <a:pt x="10567335" y="653307"/>
                  </a:lnTo>
                  <a:lnTo>
                    <a:pt x="10566383" y="632041"/>
                  </a:lnTo>
                  <a:cubicBezTo>
                    <a:pt x="10558442" y="459099"/>
                    <a:pt x="10442768" y="359885"/>
                    <a:pt x="10249009" y="359885"/>
                  </a:cubicBezTo>
                  <a:cubicBezTo>
                    <a:pt x="10058003" y="359885"/>
                    <a:pt x="9929730" y="467434"/>
                    <a:pt x="9929730" y="627446"/>
                  </a:cubicBezTo>
                  <a:cubicBezTo>
                    <a:pt x="9929730" y="765666"/>
                    <a:pt x="10016922" y="850825"/>
                    <a:pt x="10212587" y="903611"/>
                  </a:cubicBezTo>
                  <a:cubicBezTo>
                    <a:pt x="10347689" y="937858"/>
                    <a:pt x="10391099" y="968955"/>
                    <a:pt x="10391099" y="1031625"/>
                  </a:cubicBezTo>
                  <a:cubicBezTo>
                    <a:pt x="10391099" y="1095576"/>
                    <a:pt x="10336730" y="1136874"/>
                    <a:pt x="10252715" y="1136874"/>
                  </a:cubicBezTo>
                  <a:cubicBezTo>
                    <a:pt x="10155517" y="1136874"/>
                    <a:pt x="10102102" y="1093384"/>
                    <a:pt x="10093843" y="1007579"/>
                  </a:cubicBezTo>
                  <a:lnTo>
                    <a:pt x="10092096" y="989257"/>
                  </a:lnTo>
                  <a:lnTo>
                    <a:pt x="9913054" y="989257"/>
                  </a:lnTo>
                  <a:lnTo>
                    <a:pt x="9915066" y="1011216"/>
                  </a:lnTo>
                  <a:cubicBezTo>
                    <a:pt x="9930789" y="1194843"/>
                    <a:pt x="10047626" y="1291865"/>
                    <a:pt x="10252715" y="1291865"/>
                  </a:cubicBezTo>
                  <a:cubicBezTo>
                    <a:pt x="10445839" y="1291865"/>
                    <a:pt x="10575647" y="1184371"/>
                    <a:pt x="10575647" y="1024303"/>
                  </a:cubicBezTo>
                  <a:cubicBezTo>
                    <a:pt x="10575647" y="956667"/>
                    <a:pt x="10548542" y="890948"/>
                    <a:pt x="10501426" y="843879"/>
                  </a:cubicBezTo>
                  <a:cubicBezTo>
                    <a:pt x="10457485" y="799913"/>
                    <a:pt x="10397028" y="770955"/>
                    <a:pt x="10285750" y="740769"/>
                  </a:cubicBezTo>
                  <a:cubicBezTo>
                    <a:pt x="10125660" y="696474"/>
                    <a:pt x="10110519" y="671471"/>
                    <a:pt x="10110519" y="616440"/>
                  </a:cubicBezTo>
                  <a:cubicBezTo>
                    <a:pt x="10110519" y="553823"/>
                    <a:pt x="10161447" y="514877"/>
                    <a:pt x="10243398" y="514877"/>
                  </a:cubicBezTo>
                  <a:cubicBezTo>
                    <a:pt x="10329795" y="514877"/>
                    <a:pt x="10385594" y="557672"/>
                    <a:pt x="10385594" y="623762"/>
                  </a:cubicBezTo>
                  <a:lnTo>
                    <a:pt x="10385594" y="653307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</p:grp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DFBD3275-9FB8-1BA7-C85D-5CAAC944C9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3" y="843892"/>
            <a:ext cx="6818374" cy="5511338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C854F1AF-0039-A023-6DAC-BB79D6FB09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073EE57-7478-7EF5-8766-BF44F88FD6E4}"/>
              </a:ext>
            </a:extLst>
          </p:cNvPr>
          <p:cNvGrpSpPr/>
          <p:nvPr userDrawn="1"/>
        </p:nvGrpSpPr>
        <p:grpSpPr>
          <a:xfrm rot="5400000">
            <a:off x="-3617983" y="3323777"/>
            <a:ext cx="6854690" cy="213756"/>
            <a:chOff x="-1" y="-286346"/>
            <a:chExt cx="5820565" cy="181508"/>
          </a:xfrm>
        </p:grpSpPr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8249DEE8-E8B6-2038-1753-BE417B6B61B4}"/>
                </a:ext>
              </a:extLst>
            </p:cNvPr>
            <p:cNvGrpSpPr/>
            <p:nvPr userDrawn="1"/>
          </p:nvGrpSpPr>
          <p:grpSpPr>
            <a:xfrm rot="16200000">
              <a:off x="363007" y="-649354"/>
              <a:ext cx="181503" cy="907520"/>
              <a:chOff x="1319213" y="-1663170"/>
              <a:chExt cx="181503" cy="907520"/>
            </a:xfrm>
          </p:grpSpPr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E8D782BA-78BF-23E0-DFD9-0B04D4E475CF}"/>
                  </a:ext>
                </a:extLst>
              </p:cNvPr>
              <p:cNvSpPr/>
              <p:nvPr/>
            </p:nvSpPr>
            <p:spPr>
              <a:xfrm>
                <a:off x="1319213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44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48EDD6E0-E274-A375-27B4-F2080109DA07}"/>
                  </a:ext>
                </a:extLst>
              </p:cNvPr>
              <p:cNvSpPr/>
              <p:nvPr/>
            </p:nvSpPr>
            <p:spPr>
              <a:xfrm>
                <a:off x="1319213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69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DADCCC5C-AB04-DA60-270E-F431DAA485C4}"/>
                  </a:ext>
                </a:extLst>
              </p:cNvPr>
              <p:cNvSpPr/>
              <p:nvPr/>
            </p:nvSpPr>
            <p:spPr>
              <a:xfrm>
                <a:off x="1319213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FE8F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A7ADB9F4-29AA-F91B-7F81-4C2BA8DC1F23}"/>
                  </a:ext>
                </a:extLst>
              </p:cNvPr>
              <p:cNvSpPr/>
              <p:nvPr/>
            </p:nvSpPr>
            <p:spPr>
              <a:xfrm>
                <a:off x="1319213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B4B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67EDFFA0-5939-25E5-68FD-53C39A70095D}"/>
                  </a:ext>
                </a:extLst>
              </p:cNvPr>
              <p:cNvSpPr/>
              <p:nvPr/>
            </p:nvSpPr>
            <p:spPr>
              <a:xfrm>
                <a:off x="1319213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D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80FE5535-A67D-9AFE-18E8-37E5CF9F3837}"/>
                </a:ext>
              </a:extLst>
            </p:cNvPr>
            <p:cNvGrpSpPr/>
            <p:nvPr userDrawn="1"/>
          </p:nvGrpSpPr>
          <p:grpSpPr>
            <a:xfrm rot="16200000">
              <a:off x="1345616" y="-649354"/>
              <a:ext cx="181503" cy="907520"/>
              <a:chOff x="1319213" y="-664912"/>
              <a:chExt cx="181503" cy="907520"/>
            </a:xfrm>
          </p:grpSpPr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B153D7AE-00A4-E6CC-CD17-A6490AE5FDC8}"/>
                  </a:ext>
                </a:extLst>
              </p:cNvPr>
              <p:cNvSpPr/>
              <p:nvPr/>
            </p:nvSpPr>
            <p:spPr>
              <a:xfrm>
                <a:off x="1319213" y="-66491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6400A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04F840FA-583D-E601-C1AC-EE0272492153}"/>
                  </a:ext>
                </a:extLst>
              </p:cNvPr>
              <p:cNvSpPr/>
              <p:nvPr/>
            </p:nvSpPr>
            <p:spPr>
              <a:xfrm>
                <a:off x="1319213" y="-483404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33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58503F84-910B-2915-00F0-B75743AC7F1A}"/>
                  </a:ext>
                </a:extLst>
              </p:cNvPr>
              <p:cNvSpPr/>
              <p:nvPr/>
            </p:nvSpPr>
            <p:spPr>
              <a:xfrm>
                <a:off x="1319213" y="-30189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266C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9D069E03-3BA9-13E8-A5BA-8350C67B48F2}"/>
                  </a:ext>
                </a:extLst>
              </p:cNvPr>
              <p:cNvSpPr/>
              <p:nvPr/>
            </p:nvSpPr>
            <p:spPr>
              <a:xfrm>
                <a:off x="1319213" y="-120387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199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4E6012A1-B5FD-A83B-4E91-66DE6D58525D}"/>
                  </a:ext>
                </a:extLst>
              </p:cNvPr>
              <p:cNvSpPr/>
              <p:nvPr/>
            </p:nvSpPr>
            <p:spPr>
              <a:xfrm>
                <a:off x="1319213" y="6110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0CC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27DDF24C-9335-7D93-9380-7FA5126E5007}"/>
                </a:ext>
              </a:extLst>
            </p:cNvPr>
            <p:cNvGrpSpPr/>
            <p:nvPr userDrawn="1"/>
          </p:nvGrpSpPr>
          <p:grpSpPr>
            <a:xfrm rot="16200000">
              <a:off x="2328223" y="-649352"/>
              <a:ext cx="181508" cy="907520"/>
              <a:chOff x="1682219" y="-1663170"/>
              <a:chExt cx="181508" cy="907520"/>
            </a:xfrm>
          </p:grpSpPr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DD8A6C3E-D766-2691-9E81-6F4654C2555F}"/>
                  </a:ext>
                </a:extLst>
              </p:cNvPr>
              <p:cNvSpPr/>
              <p:nvPr/>
            </p:nvSpPr>
            <p:spPr>
              <a:xfrm>
                <a:off x="1682219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CC8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EF5C317C-D580-CC03-D95B-8AB50C18E50F}"/>
                  </a:ext>
                </a:extLst>
              </p:cNvPr>
              <p:cNvSpPr/>
              <p:nvPr/>
            </p:nvSpPr>
            <p:spPr>
              <a:xfrm>
                <a:off x="1682224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3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F9D2C806-177E-000D-5330-68E468EAA399}"/>
                  </a:ext>
                </a:extLst>
              </p:cNvPr>
              <p:cNvSpPr/>
              <p:nvPr/>
            </p:nvSpPr>
            <p:spPr>
              <a:xfrm>
                <a:off x="1682224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ADE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DA264BA7-985E-F98C-3C92-FD1839E749C0}"/>
                  </a:ext>
                </a:extLst>
              </p:cNvPr>
              <p:cNvSpPr/>
              <p:nvPr/>
            </p:nvSpPr>
            <p:spPr>
              <a:xfrm>
                <a:off x="1682224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E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31B12A78-9CF9-6F3F-99B9-197316B37AA1}"/>
                  </a:ext>
                </a:extLst>
              </p:cNvPr>
              <p:cNvSpPr/>
              <p:nvPr/>
            </p:nvSpPr>
            <p:spPr>
              <a:xfrm>
                <a:off x="1682219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8F4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2E3F3669-8C28-5A0C-C4F0-04DDC2D7BE60}"/>
                </a:ext>
              </a:extLst>
            </p:cNvPr>
            <p:cNvGrpSpPr/>
            <p:nvPr userDrawn="1"/>
          </p:nvGrpSpPr>
          <p:grpSpPr>
            <a:xfrm rot="16200000">
              <a:off x="5276052" y="-649354"/>
              <a:ext cx="181503" cy="907520"/>
              <a:chOff x="2226738" y="-1663170"/>
              <a:chExt cx="181503" cy="907520"/>
            </a:xfrm>
          </p:grpSpPr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64F785A8-5E83-2407-DE36-0B644FC8829D}"/>
                  </a:ext>
                </a:extLst>
              </p:cNvPr>
              <p:cNvSpPr/>
              <p:nvPr/>
            </p:nvSpPr>
            <p:spPr>
              <a:xfrm>
                <a:off x="2226738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3A94396F-FEBA-0314-9E7A-71C8450C4969}"/>
                  </a:ext>
                </a:extLst>
              </p:cNvPr>
              <p:cNvSpPr/>
              <p:nvPr/>
            </p:nvSpPr>
            <p:spPr>
              <a:xfrm>
                <a:off x="2226738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5757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1A130A34-BA7F-A2FC-2AAD-020D919B017D}"/>
                  </a:ext>
                </a:extLst>
              </p:cNvPr>
              <p:cNvSpPr/>
              <p:nvPr/>
            </p:nvSpPr>
            <p:spPr>
              <a:xfrm>
                <a:off x="2226738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8787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5FC43DE1-25FD-0746-2599-673834C86158}"/>
                  </a:ext>
                </a:extLst>
              </p:cNvPr>
              <p:cNvSpPr/>
              <p:nvPr/>
            </p:nvSpPr>
            <p:spPr>
              <a:xfrm>
                <a:off x="2226738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2B2B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0903C642-B7CF-67E7-7371-FD28E9BB8B21}"/>
                  </a:ext>
                </a:extLst>
              </p:cNvPr>
              <p:cNvSpPr/>
              <p:nvPr/>
            </p:nvSpPr>
            <p:spPr>
              <a:xfrm>
                <a:off x="2226738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DA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FA68F232-AE02-9074-3501-66A7F8776260}"/>
                </a:ext>
              </a:extLst>
            </p:cNvPr>
            <p:cNvGrpSpPr/>
            <p:nvPr userDrawn="1"/>
          </p:nvGrpSpPr>
          <p:grpSpPr>
            <a:xfrm rot="16200000">
              <a:off x="3310834" y="-649354"/>
              <a:ext cx="181503" cy="907520"/>
              <a:chOff x="1863727" y="-1663170"/>
              <a:chExt cx="181503" cy="907520"/>
            </a:xfrm>
          </p:grpSpPr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7A3EE7C2-7D89-EFC4-68A4-52F782031E7C}"/>
                  </a:ext>
                </a:extLst>
              </p:cNvPr>
              <p:cNvSpPr/>
              <p:nvPr/>
            </p:nvSpPr>
            <p:spPr>
              <a:xfrm>
                <a:off x="1863727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2A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14C86983-EC61-22FB-3D54-598E9B087BC6}"/>
                  </a:ext>
                </a:extLst>
              </p:cNvPr>
              <p:cNvSpPr/>
              <p:nvPr/>
            </p:nvSpPr>
            <p:spPr>
              <a:xfrm>
                <a:off x="1863727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5DB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2A802532-C7C1-59C2-ECA8-8C23A68202FD}"/>
                  </a:ext>
                </a:extLst>
              </p:cNvPr>
              <p:cNvSpPr/>
              <p:nvPr/>
            </p:nvSpPr>
            <p:spPr>
              <a:xfrm>
                <a:off x="1863727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8E4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839E2827-2A90-66F3-A80E-5498A1C87BA9}"/>
                  </a:ext>
                </a:extLst>
              </p:cNvPr>
              <p:cNvSpPr/>
              <p:nvPr/>
            </p:nvSpPr>
            <p:spPr>
              <a:xfrm>
                <a:off x="1863727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ED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D4D359D5-B9E9-5C9B-AF5E-6285FA71E9F4}"/>
                  </a:ext>
                </a:extLst>
              </p:cNvPr>
              <p:cNvSpPr/>
              <p:nvPr/>
            </p:nvSpPr>
            <p:spPr>
              <a:xfrm>
                <a:off x="1863727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DF6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77ED4FA-536B-68F9-40A8-0262589976C6}"/>
                </a:ext>
              </a:extLst>
            </p:cNvPr>
            <p:cNvGrpSpPr/>
            <p:nvPr userDrawn="1"/>
          </p:nvGrpSpPr>
          <p:grpSpPr>
            <a:xfrm rot="16200000">
              <a:off x="4293441" y="-649352"/>
              <a:ext cx="181508" cy="907520"/>
              <a:chOff x="2045230" y="-1663170"/>
              <a:chExt cx="181508" cy="907520"/>
            </a:xfrm>
          </p:grpSpPr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ACBF81C6-BE44-5BC5-85CA-2C5F3C30AE7C}"/>
                  </a:ext>
                </a:extLst>
              </p:cNvPr>
              <p:cNvSpPr/>
              <p:nvPr/>
            </p:nvSpPr>
            <p:spPr>
              <a:xfrm>
                <a:off x="2045230" y="-937158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9F7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AEAF1152-5198-0FF6-5738-9C0C42F2729C}"/>
                  </a:ext>
                </a:extLst>
              </p:cNvPr>
              <p:cNvSpPr/>
              <p:nvPr/>
            </p:nvSpPr>
            <p:spPr>
              <a:xfrm>
                <a:off x="2045230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FED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293526D9-75C9-30DB-B969-7E8C23047C38}"/>
                  </a:ext>
                </a:extLst>
              </p:cNvPr>
              <p:cNvSpPr/>
              <p:nvPr/>
            </p:nvSpPr>
            <p:spPr>
              <a:xfrm>
                <a:off x="2045230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5E3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000A0F49-3341-71FA-52B4-72E2F46CE562}"/>
                  </a:ext>
                </a:extLst>
              </p:cNvPr>
              <p:cNvSpPr/>
              <p:nvPr/>
            </p:nvSpPr>
            <p:spPr>
              <a:xfrm>
                <a:off x="2045230" y="-1663170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CFC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FC2586F3-A5C4-0745-0654-56568109A9B8}"/>
                  </a:ext>
                </a:extLst>
              </p:cNvPr>
              <p:cNvSpPr/>
              <p:nvPr/>
            </p:nvSpPr>
            <p:spPr>
              <a:xfrm>
                <a:off x="2045230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BD9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8026882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 (red) and Text 2/3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Grafik 48">
            <a:extLst>
              <a:ext uri="{FF2B5EF4-FFF2-40B4-BE49-F238E27FC236}">
                <a16:creationId xmlns:a16="http://schemas.microsoft.com/office/drawing/2014/main" id="{F3C835A9-22A3-0535-5962-C5636FB94C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6000" y="0"/>
            <a:ext cx="4055999" cy="6857999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63000" y="843891"/>
            <a:ext cx="2770186" cy="55106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964FA6FD-B18C-64CF-40CD-9C782D91C43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415668" y="503483"/>
            <a:ext cx="1289916" cy="180000"/>
            <a:chOff x="-161925" y="-1630732"/>
            <a:chExt cx="12193587" cy="1701544"/>
          </a:xfrm>
          <a:solidFill>
            <a:schemeClr val="bg1"/>
          </a:solidFill>
        </p:grpSpPr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0BAA8276-ECA1-E336-BCFB-04B3EC51B77A}"/>
                </a:ext>
              </a:extLst>
            </p:cNvPr>
            <p:cNvSpPr/>
            <p:nvPr/>
          </p:nvSpPr>
          <p:spPr>
            <a:xfrm>
              <a:off x="10774928" y="-1247713"/>
              <a:ext cx="1256734" cy="356304"/>
            </a:xfrm>
            <a:custGeom>
              <a:avLst/>
              <a:gdLst>
                <a:gd name="connsiteX0" fmla="*/ 1226823 w 1256734"/>
                <a:gd name="connsiteY0" fmla="*/ 269166 h 356304"/>
                <a:gd name="connsiteX1" fmla="*/ 1133491 w 1256734"/>
                <a:gd name="connsiteY1" fmla="*/ 316610 h 356304"/>
                <a:gd name="connsiteX2" fmla="*/ 1010248 w 1256734"/>
                <a:gd name="connsiteY2" fmla="*/ 178448 h 356304"/>
                <a:gd name="connsiteX3" fmla="*/ 1131426 w 1256734"/>
                <a:gd name="connsiteY3" fmla="*/ 39696 h 356304"/>
                <a:gd name="connsiteX4" fmla="*/ 1226823 w 1256734"/>
                <a:gd name="connsiteY4" fmla="*/ 86659 h 356304"/>
                <a:gd name="connsiteX5" fmla="*/ 1256735 w 1256734"/>
                <a:gd name="connsiteY5" fmla="*/ 58823 h 356304"/>
                <a:gd name="connsiteX6" fmla="*/ 1216553 w 1256734"/>
                <a:gd name="connsiteY6" fmla="*/ 23241 h 356304"/>
                <a:gd name="connsiteX7" fmla="*/ 1130420 w 1256734"/>
                <a:gd name="connsiteY7" fmla="*/ 0 h 356304"/>
                <a:gd name="connsiteX8" fmla="*/ 965885 w 1256734"/>
                <a:gd name="connsiteY8" fmla="*/ 178448 h 356304"/>
                <a:gd name="connsiteX9" fmla="*/ 1011783 w 1256734"/>
                <a:gd name="connsiteY9" fmla="*/ 305763 h 356304"/>
                <a:gd name="connsiteX10" fmla="*/ 1129892 w 1256734"/>
                <a:gd name="connsiteY10" fmla="*/ 356305 h 356304"/>
                <a:gd name="connsiteX11" fmla="*/ 1255676 w 1256734"/>
                <a:gd name="connsiteY11" fmla="*/ 298071 h 356304"/>
                <a:gd name="connsiteX12" fmla="*/ 1226823 w 1256734"/>
                <a:gd name="connsiteY12" fmla="*/ 269166 h 356304"/>
                <a:gd name="connsiteX13" fmla="*/ 679216 w 1256734"/>
                <a:gd name="connsiteY13" fmla="*/ 197999 h 356304"/>
                <a:gd name="connsiteX14" fmla="*/ 846824 w 1256734"/>
                <a:gd name="connsiteY14" fmla="*/ 197999 h 356304"/>
                <a:gd name="connsiteX15" fmla="*/ 846824 w 1256734"/>
                <a:gd name="connsiteY15" fmla="*/ 350105 h 356304"/>
                <a:gd name="connsiteX16" fmla="*/ 890075 w 1256734"/>
                <a:gd name="connsiteY16" fmla="*/ 350105 h 356304"/>
                <a:gd name="connsiteX17" fmla="*/ 890075 w 1256734"/>
                <a:gd name="connsiteY17" fmla="*/ 6198 h 356304"/>
                <a:gd name="connsiteX18" fmla="*/ 846824 w 1256734"/>
                <a:gd name="connsiteY18" fmla="*/ 6198 h 356304"/>
                <a:gd name="connsiteX19" fmla="*/ 846824 w 1256734"/>
                <a:gd name="connsiteY19" fmla="*/ 160920 h 356304"/>
                <a:gd name="connsiteX20" fmla="*/ 679216 w 1256734"/>
                <a:gd name="connsiteY20" fmla="*/ 160920 h 356304"/>
                <a:gd name="connsiteX21" fmla="*/ 679216 w 1256734"/>
                <a:gd name="connsiteY21" fmla="*/ 6198 h 356304"/>
                <a:gd name="connsiteX22" fmla="*/ 635912 w 1256734"/>
                <a:gd name="connsiteY22" fmla="*/ 6198 h 356304"/>
                <a:gd name="connsiteX23" fmla="*/ 635912 w 1256734"/>
                <a:gd name="connsiteY23" fmla="*/ 350105 h 356304"/>
                <a:gd name="connsiteX24" fmla="*/ 679216 w 1256734"/>
                <a:gd name="connsiteY24" fmla="*/ 350105 h 356304"/>
                <a:gd name="connsiteX25" fmla="*/ 679216 w 1256734"/>
                <a:gd name="connsiteY25" fmla="*/ 197999 h 356304"/>
                <a:gd name="connsiteX26" fmla="*/ 392018 w 1256734"/>
                <a:gd name="connsiteY26" fmla="*/ 40230 h 356304"/>
                <a:gd name="connsiteX27" fmla="*/ 476563 w 1256734"/>
                <a:gd name="connsiteY27" fmla="*/ 75813 h 356304"/>
                <a:gd name="connsiteX28" fmla="*/ 515792 w 1256734"/>
                <a:gd name="connsiteY28" fmla="*/ 181011 h 356304"/>
                <a:gd name="connsiteX29" fmla="*/ 482758 w 1256734"/>
                <a:gd name="connsiteY29" fmla="*/ 275365 h 356304"/>
                <a:gd name="connsiteX30" fmla="*/ 390960 w 1256734"/>
                <a:gd name="connsiteY30" fmla="*/ 316610 h 356304"/>
                <a:gd name="connsiteX31" fmla="*/ 267239 w 1256734"/>
                <a:gd name="connsiteY31" fmla="*/ 178448 h 356304"/>
                <a:gd name="connsiteX32" fmla="*/ 392018 w 1256734"/>
                <a:gd name="connsiteY32" fmla="*/ 40230 h 356304"/>
                <a:gd name="connsiteX33" fmla="*/ 393077 w 1256734"/>
                <a:gd name="connsiteY33" fmla="*/ 0 h 356304"/>
                <a:gd name="connsiteX34" fmla="*/ 222876 w 1256734"/>
                <a:gd name="connsiteY34" fmla="*/ 179994 h 356304"/>
                <a:gd name="connsiteX35" fmla="*/ 258982 w 1256734"/>
                <a:gd name="connsiteY35" fmla="*/ 291872 h 356304"/>
                <a:gd name="connsiteX36" fmla="*/ 392018 w 1256734"/>
                <a:gd name="connsiteY36" fmla="*/ 356305 h 356304"/>
                <a:gd name="connsiteX37" fmla="*/ 501868 w 1256734"/>
                <a:gd name="connsiteY37" fmla="*/ 315059 h 356304"/>
                <a:gd name="connsiteX38" fmla="*/ 560155 w 1256734"/>
                <a:gd name="connsiteY38" fmla="*/ 181545 h 356304"/>
                <a:gd name="connsiteX39" fmla="*/ 519921 w 1256734"/>
                <a:gd name="connsiteY39" fmla="*/ 59304 h 356304"/>
                <a:gd name="connsiteX40" fmla="*/ 393077 w 1256734"/>
                <a:gd name="connsiteY40" fmla="*/ 0 h 356304"/>
                <a:gd name="connsiteX41" fmla="*/ 43306 w 1256734"/>
                <a:gd name="connsiteY41" fmla="*/ 310946 h 356304"/>
                <a:gd name="connsiteX42" fmla="*/ 43306 w 1256734"/>
                <a:gd name="connsiteY42" fmla="*/ 6198 h 356304"/>
                <a:gd name="connsiteX43" fmla="*/ 0 w 1256734"/>
                <a:gd name="connsiteY43" fmla="*/ 6198 h 356304"/>
                <a:gd name="connsiteX44" fmla="*/ 0 w 1256734"/>
                <a:gd name="connsiteY44" fmla="*/ 350105 h 356304"/>
                <a:gd name="connsiteX45" fmla="*/ 194237 w 1256734"/>
                <a:gd name="connsiteY45" fmla="*/ 350105 h 356304"/>
                <a:gd name="connsiteX46" fmla="*/ 194237 w 1256734"/>
                <a:gd name="connsiteY46" fmla="*/ 310946 h 356304"/>
                <a:gd name="connsiteX47" fmla="*/ 43306 w 1256734"/>
                <a:gd name="connsiteY47" fmla="*/ 310946 h 35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256734" h="356304">
                  <a:moveTo>
                    <a:pt x="1226823" y="269166"/>
                  </a:moveTo>
                  <a:cubicBezTo>
                    <a:pt x="1200037" y="301650"/>
                    <a:pt x="1171131" y="316610"/>
                    <a:pt x="1133491" y="316610"/>
                  </a:cubicBezTo>
                  <a:cubicBezTo>
                    <a:pt x="1062341" y="316610"/>
                    <a:pt x="1010248" y="258371"/>
                    <a:pt x="1010248" y="178448"/>
                  </a:cubicBezTo>
                  <a:cubicBezTo>
                    <a:pt x="1010248" y="97985"/>
                    <a:pt x="1061334" y="39696"/>
                    <a:pt x="1131426" y="39696"/>
                  </a:cubicBezTo>
                  <a:cubicBezTo>
                    <a:pt x="1168008" y="39696"/>
                    <a:pt x="1193313" y="52092"/>
                    <a:pt x="1226823" y="86659"/>
                  </a:cubicBezTo>
                  <a:lnTo>
                    <a:pt x="1256735" y="58823"/>
                  </a:lnTo>
                  <a:cubicBezTo>
                    <a:pt x="1239742" y="40230"/>
                    <a:pt x="1230424" y="32003"/>
                    <a:pt x="1216553" y="23241"/>
                  </a:cubicBezTo>
                  <a:cubicBezTo>
                    <a:pt x="1191725" y="8281"/>
                    <a:pt x="1161338" y="0"/>
                    <a:pt x="1130420" y="0"/>
                  </a:cubicBezTo>
                  <a:cubicBezTo>
                    <a:pt x="1035500" y="0"/>
                    <a:pt x="965885" y="75279"/>
                    <a:pt x="965885" y="178448"/>
                  </a:cubicBezTo>
                  <a:cubicBezTo>
                    <a:pt x="965885" y="226369"/>
                    <a:pt x="982931" y="273279"/>
                    <a:pt x="1011783" y="305763"/>
                  </a:cubicBezTo>
                  <a:cubicBezTo>
                    <a:pt x="1041165" y="338782"/>
                    <a:pt x="1081928" y="356305"/>
                    <a:pt x="1129892" y="356305"/>
                  </a:cubicBezTo>
                  <a:cubicBezTo>
                    <a:pt x="1182990" y="356305"/>
                    <a:pt x="1221107" y="338782"/>
                    <a:pt x="1255676" y="298071"/>
                  </a:cubicBezTo>
                  <a:lnTo>
                    <a:pt x="1226823" y="269166"/>
                  </a:lnTo>
                  <a:close/>
                  <a:moveTo>
                    <a:pt x="679216" y="197999"/>
                  </a:moveTo>
                  <a:lnTo>
                    <a:pt x="846824" y="197999"/>
                  </a:lnTo>
                  <a:lnTo>
                    <a:pt x="846824" y="350105"/>
                  </a:lnTo>
                  <a:lnTo>
                    <a:pt x="890075" y="350105"/>
                  </a:lnTo>
                  <a:lnTo>
                    <a:pt x="890075" y="6198"/>
                  </a:lnTo>
                  <a:lnTo>
                    <a:pt x="846824" y="6198"/>
                  </a:lnTo>
                  <a:lnTo>
                    <a:pt x="846824" y="160920"/>
                  </a:lnTo>
                  <a:lnTo>
                    <a:pt x="679216" y="160920"/>
                  </a:lnTo>
                  <a:lnTo>
                    <a:pt x="679216" y="6198"/>
                  </a:lnTo>
                  <a:lnTo>
                    <a:pt x="635912" y="6198"/>
                  </a:lnTo>
                  <a:lnTo>
                    <a:pt x="635912" y="350105"/>
                  </a:lnTo>
                  <a:lnTo>
                    <a:pt x="679216" y="350105"/>
                  </a:lnTo>
                  <a:lnTo>
                    <a:pt x="679216" y="197999"/>
                  </a:lnTo>
                  <a:close/>
                  <a:moveTo>
                    <a:pt x="392018" y="40230"/>
                  </a:moveTo>
                  <a:cubicBezTo>
                    <a:pt x="422459" y="40230"/>
                    <a:pt x="453904" y="53641"/>
                    <a:pt x="476563" y="75813"/>
                  </a:cubicBezTo>
                  <a:cubicBezTo>
                    <a:pt x="503404" y="101618"/>
                    <a:pt x="515792" y="135117"/>
                    <a:pt x="515792" y="181011"/>
                  </a:cubicBezTo>
                  <a:cubicBezTo>
                    <a:pt x="515792" y="216057"/>
                    <a:pt x="502874" y="253189"/>
                    <a:pt x="482758" y="275365"/>
                  </a:cubicBezTo>
                  <a:cubicBezTo>
                    <a:pt x="459569" y="301650"/>
                    <a:pt x="425530" y="316610"/>
                    <a:pt x="390960" y="316610"/>
                  </a:cubicBezTo>
                  <a:cubicBezTo>
                    <a:pt x="319809" y="316610"/>
                    <a:pt x="267239" y="258371"/>
                    <a:pt x="267239" y="178448"/>
                  </a:cubicBezTo>
                  <a:cubicBezTo>
                    <a:pt x="267239" y="99000"/>
                    <a:pt x="320338" y="40230"/>
                    <a:pt x="392018" y="40230"/>
                  </a:cubicBezTo>
                  <a:moveTo>
                    <a:pt x="393077" y="0"/>
                  </a:moveTo>
                  <a:cubicBezTo>
                    <a:pt x="295615" y="0"/>
                    <a:pt x="222876" y="77362"/>
                    <a:pt x="222876" y="179994"/>
                  </a:cubicBezTo>
                  <a:cubicBezTo>
                    <a:pt x="222876" y="223273"/>
                    <a:pt x="235318" y="261956"/>
                    <a:pt x="258982" y="291872"/>
                  </a:cubicBezTo>
                  <a:cubicBezTo>
                    <a:pt x="290957" y="332101"/>
                    <a:pt x="340985" y="356305"/>
                    <a:pt x="392018" y="356305"/>
                  </a:cubicBezTo>
                  <a:cubicBezTo>
                    <a:pt x="431723" y="356305"/>
                    <a:pt x="470899" y="341879"/>
                    <a:pt x="501868" y="315059"/>
                  </a:cubicBezTo>
                  <a:cubicBezTo>
                    <a:pt x="539509" y="283110"/>
                    <a:pt x="560155" y="235131"/>
                    <a:pt x="560155" y="181545"/>
                  </a:cubicBezTo>
                  <a:cubicBezTo>
                    <a:pt x="560155" y="129935"/>
                    <a:pt x="547715" y="91788"/>
                    <a:pt x="519921" y="59304"/>
                  </a:cubicBezTo>
                  <a:cubicBezTo>
                    <a:pt x="486886" y="21691"/>
                    <a:pt x="440988" y="0"/>
                    <a:pt x="393077" y="0"/>
                  </a:cubicBezTo>
                  <a:moveTo>
                    <a:pt x="43306" y="310946"/>
                  </a:moveTo>
                  <a:lnTo>
                    <a:pt x="43306" y="6198"/>
                  </a:lnTo>
                  <a:lnTo>
                    <a:pt x="0" y="6198"/>
                  </a:lnTo>
                  <a:lnTo>
                    <a:pt x="0" y="350105"/>
                  </a:lnTo>
                  <a:lnTo>
                    <a:pt x="194237" y="350105"/>
                  </a:lnTo>
                  <a:lnTo>
                    <a:pt x="194237" y="310946"/>
                  </a:lnTo>
                  <a:lnTo>
                    <a:pt x="43306" y="310946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B77DA9CA-81E3-9C95-68A3-BFADB2CD7E3C}"/>
                </a:ext>
              </a:extLst>
            </p:cNvPr>
            <p:cNvSpPr/>
            <p:nvPr/>
          </p:nvSpPr>
          <p:spPr>
            <a:xfrm>
              <a:off x="-161925" y="-1630732"/>
              <a:ext cx="10575647" cy="1701544"/>
            </a:xfrm>
            <a:custGeom>
              <a:avLst/>
              <a:gdLst>
                <a:gd name="connsiteX0" fmla="*/ 7802033 w 10575647"/>
                <a:gd name="connsiteY0" fmla="*/ 380187 h 1701544"/>
                <a:gd name="connsiteX1" fmla="*/ 7621138 w 10575647"/>
                <a:gd name="connsiteY1" fmla="*/ 380187 h 1701544"/>
                <a:gd name="connsiteX2" fmla="*/ 7621138 w 10575647"/>
                <a:gd name="connsiteY2" fmla="*/ 1271563 h 1701544"/>
                <a:gd name="connsiteX3" fmla="*/ 7802033 w 10575647"/>
                <a:gd name="connsiteY3" fmla="*/ 1271563 h 1701544"/>
                <a:gd name="connsiteX4" fmla="*/ 7802033 w 10575647"/>
                <a:gd name="connsiteY4" fmla="*/ 380187 h 1701544"/>
                <a:gd name="connsiteX5" fmla="*/ 706522 w 10575647"/>
                <a:gd name="connsiteY5" fmla="*/ 1271563 h 1701544"/>
                <a:gd name="connsiteX6" fmla="*/ 902065 w 10575647"/>
                <a:gd name="connsiteY6" fmla="*/ 1271563 h 1701544"/>
                <a:gd name="connsiteX7" fmla="*/ 902065 w 10575647"/>
                <a:gd name="connsiteY7" fmla="*/ 0 h 1701544"/>
                <a:gd name="connsiteX8" fmla="*/ 706522 w 10575647"/>
                <a:gd name="connsiteY8" fmla="*/ 0 h 1701544"/>
                <a:gd name="connsiteX9" fmla="*/ 706522 w 10575647"/>
                <a:gd name="connsiteY9" fmla="*/ 553717 h 1701544"/>
                <a:gd name="connsiteX10" fmla="*/ 195543 w 10575647"/>
                <a:gd name="connsiteY10" fmla="*/ 553717 h 1701544"/>
                <a:gd name="connsiteX11" fmla="*/ 195543 w 10575647"/>
                <a:gd name="connsiteY11" fmla="*/ 0 h 1701544"/>
                <a:gd name="connsiteX12" fmla="*/ 0 w 10575647"/>
                <a:gd name="connsiteY12" fmla="*/ 0 h 1701544"/>
                <a:gd name="connsiteX13" fmla="*/ 0 w 10575647"/>
                <a:gd name="connsiteY13" fmla="*/ 1271563 h 1701544"/>
                <a:gd name="connsiteX14" fmla="*/ 195543 w 10575647"/>
                <a:gd name="connsiteY14" fmla="*/ 1271563 h 1701544"/>
                <a:gd name="connsiteX15" fmla="*/ 195543 w 10575647"/>
                <a:gd name="connsiteY15" fmla="*/ 727142 h 1701544"/>
                <a:gd name="connsiteX16" fmla="*/ 706522 w 10575647"/>
                <a:gd name="connsiteY16" fmla="*/ 727142 h 1701544"/>
                <a:gd name="connsiteX17" fmla="*/ 706522 w 10575647"/>
                <a:gd name="connsiteY17" fmla="*/ 1271563 h 1701544"/>
                <a:gd name="connsiteX18" fmla="*/ 1306185 w 10575647"/>
                <a:gd name="connsiteY18" fmla="*/ 1690649 h 1701544"/>
                <a:gd name="connsiteX19" fmla="*/ 1654904 w 10575647"/>
                <a:gd name="connsiteY19" fmla="*/ 1036061 h 1701544"/>
                <a:gd name="connsiteX20" fmla="*/ 1306185 w 10575647"/>
                <a:gd name="connsiteY20" fmla="*/ 381469 h 1701544"/>
                <a:gd name="connsiteX21" fmla="*/ 1090234 w 10575647"/>
                <a:gd name="connsiteY21" fmla="*/ 381469 h 1701544"/>
                <a:gd name="connsiteX22" fmla="*/ 1438900 w 10575647"/>
                <a:gd name="connsiteY22" fmla="*/ 1036061 h 1701544"/>
                <a:gd name="connsiteX23" fmla="*/ 1090234 w 10575647"/>
                <a:gd name="connsiteY23" fmla="*/ 1690649 h 1701544"/>
                <a:gd name="connsiteX24" fmla="*/ 1306185 w 10575647"/>
                <a:gd name="connsiteY24" fmla="*/ 1690649 h 1701544"/>
                <a:gd name="connsiteX25" fmla="*/ 2581808 w 10575647"/>
                <a:gd name="connsiteY25" fmla="*/ 828654 h 1701544"/>
                <a:gd name="connsiteX26" fmla="*/ 2317883 w 10575647"/>
                <a:gd name="connsiteY26" fmla="*/ 1129505 h 1701544"/>
                <a:gd name="connsiteX27" fmla="*/ 2065011 w 10575647"/>
                <a:gd name="connsiteY27" fmla="*/ 832338 h 1701544"/>
                <a:gd name="connsiteX28" fmla="*/ 2327068 w 10575647"/>
                <a:gd name="connsiteY28" fmla="*/ 525990 h 1701544"/>
                <a:gd name="connsiteX29" fmla="*/ 2581808 w 10575647"/>
                <a:gd name="connsiteY29" fmla="*/ 828654 h 1701544"/>
                <a:gd name="connsiteX30" fmla="*/ 2581808 w 10575647"/>
                <a:gd name="connsiteY30" fmla="*/ 1271563 h 1701544"/>
                <a:gd name="connsiteX31" fmla="*/ 2762608 w 10575647"/>
                <a:gd name="connsiteY31" fmla="*/ 1271563 h 1701544"/>
                <a:gd name="connsiteX32" fmla="*/ 2762608 w 10575647"/>
                <a:gd name="connsiteY32" fmla="*/ 0 h 1701544"/>
                <a:gd name="connsiteX33" fmla="*/ 2581808 w 10575647"/>
                <a:gd name="connsiteY33" fmla="*/ 0 h 1701544"/>
                <a:gd name="connsiteX34" fmla="*/ 2581808 w 10575647"/>
                <a:gd name="connsiteY34" fmla="*/ 476356 h 1701544"/>
                <a:gd name="connsiteX35" fmla="*/ 2297581 w 10575647"/>
                <a:gd name="connsiteY35" fmla="*/ 359885 h 1701544"/>
                <a:gd name="connsiteX36" fmla="*/ 1876785 w 10575647"/>
                <a:gd name="connsiteY36" fmla="*/ 830470 h 1701544"/>
                <a:gd name="connsiteX37" fmla="*/ 2297581 w 10575647"/>
                <a:gd name="connsiteY37" fmla="*/ 1291865 h 1701544"/>
                <a:gd name="connsiteX38" fmla="*/ 2581808 w 10575647"/>
                <a:gd name="connsiteY38" fmla="*/ 1163217 h 1701544"/>
                <a:gd name="connsiteX39" fmla="*/ 2581808 w 10575647"/>
                <a:gd name="connsiteY39" fmla="*/ 1271563 h 1701544"/>
                <a:gd name="connsiteX40" fmla="*/ 3437445 w 10575647"/>
                <a:gd name="connsiteY40" fmla="*/ 542393 h 1701544"/>
                <a:gd name="connsiteX41" fmla="*/ 3460310 w 10575647"/>
                <a:gd name="connsiteY41" fmla="*/ 545331 h 1701544"/>
                <a:gd name="connsiteX42" fmla="*/ 3460310 w 10575647"/>
                <a:gd name="connsiteY42" fmla="*/ 359885 h 1701544"/>
                <a:gd name="connsiteX43" fmla="*/ 3406830 w 10575647"/>
                <a:gd name="connsiteY43" fmla="*/ 359885 h 1701544"/>
                <a:gd name="connsiteX44" fmla="*/ 3231965 w 10575647"/>
                <a:gd name="connsiteY44" fmla="*/ 415877 h 1701544"/>
                <a:gd name="connsiteX45" fmla="*/ 3187194 w 10575647"/>
                <a:gd name="connsiteY45" fmla="*/ 462091 h 1701544"/>
                <a:gd name="connsiteX46" fmla="*/ 3187194 w 10575647"/>
                <a:gd name="connsiteY46" fmla="*/ 380187 h 1701544"/>
                <a:gd name="connsiteX47" fmla="*/ 3006395 w 10575647"/>
                <a:gd name="connsiteY47" fmla="*/ 380187 h 1701544"/>
                <a:gd name="connsiteX48" fmla="*/ 3006395 w 10575647"/>
                <a:gd name="connsiteY48" fmla="*/ 1271563 h 1701544"/>
                <a:gd name="connsiteX49" fmla="*/ 3187194 w 10575647"/>
                <a:gd name="connsiteY49" fmla="*/ 1271563 h 1701544"/>
                <a:gd name="connsiteX50" fmla="*/ 3187194 w 10575647"/>
                <a:gd name="connsiteY50" fmla="*/ 819411 h 1701544"/>
                <a:gd name="connsiteX51" fmla="*/ 3233517 w 10575647"/>
                <a:gd name="connsiteY51" fmla="*/ 629638 h 1701544"/>
                <a:gd name="connsiteX52" fmla="*/ 3401277 w 10575647"/>
                <a:gd name="connsiteY52" fmla="*/ 540683 h 1701544"/>
                <a:gd name="connsiteX53" fmla="*/ 3437445 w 10575647"/>
                <a:gd name="connsiteY53" fmla="*/ 542393 h 1701544"/>
                <a:gd name="connsiteX54" fmla="*/ 4250980 w 10575647"/>
                <a:gd name="connsiteY54" fmla="*/ 826838 h 1701544"/>
                <a:gd name="connsiteX55" fmla="*/ 3983364 w 10575647"/>
                <a:gd name="connsiteY55" fmla="*/ 1122077 h 1701544"/>
                <a:gd name="connsiteX56" fmla="*/ 3713875 w 10575647"/>
                <a:gd name="connsiteY56" fmla="*/ 826838 h 1701544"/>
                <a:gd name="connsiteX57" fmla="*/ 3985180 w 10575647"/>
                <a:gd name="connsiteY57" fmla="*/ 529677 h 1701544"/>
                <a:gd name="connsiteX58" fmla="*/ 4250980 w 10575647"/>
                <a:gd name="connsiteY58" fmla="*/ 826838 h 1701544"/>
                <a:gd name="connsiteX59" fmla="*/ 4435464 w 10575647"/>
                <a:gd name="connsiteY59" fmla="*/ 828654 h 1701544"/>
                <a:gd name="connsiteX60" fmla="*/ 3985180 w 10575647"/>
                <a:gd name="connsiteY60" fmla="*/ 359885 h 1701544"/>
                <a:gd name="connsiteX61" fmla="*/ 3529338 w 10575647"/>
                <a:gd name="connsiteY61" fmla="*/ 824916 h 1701544"/>
                <a:gd name="connsiteX62" fmla="*/ 3979622 w 10575647"/>
                <a:gd name="connsiteY62" fmla="*/ 1291865 h 1701544"/>
                <a:gd name="connsiteX63" fmla="*/ 4435464 w 10575647"/>
                <a:gd name="connsiteY63" fmla="*/ 828654 h 1701544"/>
                <a:gd name="connsiteX64" fmla="*/ 5261608 w 10575647"/>
                <a:gd name="connsiteY64" fmla="*/ 828654 h 1701544"/>
                <a:gd name="connsiteX65" fmla="*/ 5205508 w 10575647"/>
                <a:gd name="connsiteY65" fmla="*/ 1025854 h 1701544"/>
                <a:gd name="connsiteX66" fmla="*/ 5005052 w 10575647"/>
                <a:gd name="connsiteY66" fmla="*/ 1122077 h 1701544"/>
                <a:gd name="connsiteX67" fmla="*/ 4746675 w 10575647"/>
                <a:gd name="connsiteY67" fmla="*/ 823153 h 1701544"/>
                <a:gd name="connsiteX68" fmla="*/ 5008683 w 10575647"/>
                <a:gd name="connsiteY68" fmla="*/ 529677 h 1701544"/>
                <a:gd name="connsiteX69" fmla="*/ 5200378 w 10575647"/>
                <a:gd name="connsiteY69" fmla="*/ 617081 h 1701544"/>
                <a:gd name="connsiteX70" fmla="*/ 5261608 w 10575647"/>
                <a:gd name="connsiteY70" fmla="*/ 828654 h 1701544"/>
                <a:gd name="connsiteX71" fmla="*/ 5327264 w 10575647"/>
                <a:gd name="connsiteY71" fmla="*/ 1583314 h 1701544"/>
                <a:gd name="connsiteX72" fmla="*/ 5446113 w 10575647"/>
                <a:gd name="connsiteY72" fmla="*/ 1256819 h 1701544"/>
                <a:gd name="connsiteX73" fmla="*/ 5446113 w 10575647"/>
                <a:gd name="connsiteY73" fmla="*/ 380187 h 1701544"/>
                <a:gd name="connsiteX74" fmla="*/ 5265239 w 10575647"/>
                <a:gd name="connsiteY74" fmla="*/ 380187 h 1701544"/>
                <a:gd name="connsiteX75" fmla="*/ 5265239 w 10575647"/>
                <a:gd name="connsiteY75" fmla="*/ 488537 h 1701544"/>
                <a:gd name="connsiteX76" fmla="*/ 4982875 w 10575647"/>
                <a:gd name="connsiteY76" fmla="*/ 359885 h 1701544"/>
                <a:gd name="connsiteX77" fmla="*/ 4699394 w 10575647"/>
                <a:gd name="connsiteY77" fmla="*/ 465190 h 1701544"/>
                <a:gd name="connsiteX78" fmla="*/ 4558400 w 10575647"/>
                <a:gd name="connsiteY78" fmla="*/ 828654 h 1701544"/>
                <a:gd name="connsiteX79" fmla="*/ 4971816 w 10575647"/>
                <a:gd name="connsiteY79" fmla="*/ 1291865 h 1701544"/>
                <a:gd name="connsiteX80" fmla="*/ 5265239 w 10575647"/>
                <a:gd name="connsiteY80" fmla="*/ 1150553 h 1701544"/>
                <a:gd name="connsiteX81" fmla="*/ 5265239 w 10575647"/>
                <a:gd name="connsiteY81" fmla="*/ 1267931 h 1701544"/>
                <a:gd name="connsiteX82" fmla="*/ 5206095 w 10575647"/>
                <a:gd name="connsiteY82" fmla="*/ 1457116 h 1701544"/>
                <a:gd name="connsiteX83" fmla="*/ 4999546 w 10575647"/>
                <a:gd name="connsiteY83" fmla="*/ 1533625 h 1701544"/>
                <a:gd name="connsiteX84" fmla="*/ 4811695 w 10575647"/>
                <a:gd name="connsiteY84" fmla="*/ 1487409 h 1701544"/>
                <a:gd name="connsiteX85" fmla="*/ 4733588 w 10575647"/>
                <a:gd name="connsiteY85" fmla="*/ 1416300 h 1701544"/>
                <a:gd name="connsiteX86" fmla="*/ 4719215 w 10575647"/>
                <a:gd name="connsiteY86" fmla="*/ 1401339 h 1701544"/>
                <a:gd name="connsiteX87" fmla="*/ 4595103 w 10575647"/>
                <a:gd name="connsiteY87" fmla="*/ 1525451 h 1701544"/>
                <a:gd name="connsiteX88" fmla="*/ 4607819 w 10575647"/>
                <a:gd name="connsiteY88" fmla="*/ 1539824 h 1701544"/>
                <a:gd name="connsiteX89" fmla="*/ 4999546 w 10575647"/>
                <a:gd name="connsiteY89" fmla="*/ 1701544 h 1701544"/>
                <a:gd name="connsiteX90" fmla="*/ 5327264 w 10575647"/>
                <a:gd name="connsiteY90" fmla="*/ 1583314 h 1701544"/>
                <a:gd name="connsiteX91" fmla="*/ 6317923 w 10575647"/>
                <a:gd name="connsiteY91" fmla="*/ 747497 h 1701544"/>
                <a:gd name="connsiteX92" fmla="*/ 5805203 w 10575647"/>
                <a:gd name="connsiteY92" fmla="*/ 747497 h 1701544"/>
                <a:gd name="connsiteX93" fmla="*/ 5845913 w 10575647"/>
                <a:gd name="connsiteY93" fmla="*/ 635144 h 1701544"/>
                <a:gd name="connsiteX94" fmla="*/ 6057989 w 10575647"/>
                <a:gd name="connsiteY94" fmla="*/ 525990 h 1701544"/>
                <a:gd name="connsiteX95" fmla="*/ 6275730 w 10575647"/>
                <a:gd name="connsiteY95" fmla="*/ 633487 h 1701544"/>
                <a:gd name="connsiteX96" fmla="*/ 6317923 w 10575647"/>
                <a:gd name="connsiteY96" fmla="*/ 747497 h 1701544"/>
                <a:gd name="connsiteX97" fmla="*/ 6508188 w 10575647"/>
                <a:gd name="connsiteY97" fmla="*/ 872890 h 1701544"/>
                <a:gd name="connsiteX98" fmla="*/ 6510094 w 10575647"/>
                <a:gd name="connsiteY98" fmla="*/ 815779 h 1701544"/>
                <a:gd name="connsiteX99" fmla="*/ 6057989 w 10575647"/>
                <a:gd name="connsiteY99" fmla="*/ 359885 h 1701544"/>
                <a:gd name="connsiteX100" fmla="*/ 5609538 w 10575647"/>
                <a:gd name="connsiteY100" fmla="*/ 828654 h 1701544"/>
                <a:gd name="connsiteX101" fmla="*/ 6063495 w 10575647"/>
                <a:gd name="connsiteY101" fmla="*/ 1291865 h 1701544"/>
                <a:gd name="connsiteX102" fmla="*/ 6460066 w 10575647"/>
                <a:gd name="connsiteY102" fmla="*/ 1051710 h 1701544"/>
                <a:gd name="connsiteX103" fmla="*/ 6469966 w 10575647"/>
                <a:gd name="connsiteY103" fmla="*/ 1031572 h 1701544"/>
                <a:gd name="connsiteX104" fmla="*/ 6308923 w 10575647"/>
                <a:gd name="connsiteY104" fmla="*/ 971517 h 1701544"/>
                <a:gd name="connsiteX105" fmla="*/ 6300559 w 10575647"/>
                <a:gd name="connsiteY105" fmla="*/ 986689 h 1701544"/>
                <a:gd name="connsiteX106" fmla="*/ 6063495 w 10575647"/>
                <a:gd name="connsiteY106" fmla="*/ 1122077 h 1701544"/>
                <a:gd name="connsiteX107" fmla="*/ 5850784 w 10575647"/>
                <a:gd name="connsiteY107" fmla="*/ 1013832 h 1701544"/>
                <a:gd name="connsiteX108" fmla="*/ 5802132 w 10575647"/>
                <a:gd name="connsiteY108" fmla="*/ 891377 h 1701544"/>
                <a:gd name="connsiteX109" fmla="*/ 6506547 w 10575647"/>
                <a:gd name="connsiteY109" fmla="*/ 891377 h 1701544"/>
                <a:gd name="connsiteX110" fmla="*/ 6508188 w 10575647"/>
                <a:gd name="connsiteY110" fmla="*/ 872890 h 1701544"/>
                <a:gd name="connsiteX111" fmla="*/ 7205139 w 10575647"/>
                <a:gd name="connsiteY111" fmla="*/ 1271563 h 1701544"/>
                <a:gd name="connsiteX112" fmla="*/ 7385928 w 10575647"/>
                <a:gd name="connsiteY112" fmla="*/ 1271563 h 1701544"/>
                <a:gd name="connsiteX113" fmla="*/ 7385928 w 10575647"/>
                <a:gd name="connsiteY113" fmla="*/ 677294 h 1701544"/>
                <a:gd name="connsiteX114" fmla="*/ 7307154 w 10575647"/>
                <a:gd name="connsiteY114" fmla="*/ 435163 h 1701544"/>
                <a:gd name="connsiteX115" fmla="*/ 7096189 w 10575647"/>
                <a:gd name="connsiteY115" fmla="*/ 359885 h 1701544"/>
                <a:gd name="connsiteX116" fmla="*/ 6863625 w 10575647"/>
                <a:gd name="connsiteY116" fmla="*/ 463694 h 1701544"/>
                <a:gd name="connsiteX117" fmla="*/ 6863625 w 10575647"/>
                <a:gd name="connsiteY117" fmla="*/ 380187 h 1701544"/>
                <a:gd name="connsiteX118" fmla="*/ 6682836 w 10575647"/>
                <a:gd name="connsiteY118" fmla="*/ 380187 h 1701544"/>
                <a:gd name="connsiteX119" fmla="*/ 6682836 w 10575647"/>
                <a:gd name="connsiteY119" fmla="*/ 1271563 h 1701544"/>
                <a:gd name="connsiteX120" fmla="*/ 6863625 w 10575647"/>
                <a:gd name="connsiteY120" fmla="*/ 1271563 h 1701544"/>
                <a:gd name="connsiteX121" fmla="*/ 6863625 w 10575647"/>
                <a:gd name="connsiteY121" fmla="*/ 732701 h 1701544"/>
                <a:gd name="connsiteX122" fmla="*/ 6913971 w 10575647"/>
                <a:gd name="connsiteY122" fmla="*/ 591066 h 1701544"/>
                <a:gd name="connsiteX123" fmla="*/ 7061143 w 10575647"/>
                <a:gd name="connsiteY123" fmla="*/ 525990 h 1701544"/>
                <a:gd name="connsiteX124" fmla="*/ 7177769 w 10575647"/>
                <a:gd name="connsiteY124" fmla="*/ 575089 h 1701544"/>
                <a:gd name="connsiteX125" fmla="*/ 7205139 w 10575647"/>
                <a:gd name="connsiteY125" fmla="*/ 708709 h 1701544"/>
                <a:gd name="connsiteX126" fmla="*/ 7205139 w 10575647"/>
                <a:gd name="connsiteY126" fmla="*/ 1271563 h 1701544"/>
                <a:gd name="connsiteX127" fmla="*/ 7822309 w 10575647"/>
                <a:gd name="connsiteY127" fmla="*/ 162418 h 1701544"/>
                <a:gd name="connsiteX128" fmla="*/ 7713412 w 10575647"/>
                <a:gd name="connsiteY128" fmla="*/ 49847 h 1701544"/>
                <a:gd name="connsiteX129" fmla="*/ 7602662 w 10575647"/>
                <a:gd name="connsiteY129" fmla="*/ 160549 h 1701544"/>
                <a:gd name="connsiteX130" fmla="*/ 7711560 w 10575647"/>
                <a:gd name="connsiteY130" fmla="*/ 271303 h 1701544"/>
                <a:gd name="connsiteX131" fmla="*/ 7822309 w 10575647"/>
                <a:gd name="connsiteY131" fmla="*/ 162418 h 1701544"/>
                <a:gd name="connsiteX132" fmla="*/ 8704760 w 10575647"/>
                <a:gd name="connsiteY132" fmla="*/ 826838 h 1701544"/>
                <a:gd name="connsiteX133" fmla="*/ 8437150 w 10575647"/>
                <a:gd name="connsiteY133" fmla="*/ 1122077 h 1701544"/>
                <a:gd name="connsiteX134" fmla="*/ 8167740 w 10575647"/>
                <a:gd name="connsiteY134" fmla="*/ 826838 h 1701544"/>
                <a:gd name="connsiteX135" fmla="*/ 8439003 w 10575647"/>
                <a:gd name="connsiteY135" fmla="*/ 529677 h 1701544"/>
                <a:gd name="connsiteX136" fmla="*/ 8704760 w 10575647"/>
                <a:gd name="connsiteY136" fmla="*/ 826838 h 1701544"/>
                <a:gd name="connsiteX137" fmla="*/ 8889307 w 10575647"/>
                <a:gd name="connsiteY137" fmla="*/ 828654 h 1701544"/>
                <a:gd name="connsiteX138" fmla="*/ 8439003 w 10575647"/>
                <a:gd name="connsiteY138" fmla="*/ 359885 h 1701544"/>
                <a:gd name="connsiteX139" fmla="*/ 7983193 w 10575647"/>
                <a:gd name="connsiteY139" fmla="*/ 824916 h 1701544"/>
                <a:gd name="connsiteX140" fmla="*/ 8433444 w 10575647"/>
                <a:gd name="connsiteY140" fmla="*/ 1291865 h 1701544"/>
                <a:gd name="connsiteX141" fmla="*/ 8889307 w 10575647"/>
                <a:gd name="connsiteY141" fmla="*/ 828654 h 1701544"/>
                <a:gd name="connsiteX142" fmla="*/ 9658150 w 10575647"/>
                <a:gd name="connsiteY142" fmla="*/ 1197940 h 1701544"/>
                <a:gd name="connsiteX143" fmla="*/ 9749630 w 10575647"/>
                <a:gd name="connsiteY143" fmla="*/ 944968 h 1701544"/>
                <a:gd name="connsiteX144" fmla="*/ 9749630 w 10575647"/>
                <a:gd name="connsiteY144" fmla="*/ 380187 h 1701544"/>
                <a:gd name="connsiteX145" fmla="*/ 9566988 w 10575647"/>
                <a:gd name="connsiteY145" fmla="*/ 380187 h 1701544"/>
                <a:gd name="connsiteX146" fmla="*/ 9566988 w 10575647"/>
                <a:gd name="connsiteY146" fmla="*/ 944968 h 1701544"/>
                <a:gd name="connsiteX147" fmla="*/ 9535012 w 10575647"/>
                <a:gd name="connsiteY147" fmla="*/ 1068222 h 1701544"/>
                <a:gd name="connsiteX148" fmla="*/ 9399010 w 10575647"/>
                <a:gd name="connsiteY148" fmla="*/ 1125815 h 1701544"/>
                <a:gd name="connsiteX149" fmla="*/ 9229233 w 10575647"/>
                <a:gd name="connsiteY149" fmla="*/ 941225 h 1701544"/>
                <a:gd name="connsiteX150" fmla="*/ 9229233 w 10575647"/>
                <a:gd name="connsiteY150" fmla="*/ 380187 h 1701544"/>
                <a:gd name="connsiteX151" fmla="*/ 9048391 w 10575647"/>
                <a:gd name="connsiteY151" fmla="*/ 380187 h 1701544"/>
                <a:gd name="connsiteX152" fmla="*/ 9048391 w 10575647"/>
                <a:gd name="connsiteY152" fmla="*/ 944968 h 1701544"/>
                <a:gd name="connsiteX153" fmla="*/ 9139659 w 10575647"/>
                <a:gd name="connsiteY153" fmla="*/ 1195965 h 1701544"/>
                <a:gd name="connsiteX154" fmla="*/ 9399010 w 10575647"/>
                <a:gd name="connsiteY154" fmla="*/ 1291865 h 1701544"/>
                <a:gd name="connsiteX155" fmla="*/ 9658150 w 10575647"/>
                <a:gd name="connsiteY155" fmla="*/ 1197945 h 1701544"/>
                <a:gd name="connsiteX156" fmla="*/ 10385594 w 10575647"/>
                <a:gd name="connsiteY156" fmla="*/ 653307 h 1701544"/>
                <a:gd name="connsiteX157" fmla="*/ 10567335 w 10575647"/>
                <a:gd name="connsiteY157" fmla="*/ 653307 h 1701544"/>
                <a:gd name="connsiteX158" fmla="*/ 10566383 w 10575647"/>
                <a:gd name="connsiteY158" fmla="*/ 632041 h 1701544"/>
                <a:gd name="connsiteX159" fmla="*/ 10249009 w 10575647"/>
                <a:gd name="connsiteY159" fmla="*/ 359885 h 1701544"/>
                <a:gd name="connsiteX160" fmla="*/ 9929730 w 10575647"/>
                <a:gd name="connsiteY160" fmla="*/ 627446 h 1701544"/>
                <a:gd name="connsiteX161" fmla="*/ 10212587 w 10575647"/>
                <a:gd name="connsiteY161" fmla="*/ 903611 h 1701544"/>
                <a:gd name="connsiteX162" fmla="*/ 10391099 w 10575647"/>
                <a:gd name="connsiteY162" fmla="*/ 1031625 h 1701544"/>
                <a:gd name="connsiteX163" fmla="*/ 10252715 w 10575647"/>
                <a:gd name="connsiteY163" fmla="*/ 1136874 h 1701544"/>
                <a:gd name="connsiteX164" fmla="*/ 10093843 w 10575647"/>
                <a:gd name="connsiteY164" fmla="*/ 1007579 h 1701544"/>
                <a:gd name="connsiteX165" fmla="*/ 10092096 w 10575647"/>
                <a:gd name="connsiteY165" fmla="*/ 989257 h 1701544"/>
                <a:gd name="connsiteX166" fmla="*/ 9913054 w 10575647"/>
                <a:gd name="connsiteY166" fmla="*/ 989257 h 1701544"/>
                <a:gd name="connsiteX167" fmla="*/ 9915066 w 10575647"/>
                <a:gd name="connsiteY167" fmla="*/ 1011216 h 1701544"/>
                <a:gd name="connsiteX168" fmla="*/ 10252715 w 10575647"/>
                <a:gd name="connsiteY168" fmla="*/ 1291865 h 1701544"/>
                <a:gd name="connsiteX169" fmla="*/ 10575647 w 10575647"/>
                <a:gd name="connsiteY169" fmla="*/ 1024303 h 1701544"/>
                <a:gd name="connsiteX170" fmla="*/ 10501426 w 10575647"/>
                <a:gd name="connsiteY170" fmla="*/ 843879 h 1701544"/>
                <a:gd name="connsiteX171" fmla="*/ 10285750 w 10575647"/>
                <a:gd name="connsiteY171" fmla="*/ 740769 h 1701544"/>
                <a:gd name="connsiteX172" fmla="*/ 10110519 w 10575647"/>
                <a:gd name="connsiteY172" fmla="*/ 616440 h 1701544"/>
                <a:gd name="connsiteX173" fmla="*/ 10243398 w 10575647"/>
                <a:gd name="connsiteY173" fmla="*/ 514877 h 1701544"/>
                <a:gd name="connsiteX174" fmla="*/ 10385594 w 10575647"/>
                <a:gd name="connsiteY174" fmla="*/ 623762 h 1701544"/>
                <a:gd name="connsiteX175" fmla="*/ 10385594 w 10575647"/>
                <a:gd name="connsiteY175" fmla="*/ 653307 h 170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10575647" h="1701544">
                  <a:moveTo>
                    <a:pt x="7802033" y="380187"/>
                  </a:moveTo>
                  <a:lnTo>
                    <a:pt x="7621138" y="380187"/>
                  </a:lnTo>
                  <a:lnTo>
                    <a:pt x="7621138" y="1271563"/>
                  </a:lnTo>
                  <a:lnTo>
                    <a:pt x="7802033" y="1271563"/>
                  </a:lnTo>
                  <a:lnTo>
                    <a:pt x="7802033" y="380187"/>
                  </a:lnTo>
                  <a:close/>
                  <a:moveTo>
                    <a:pt x="706522" y="1271563"/>
                  </a:moveTo>
                  <a:lnTo>
                    <a:pt x="902065" y="1271563"/>
                  </a:lnTo>
                  <a:lnTo>
                    <a:pt x="902065" y="0"/>
                  </a:lnTo>
                  <a:lnTo>
                    <a:pt x="706522" y="0"/>
                  </a:lnTo>
                  <a:lnTo>
                    <a:pt x="706522" y="553717"/>
                  </a:lnTo>
                  <a:lnTo>
                    <a:pt x="195543" y="553717"/>
                  </a:lnTo>
                  <a:lnTo>
                    <a:pt x="195543" y="0"/>
                  </a:lnTo>
                  <a:lnTo>
                    <a:pt x="0" y="0"/>
                  </a:lnTo>
                  <a:lnTo>
                    <a:pt x="0" y="1271563"/>
                  </a:lnTo>
                  <a:lnTo>
                    <a:pt x="195543" y="1271563"/>
                  </a:lnTo>
                  <a:lnTo>
                    <a:pt x="195543" y="727142"/>
                  </a:lnTo>
                  <a:lnTo>
                    <a:pt x="706522" y="727142"/>
                  </a:lnTo>
                  <a:lnTo>
                    <a:pt x="706522" y="1271563"/>
                  </a:lnTo>
                  <a:close/>
                  <a:moveTo>
                    <a:pt x="1306185" y="1690649"/>
                  </a:moveTo>
                  <a:lnTo>
                    <a:pt x="1654904" y="1036061"/>
                  </a:lnTo>
                  <a:lnTo>
                    <a:pt x="1306185" y="381469"/>
                  </a:lnTo>
                  <a:lnTo>
                    <a:pt x="1090234" y="381469"/>
                  </a:lnTo>
                  <a:lnTo>
                    <a:pt x="1438900" y="1036061"/>
                  </a:lnTo>
                  <a:lnTo>
                    <a:pt x="1090234" y="1690649"/>
                  </a:lnTo>
                  <a:lnTo>
                    <a:pt x="1306185" y="1690649"/>
                  </a:lnTo>
                  <a:close/>
                  <a:moveTo>
                    <a:pt x="2581808" y="828654"/>
                  </a:moveTo>
                  <a:cubicBezTo>
                    <a:pt x="2581808" y="1002989"/>
                    <a:pt x="2470789" y="1129505"/>
                    <a:pt x="2317883" y="1129505"/>
                  </a:cubicBezTo>
                  <a:cubicBezTo>
                    <a:pt x="2168980" y="1129505"/>
                    <a:pt x="2065011" y="1007262"/>
                    <a:pt x="2065011" y="832338"/>
                  </a:cubicBezTo>
                  <a:cubicBezTo>
                    <a:pt x="2065011" y="649088"/>
                    <a:pt x="2170314" y="525990"/>
                    <a:pt x="2327068" y="525990"/>
                  </a:cubicBezTo>
                  <a:cubicBezTo>
                    <a:pt x="2479444" y="525990"/>
                    <a:pt x="2581808" y="647590"/>
                    <a:pt x="2581808" y="828654"/>
                  </a:cubicBezTo>
                  <a:moveTo>
                    <a:pt x="2581808" y="1271563"/>
                  </a:moveTo>
                  <a:lnTo>
                    <a:pt x="2762608" y="1271563"/>
                  </a:lnTo>
                  <a:lnTo>
                    <a:pt x="2762608" y="0"/>
                  </a:lnTo>
                  <a:lnTo>
                    <a:pt x="2581808" y="0"/>
                  </a:lnTo>
                  <a:lnTo>
                    <a:pt x="2581808" y="476356"/>
                  </a:lnTo>
                  <a:cubicBezTo>
                    <a:pt x="2503431" y="397017"/>
                    <a:pt x="2412449" y="359885"/>
                    <a:pt x="2297581" y="359885"/>
                  </a:cubicBezTo>
                  <a:cubicBezTo>
                    <a:pt x="2057690" y="359885"/>
                    <a:pt x="1876785" y="562214"/>
                    <a:pt x="1876785" y="830470"/>
                  </a:cubicBezTo>
                  <a:cubicBezTo>
                    <a:pt x="1876785" y="1102145"/>
                    <a:pt x="2049839" y="1291865"/>
                    <a:pt x="2297581" y="1291865"/>
                  </a:cubicBezTo>
                  <a:cubicBezTo>
                    <a:pt x="2414371" y="1291865"/>
                    <a:pt x="2503061" y="1251959"/>
                    <a:pt x="2581808" y="1163217"/>
                  </a:cubicBezTo>
                  <a:lnTo>
                    <a:pt x="2581808" y="1271563"/>
                  </a:lnTo>
                  <a:close/>
                  <a:moveTo>
                    <a:pt x="3437445" y="542393"/>
                  </a:moveTo>
                  <a:lnTo>
                    <a:pt x="3460310" y="545331"/>
                  </a:lnTo>
                  <a:lnTo>
                    <a:pt x="3460310" y="359885"/>
                  </a:lnTo>
                  <a:lnTo>
                    <a:pt x="3406830" y="359885"/>
                  </a:lnTo>
                  <a:cubicBezTo>
                    <a:pt x="3341169" y="359885"/>
                    <a:pt x="3277430" y="380294"/>
                    <a:pt x="3231965" y="415877"/>
                  </a:cubicBezTo>
                  <a:cubicBezTo>
                    <a:pt x="3213690" y="430035"/>
                    <a:pt x="3199693" y="444353"/>
                    <a:pt x="3187194" y="462091"/>
                  </a:cubicBezTo>
                  <a:lnTo>
                    <a:pt x="3187194" y="380187"/>
                  </a:lnTo>
                  <a:lnTo>
                    <a:pt x="3006395" y="380187"/>
                  </a:lnTo>
                  <a:lnTo>
                    <a:pt x="3006395" y="1271563"/>
                  </a:lnTo>
                  <a:lnTo>
                    <a:pt x="3187194" y="1271563"/>
                  </a:lnTo>
                  <a:lnTo>
                    <a:pt x="3187194" y="819411"/>
                  </a:lnTo>
                  <a:cubicBezTo>
                    <a:pt x="3187194" y="727783"/>
                    <a:pt x="3198894" y="679915"/>
                    <a:pt x="3233517" y="629638"/>
                  </a:cubicBezTo>
                  <a:cubicBezTo>
                    <a:pt x="3272300" y="572310"/>
                    <a:pt x="3331926" y="540683"/>
                    <a:pt x="3401277" y="540683"/>
                  </a:cubicBezTo>
                  <a:cubicBezTo>
                    <a:pt x="3410356" y="540683"/>
                    <a:pt x="3423983" y="540683"/>
                    <a:pt x="3437445" y="542393"/>
                  </a:cubicBezTo>
                  <a:moveTo>
                    <a:pt x="4250980" y="826838"/>
                  </a:moveTo>
                  <a:cubicBezTo>
                    <a:pt x="4250980" y="1000692"/>
                    <a:pt x="4140918" y="1122077"/>
                    <a:pt x="3983364" y="1122077"/>
                  </a:cubicBezTo>
                  <a:cubicBezTo>
                    <a:pt x="3822174" y="1122077"/>
                    <a:pt x="3713875" y="1003466"/>
                    <a:pt x="3713875" y="826838"/>
                  </a:cubicBezTo>
                  <a:cubicBezTo>
                    <a:pt x="3713875" y="649088"/>
                    <a:pt x="3822920" y="529677"/>
                    <a:pt x="3985180" y="529677"/>
                  </a:cubicBezTo>
                  <a:cubicBezTo>
                    <a:pt x="4144179" y="529677"/>
                    <a:pt x="4250980" y="649088"/>
                    <a:pt x="4250980" y="826838"/>
                  </a:cubicBezTo>
                  <a:moveTo>
                    <a:pt x="4435464" y="828654"/>
                  </a:moveTo>
                  <a:cubicBezTo>
                    <a:pt x="4435464" y="557084"/>
                    <a:pt x="4246120" y="359885"/>
                    <a:pt x="3985180" y="359885"/>
                  </a:cubicBezTo>
                  <a:cubicBezTo>
                    <a:pt x="3716818" y="359885"/>
                    <a:pt x="3529338" y="551155"/>
                    <a:pt x="3529338" y="824916"/>
                  </a:cubicBezTo>
                  <a:cubicBezTo>
                    <a:pt x="3529338" y="1099848"/>
                    <a:pt x="3714521" y="1291865"/>
                    <a:pt x="3979622" y="1291865"/>
                  </a:cubicBezTo>
                  <a:cubicBezTo>
                    <a:pt x="4235272" y="1291865"/>
                    <a:pt x="4435464" y="1088418"/>
                    <a:pt x="4435464" y="828654"/>
                  </a:cubicBezTo>
                  <a:moveTo>
                    <a:pt x="5261608" y="828654"/>
                  </a:moveTo>
                  <a:cubicBezTo>
                    <a:pt x="5261608" y="909382"/>
                    <a:pt x="5239596" y="986748"/>
                    <a:pt x="5205508" y="1025854"/>
                  </a:cubicBezTo>
                  <a:cubicBezTo>
                    <a:pt x="5153150" y="1087026"/>
                    <a:pt x="5080062" y="1122077"/>
                    <a:pt x="5005052" y="1122077"/>
                  </a:cubicBezTo>
                  <a:cubicBezTo>
                    <a:pt x="4855296" y="1122077"/>
                    <a:pt x="4746675" y="996361"/>
                    <a:pt x="4746675" y="823153"/>
                  </a:cubicBezTo>
                  <a:cubicBezTo>
                    <a:pt x="4746675" y="650316"/>
                    <a:pt x="4854386" y="529677"/>
                    <a:pt x="5008683" y="529677"/>
                  </a:cubicBezTo>
                  <a:cubicBezTo>
                    <a:pt x="5078193" y="529677"/>
                    <a:pt x="5151652" y="563177"/>
                    <a:pt x="5200378" y="617081"/>
                  </a:cubicBezTo>
                  <a:cubicBezTo>
                    <a:pt x="5246112" y="667892"/>
                    <a:pt x="5261608" y="721266"/>
                    <a:pt x="5261608" y="828654"/>
                  </a:cubicBezTo>
                  <a:moveTo>
                    <a:pt x="5327264" y="1583314"/>
                  </a:moveTo>
                  <a:cubicBezTo>
                    <a:pt x="5409426" y="1504990"/>
                    <a:pt x="5446113" y="1404277"/>
                    <a:pt x="5446113" y="1256819"/>
                  </a:cubicBezTo>
                  <a:lnTo>
                    <a:pt x="5446113" y="380187"/>
                  </a:lnTo>
                  <a:lnTo>
                    <a:pt x="5265239" y="380187"/>
                  </a:lnTo>
                  <a:lnTo>
                    <a:pt x="5265239" y="488537"/>
                  </a:lnTo>
                  <a:cubicBezTo>
                    <a:pt x="5186005" y="398673"/>
                    <a:pt x="5100153" y="359885"/>
                    <a:pt x="4982875" y="359885"/>
                  </a:cubicBezTo>
                  <a:cubicBezTo>
                    <a:pt x="4866567" y="359885"/>
                    <a:pt x="4771201" y="395361"/>
                    <a:pt x="4699394" y="465190"/>
                  </a:cubicBezTo>
                  <a:cubicBezTo>
                    <a:pt x="4611080" y="549710"/>
                    <a:pt x="4558400" y="685574"/>
                    <a:pt x="4558400" y="828654"/>
                  </a:cubicBezTo>
                  <a:cubicBezTo>
                    <a:pt x="4558400" y="1092743"/>
                    <a:pt x="4736097" y="1291865"/>
                    <a:pt x="4971816" y="1291865"/>
                  </a:cubicBezTo>
                  <a:cubicBezTo>
                    <a:pt x="5092032" y="1291865"/>
                    <a:pt x="5185952" y="1246830"/>
                    <a:pt x="5265239" y="1150553"/>
                  </a:cubicBezTo>
                  <a:lnTo>
                    <a:pt x="5265239" y="1267931"/>
                  </a:lnTo>
                  <a:cubicBezTo>
                    <a:pt x="5265239" y="1350745"/>
                    <a:pt x="5245313" y="1414431"/>
                    <a:pt x="5206095" y="1457116"/>
                  </a:cubicBezTo>
                  <a:cubicBezTo>
                    <a:pt x="5162288" y="1504291"/>
                    <a:pt x="5083159" y="1533625"/>
                    <a:pt x="4999546" y="1533625"/>
                  </a:cubicBezTo>
                  <a:cubicBezTo>
                    <a:pt x="4932122" y="1533625"/>
                    <a:pt x="4856471" y="1514979"/>
                    <a:pt x="4811695" y="1487409"/>
                  </a:cubicBezTo>
                  <a:cubicBezTo>
                    <a:pt x="4788777" y="1471596"/>
                    <a:pt x="4771254" y="1455624"/>
                    <a:pt x="4733588" y="1416300"/>
                  </a:cubicBezTo>
                  <a:lnTo>
                    <a:pt x="4719215" y="1401339"/>
                  </a:lnTo>
                  <a:lnTo>
                    <a:pt x="4595103" y="1525451"/>
                  </a:lnTo>
                  <a:lnTo>
                    <a:pt x="4607819" y="1539824"/>
                  </a:lnTo>
                  <a:cubicBezTo>
                    <a:pt x="4703719" y="1647106"/>
                    <a:pt x="4835528" y="1701544"/>
                    <a:pt x="4999546" y="1701544"/>
                  </a:cubicBezTo>
                  <a:cubicBezTo>
                    <a:pt x="5134664" y="1701544"/>
                    <a:pt x="5247981" y="1660675"/>
                    <a:pt x="5327264" y="1583314"/>
                  </a:cubicBezTo>
                  <a:moveTo>
                    <a:pt x="6317923" y="747497"/>
                  </a:moveTo>
                  <a:lnTo>
                    <a:pt x="5805203" y="747497"/>
                  </a:lnTo>
                  <a:cubicBezTo>
                    <a:pt x="5814785" y="696051"/>
                    <a:pt x="5825267" y="667627"/>
                    <a:pt x="5845913" y="635144"/>
                  </a:cubicBezTo>
                  <a:cubicBezTo>
                    <a:pt x="5892024" y="566756"/>
                    <a:pt x="5971327" y="525990"/>
                    <a:pt x="6057989" y="525990"/>
                  </a:cubicBezTo>
                  <a:cubicBezTo>
                    <a:pt x="6144228" y="525990"/>
                    <a:pt x="6225702" y="566274"/>
                    <a:pt x="6275730" y="633487"/>
                  </a:cubicBezTo>
                  <a:cubicBezTo>
                    <a:pt x="6300453" y="669067"/>
                    <a:pt x="6312047" y="699841"/>
                    <a:pt x="6317923" y="747497"/>
                  </a:cubicBezTo>
                  <a:moveTo>
                    <a:pt x="6508188" y="872890"/>
                  </a:moveTo>
                  <a:cubicBezTo>
                    <a:pt x="6510094" y="851683"/>
                    <a:pt x="6510094" y="827426"/>
                    <a:pt x="6510094" y="815779"/>
                  </a:cubicBezTo>
                  <a:cubicBezTo>
                    <a:pt x="6510094" y="555909"/>
                    <a:pt x="6315700" y="359885"/>
                    <a:pt x="6057989" y="359885"/>
                  </a:cubicBezTo>
                  <a:cubicBezTo>
                    <a:pt x="5798109" y="359885"/>
                    <a:pt x="5609538" y="557084"/>
                    <a:pt x="5609538" y="828654"/>
                  </a:cubicBezTo>
                  <a:cubicBezTo>
                    <a:pt x="5609538" y="1097074"/>
                    <a:pt x="5800491" y="1291865"/>
                    <a:pt x="6063495" y="1291865"/>
                  </a:cubicBezTo>
                  <a:cubicBezTo>
                    <a:pt x="6235020" y="1291865"/>
                    <a:pt x="6386956" y="1199867"/>
                    <a:pt x="6460066" y="1051710"/>
                  </a:cubicBezTo>
                  <a:lnTo>
                    <a:pt x="6469966" y="1031572"/>
                  </a:lnTo>
                  <a:lnTo>
                    <a:pt x="6308923" y="971517"/>
                  </a:lnTo>
                  <a:lnTo>
                    <a:pt x="6300559" y="986689"/>
                  </a:lnTo>
                  <a:cubicBezTo>
                    <a:pt x="6254237" y="1068968"/>
                    <a:pt x="6161169" y="1122077"/>
                    <a:pt x="6063495" y="1122077"/>
                  </a:cubicBezTo>
                  <a:cubicBezTo>
                    <a:pt x="5977415" y="1122077"/>
                    <a:pt x="5901923" y="1083664"/>
                    <a:pt x="5850784" y="1013832"/>
                  </a:cubicBezTo>
                  <a:cubicBezTo>
                    <a:pt x="5821932" y="975900"/>
                    <a:pt x="5809438" y="945021"/>
                    <a:pt x="5802132" y="891377"/>
                  </a:cubicBezTo>
                  <a:lnTo>
                    <a:pt x="6506547" y="891377"/>
                  </a:lnTo>
                  <a:lnTo>
                    <a:pt x="6508188" y="872890"/>
                  </a:lnTo>
                  <a:close/>
                  <a:moveTo>
                    <a:pt x="7205139" y="1271563"/>
                  </a:moveTo>
                  <a:lnTo>
                    <a:pt x="7385928" y="1271563"/>
                  </a:lnTo>
                  <a:lnTo>
                    <a:pt x="7385928" y="677294"/>
                  </a:lnTo>
                  <a:cubicBezTo>
                    <a:pt x="7385928" y="554734"/>
                    <a:pt x="7365387" y="491422"/>
                    <a:pt x="7307154" y="435163"/>
                  </a:cubicBezTo>
                  <a:cubicBezTo>
                    <a:pt x="7252520" y="386599"/>
                    <a:pt x="7177557" y="359885"/>
                    <a:pt x="7096189" y="359885"/>
                  </a:cubicBezTo>
                  <a:cubicBezTo>
                    <a:pt x="7000739" y="359885"/>
                    <a:pt x="6929853" y="391193"/>
                    <a:pt x="6863625" y="463694"/>
                  </a:cubicBezTo>
                  <a:lnTo>
                    <a:pt x="6863625" y="380187"/>
                  </a:lnTo>
                  <a:lnTo>
                    <a:pt x="6682836" y="380187"/>
                  </a:lnTo>
                  <a:lnTo>
                    <a:pt x="6682836" y="1271563"/>
                  </a:lnTo>
                  <a:lnTo>
                    <a:pt x="6863625" y="1271563"/>
                  </a:lnTo>
                  <a:lnTo>
                    <a:pt x="6863625" y="732701"/>
                  </a:lnTo>
                  <a:cubicBezTo>
                    <a:pt x="6863625" y="667839"/>
                    <a:pt x="6876278" y="632147"/>
                    <a:pt x="6913971" y="591066"/>
                  </a:cubicBezTo>
                  <a:cubicBezTo>
                    <a:pt x="6951505" y="548481"/>
                    <a:pt x="7002433" y="525990"/>
                    <a:pt x="7061143" y="525990"/>
                  </a:cubicBezTo>
                  <a:cubicBezTo>
                    <a:pt x="7110748" y="525990"/>
                    <a:pt x="7155428" y="544744"/>
                    <a:pt x="7177769" y="575089"/>
                  </a:cubicBezTo>
                  <a:cubicBezTo>
                    <a:pt x="7197410" y="601215"/>
                    <a:pt x="7205139" y="638722"/>
                    <a:pt x="7205139" y="708709"/>
                  </a:cubicBezTo>
                  <a:lnTo>
                    <a:pt x="7205139" y="1271563"/>
                  </a:lnTo>
                  <a:close/>
                  <a:moveTo>
                    <a:pt x="7822309" y="162418"/>
                  </a:moveTo>
                  <a:cubicBezTo>
                    <a:pt x="7822309" y="99268"/>
                    <a:pt x="7774452" y="49847"/>
                    <a:pt x="7713412" y="49847"/>
                  </a:cubicBezTo>
                  <a:cubicBezTo>
                    <a:pt x="7650255" y="49847"/>
                    <a:pt x="7602662" y="97451"/>
                    <a:pt x="7602662" y="160549"/>
                  </a:cubicBezTo>
                  <a:cubicBezTo>
                    <a:pt x="7602662" y="223699"/>
                    <a:pt x="7649514" y="271303"/>
                    <a:pt x="7711560" y="271303"/>
                  </a:cubicBezTo>
                  <a:cubicBezTo>
                    <a:pt x="7773711" y="271303"/>
                    <a:pt x="7822309" y="223432"/>
                    <a:pt x="7822309" y="162418"/>
                  </a:cubicBezTo>
                  <a:moveTo>
                    <a:pt x="8704760" y="826838"/>
                  </a:moveTo>
                  <a:cubicBezTo>
                    <a:pt x="8704760" y="1000692"/>
                    <a:pt x="8594751" y="1122077"/>
                    <a:pt x="8437150" y="1122077"/>
                  </a:cubicBezTo>
                  <a:cubicBezTo>
                    <a:pt x="8276002" y="1122077"/>
                    <a:pt x="8167740" y="1003466"/>
                    <a:pt x="8167740" y="826838"/>
                  </a:cubicBezTo>
                  <a:cubicBezTo>
                    <a:pt x="8167740" y="649088"/>
                    <a:pt x="8276743" y="529677"/>
                    <a:pt x="8439003" y="529677"/>
                  </a:cubicBezTo>
                  <a:cubicBezTo>
                    <a:pt x="8597980" y="529677"/>
                    <a:pt x="8704760" y="649088"/>
                    <a:pt x="8704760" y="826838"/>
                  </a:cubicBezTo>
                  <a:moveTo>
                    <a:pt x="8889307" y="828654"/>
                  </a:moveTo>
                  <a:cubicBezTo>
                    <a:pt x="8889307" y="557084"/>
                    <a:pt x="8699942" y="359885"/>
                    <a:pt x="8439003" y="359885"/>
                  </a:cubicBezTo>
                  <a:cubicBezTo>
                    <a:pt x="8170652" y="359885"/>
                    <a:pt x="7983193" y="551155"/>
                    <a:pt x="7983193" y="824916"/>
                  </a:cubicBezTo>
                  <a:cubicBezTo>
                    <a:pt x="7983193" y="1099848"/>
                    <a:pt x="8168375" y="1291865"/>
                    <a:pt x="8433444" y="1291865"/>
                  </a:cubicBezTo>
                  <a:cubicBezTo>
                    <a:pt x="8689089" y="1291865"/>
                    <a:pt x="8889307" y="1088418"/>
                    <a:pt x="8889307" y="828654"/>
                  </a:cubicBezTo>
                  <a:moveTo>
                    <a:pt x="9658150" y="1197940"/>
                  </a:moveTo>
                  <a:cubicBezTo>
                    <a:pt x="9724854" y="1137144"/>
                    <a:pt x="9749630" y="1068539"/>
                    <a:pt x="9749630" y="944968"/>
                  </a:cubicBezTo>
                  <a:lnTo>
                    <a:pt x="9749630" y="380187"/>
                  </a:lnTo>
                  <a:lnTo>
                    <a:pt x="9566988" y="380187"/>
                  </a:lnTo>
                  <a:lnTo>
                    <a:pt x="9566988" y="944968"/>
                  </a:lnTo>
                  <a:cubicBezTo>
                    <a:pt x="9566988" y="1008437"/>
                    <a:pt x="9558835" y="1039587"/>
                    <a:pt x="9535012" y="1068222"/>
                  </a:cubicBezTo>
                  <a:cubicBezTo>
                    <a:pt x="9503831" y="1104284"/>
                    <a:pt x="9453009" y="1125815"/>
                    <a:pt x="9399010" y="1125815"/>
                  </a:cubicBezTo>
                  <a:cubicBezTo>
                    <a:pt x="9299060" y="1125815"/>
                    <a:pt x="9229233" y="1049947"/>
                    <a:pt x="9229233" y="941225"/>
                  </a:cubicBezTo>
                  <a:lnTo>
                    <a:pt x="9229233" y="380187"/>
                  </a:lnTo>
                  <a:lnTo>
                    <a:pt x="9048391" y="380187"/>
                  </a:lnTo>
                  <a:lnTo>
                    <a:pt x="9048391" y="944968"/>
                  </a:lnTo>
                  <a:cubicBezTo>
                    <a:pt x="9048391" y="1054330"/>
                    <a:pt x="9078249" y="1136392"/>
                    <a:pt x="9139659" y="1195965"/>
                  </a:cubicBezTo>
                  <a:cubicBezTo>
                    <a:pt x="9204563" y="1256925"/>
                    <a:pt x="9299113" y="1291865"/>
                    <a:pt x="9399010" y="1291865"/>
                  </a:cubicBezTo>
                  <a:cubicBezTo>
                    <a:pt x="9499701" y="1291865"/>
                    <a:pt x="9591763" y="1258529"/>
                    <a:pt x="9658150" y="1197945"/>
                  </a:cubicBezTo>
                  <a:moveTo>
                    <a:pt x="10385594" y="653307"/>
                  </a:moveTo>
                  <a:lnTo>
                    <a:pt x="10567335" y="653307"/>
                  </a:lnTo>
                  <a:lnTo>
                    <a:pt x="10566383" y="632041"/>
                  </a:lnTo>
                  <a:cubicBezTo>
                    <a:pt x="10558442" y="459099"/>
                    <a:pt x="10442768" y="359885"/>
                    <a:pt x="10249009" y="359885"/>
                  </a:cubicBezTo>
                  <a:cubicBezTo>
                    <a:pt x="10058003" y="359885"/>
                    <a:pt x="9929730" y="467434"/>
                    <a:pt x="9929730" y="627446"/>
                  </a:cubicBezTo>
                  <a:cubicBezTo>
                    <a:pt x="9929730" y="765666"/>
                    <a:pt x="10016922" y="850825"/>
                    <a:pt x="10212587" y="903611"/>
                  </a:cubicBezTo>
                  <a:cubicBezTo>
                    <a:pt x="10347689" y="937858"/>
                    <a:pt x="10391099" y="968955"/>
                    <a:pt x="10391099" y="1031625"/>
                  </a:cubicBezTo>
                  <a:cubicBezTo>
                    <a:pt x="10391099" y="1095576"/>
                    <a:pt x="10336730" y="1136874"/>
                    <a:pt x="10252715" y="1136874"/>
                  </a:cubicBezTo>
                  <a:cubicBezTo>
                    <a:pt x="10155517" y="1136874"/>
                    <a:pt x="10102102" y="1093384"/>
                    <a:pt x="10093843" y="1007579"/>
                  </a:cubicBezTo>
                  <a:lnTo>
                    <a:pt x="10092096" y="989257"/>
                  </a:lnTo>
                  <a:lnTo>
                    <a:pt x="9913054" y="989257"/>
                  </a:lnTo>
                  <a:lnTo>
                    <a:pt x="9915066" y="1011216"/>
                  </a:lnTo>
                  <a:cubicBezTo>
                    <a:pt x="9930789" y="1194843"/>
                    <a:pt x="10047626" y="1291865"/>
                    <a:pt x="10252715" y="1291865"/>
                  </a:cubicBezTo>
                  <a:cubicBezTo>
                    <a:pt x="10445839" y="1291865"/>
                    <a:pt x="10575647" y="1184371"/>
                    <a:pt x="10575647" y="1024303"/>
                  </a:cubicBezTo>
                  <a:cubicBezTo>
                    <a:pt x="10575647" y="956667"/>
                    <a:pt x="10548542" y="890948"/>
                    <a:pt x="10501426" y="843879"/>
                  </a:cubicBezTo>
                  <a:cubicBezTo>
                    <a:pt x="10457485" y="799913"/>
                    <a:pt x="10397028" y="770955"/>
                    <a:pt x="10285750" y="740769"/>
                  </a:cubicBezTo>
                  <a:cubicBezTo>
                    <a:pt x="10125660" y="696474"/>
                    <a:pt x="10110519" y="671471"/>
                    <a:pt x="10110519" y="616440"/>
                  </a:cubicBezTo>
                  <a:cubicBezTo>
                    <a:pt x="10110519" y="553823"/>
                    <a:pt x="10161447" y="514877"/>
                    <a:pt x="10243398" y="514877"/>
                  </a:cubicBezTo>
                  <a:cubicBezTo>
                    <a:pt x="10329795" y="514877"/>
                    <a:pt x="10385594" y="557672"/>
                    <a:pt x="10385594" y="623762"/>
                  </a:cubicBezTo>
                  <a:lnTo>
                    <a:pt x="10385594" y="653307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</p:grp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DFBD3275-9FB8-1BA7-C85D-5CAAC944C9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3" y="843892"/>
            <a:ext cx="6818374" cy="5511338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C854F1AF-0039-A023-6DAC-BB79D6FB09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073EE57-7478-7EF5-8766-BF44F88FD6E4}"/>
              </a:ext>
            </a:extLst>
          </p:cNvPr>
          <p:cNvGrpSpPr/>
          <p:nvPr userDrawn="1"/>
        </p:nvGrpSpPr>
        <p:grpSpPr>
          <a:xfrm rot="5400000">
            <a:off x="-3617983" y="3323777"/>
            <a:ext cx="6854690" cy="213756"/>
            <a:chOff x="-1" y="-286346"/>
            <a:chExt cx="5820565" cy="181508"/>
          </a:xfrm>
        </p:grpSpPr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8249DEE8-E8B6-2038-1753-BE417B6B61B4}"/>
                </a:ext>
              </a:extLst>
            </p:cNvPr>
            <p:cNvGrpSpPr/>
            <p:nvPr userDrawn="1"/>
          </p:nvGrpSpPr>
          <p:grpSpPr>
            <a:xfrm rot="16200000">
              <a:off x="363007" y="-649354"/>
              <a:ext cx="181503" cy="907520"/>
              <a:chOff x="1319213" y="-1663170"/>
              <a:chExt cx="181503" cy="907520"/>
            </a:xfrm>
          </p:grpSpPr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E8D782BA-78BF-23E0-DFD9-0B04D4E475CF}"/>
                  </a:ext>
                </a:extLst>
              </p:cNvPr>
              <p:cNvSpPr/>
              <p:nvPr/>
            </p:nvSpPr>
            <p:spPr>
              <a:xfrm>
                <a:off x="1319213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44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48EDD6E0-E274-A375-27B4-F2080109DA07}"/>
                  </a:ext>
                </a:extLst>
              </p:cNvPr>
              <p:cNvSpPr/>
              <p:nvPr/>
            </p:nvSpPr>
            <p:spPr>
              <a:xfrm>
                <a:off x="1319213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69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DADCCC5C-AB04-DA60-270E-F431DAA485C4}"/>
                  </a:ext>
                </a:extLst>
              </p:cNvPr>
              <p:cNvSpPr/>
              <p:nvPr/>
            </p:nvSpPr>
            <p:spPr>
              <a:xfrm>
                <a:off x="1319213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FE8F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A7ADB9F4-29AA-F91B-7F81-4C2BA8DC1F23}"/>
                  </a:ext>
                </a:extLst>
              </p:cNvPr>
              <p:cNvSpPr/>
              <p:nvPr/>
            </p:nvSpPr>
            <p:spPr>
              <a:xfrm>
                <a:off x="1319213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B4B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67EDFFA0-5939-25E5-68FD-53C39A70095D}"/>
                  </a:ext>
                </a:extLst>
              </p:cNvPr>
              <p:cNvSpPr/>
              <p:nvPr/>
            </p:nvSpPr>
            <p:spPr>
              <a:xfrm>
                <a:off x="1319213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D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80FE5535-A67D-9AFE-18E8-37E5CF9F3837}"/>
                </a:ext>
              </a:extLst>
            </p:cNvPr>
            <p:cNvGrpSpPr/>
            <p:nvPr userDrawn="1"/>
          </p:nvGrpSpPr>
          <p:grpSpPr>
            <a:xfrm rot="16200000">
              <a:off x="1345616" y="-649354"/>
              <a:ext cx="181503" cy="907520"/>
              <a:chOff x="1319213" y="-664912"/>
              <a:chExt cx="181503" cy="907520"/>
            </a:xfrm>
          </p:grpSpPr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B153D7AE-00A4-E6CC-CD17-A6490AE5FDC8}"/>
                  </a:ext>
                </a:extLst>
              </p:cNvPr>
              <p:cNvSpPr/>
              <p:nvPr/>
            </p:nvSpPr>
            <p:spPr>
              <a:xfrm>
                <a:off x="1319213" y="-66491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6400A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04F840FA-583D-E601-C1AC-EE0272492153}"/>
                  </a:ext>
                </a:extLst>
              </p:cNvPr>
              <p:cNvSpPr/>
              <p:nvPr/>
            </p:nvSpPr>
            <p:spPr>
              <a:xfrm>
                <a:off x="1319213" y="-483404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33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58503F84-910B-2915-00F0-B75743AC7F1A}"/>
                  </a:ext>
                </a:extLst>
              </p:cNvPr>
              <p:cNvSpPr/>
              <p:nvPr/>
            </p:nvSpPr>
            <p:spPr>
              <a:xfrm>
                <a:off x="1319213" y="-30189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266C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9D069E03-3BA9-13E8-A5BA-8350C67B48F2}"/>
                  </a:ext>
                </a:extLst>
              </p:cNvPr>
              <p:cNvSpPr/>
              <p:nvPr/>
            </p:nvSpPr>
            <p:spPr>
              <a:xfrm>
                <a:off x="1319213" y="-120387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199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4E6012A1-B5FD-A83B-4E91-66DE6D58525D}"/>
                  </a:ext>
                </a:extLst>
              </p:cNvPr>
              <p:cNvSpPr/>
              <p:nvPr/>
            </p:nvSpPr>
            <p:spPr>
              <a:xfrm>
                <a:off x="1319213" y="6110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0CC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27DDF24C-9335-7D93-9380-7FA5126E5007}"/>
                </a:ext>
              </a:extLst>
            </p:cNvPr>
            <p:cNvGrpSpPr/>
            <p:nvPr userDrawn="1"/>
          </p:nvGrpSpPr>
          <p:grpSpPr>
            <a:xfrm rot="16200000">
              <a:off x="2328223" y="-649352"/>
              <a:ext cx="181508" cy="907520"/>
              <a:chOff x="1682219" y="-1663170"/>
              <a:chExt cx="181508" cy="907520"/>
            </a:xfrm>
          </p:grpSpPr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DD8A6C3E-D766-2691-9E81-6F4654C2555F}"/>
                  </a:ext>
                </a:extLst>
              </p:cNvPr>
              <p:cNvSpPr/>
              <p:nvPr/>
            </p:nvSpPr>
            <p:spPr>
              <a:xfrm>
                <a:off x="1682219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CC8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EF5C317C-D580-CC03-D95B-8AB50C18E50F}"/>
                  </a:ext>
                </a:extLst>
              </p:cNvPr>
              <p:cNvSpPr/>
              <p:nvPr/>
            </p:nvSpPr>
            <p:spPr>
              <a:xfrm>
                <a:off x="1682224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3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F9D2C806-177E-000D-5330-68E468EAA399}"/>
                  </a:ext>
                </a:extLst>
              </p:cNvPr>
              <p:cNvSpPr/>
              <p:nvPr/>
            </p:nvSpPr>
            <p:spPr>
              <a:xfrm>
                <a:off x="1682224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ADE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DA264BA7-985E-F98C-3C92-FD1839E749C0}"/>
                  </a:ext>
                </a:extLst>
              </p:cNvPr>
              <p:cNvSpPr/>
              <p:nvPr/>
            </p:nvSpPr>
            <p:spPr>
              <a:xfrm>
                <a:off x="1682224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E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31B12A78-9CF9-6F3F-99B9-197316B37AA1}"/>
                  </a:ext>
                </a:extLst>
              </p:cNvPr>
              <p:cNvSpPr/>
              <p:nvPr/>
            </p:nvSpPr>
            <p:spPr>
              <a:xfrm>
                <a:off x="1682219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8F4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2E3F3669-8C28-5A0C-C4F0-04DDC2D7BE60}"/>
                </a:ext>
              </a:extLst>
            </p:cNvPr>
            <p:cNvGrpSpPr/>
            <p:nvPr userDrawn="1"/>
          </p:nvGrpSpPr>
          <p:grpSpPr>
            <a:xfrm rot="16200000">
              <a:off x="5276052" y="-649354"/>
              <a:ext cx="181503" cy="907520"/>
              <a:chOff x="2226738" y="-1663170"/>
              <a:chExt cx="181503" cy="907520"/>
            </a:xfrm>
          </p:grpSpPr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64F785A8-5E83-2407-DE36-0B644FC8829D}"/>
                  </a:ext>
                </a:extLst>
              </p:cNvPr>
              <p:cNvSpPr/>
              <p:nvPr/>
            </p:nvSpPr>
            <p:spPr>
              <a:xfrm>
                <a:off x="2226738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3A94396F-FEBA-0314-9E7A-71C8450C4969}"/>
                  </a:ext>
                </a:extLst>
              </p:cNvPr>
              <p:cNvSpPr/>
              <p:nvPr/>
            </p:nvSpPr>
            <p:spPr>
              <a:xfrm>
                <a:off x="2226738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5757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1A130A34-BA7F-A2FC-2AAD-020D919B017D}"/>
                  </a:ext>
                </a:extLst>
              </p:cNvPr>
              <p:cNvSpPr/>
              <p:nvPr/>
            </p:nvSpPr>
            <p:spPr>
              <a:xfrm>
                <a:off x="2226738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8787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5FC43DE1-25FD-0746-2599-673834C86158}"/>
                  </a:ext>
                </a:extLst>
              </p:cNvPr>
              <p:cNvSpPr/>
              <p:nvPr/>
            </p:nvSpPr>
            <p:spPr>
              <a:xfrm>
                <a:off x="2226738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2B2B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0903C642-B7CF-67E7-7371-FD28E9BB8B21}"/>
                  </a:ext>
                </a:extLst>
              </p:cNvPr>
              <p:cNvSpPr/>
              <p:nvPr/>
            </p:nvSpPr>
            <p:spPr>
              <a:xfrm>
                <a:off x="2226738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DA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FA68F232-AE02-9074-3501-66A7F8776260}"/>
                </a:ext>
              </a:extLst>
            </p:cNvPr>
            <p:cNvGrpSpPr/>
            <p:nvPr userDrawn="1"/>
          </p:nvGrpSpPr>
          <p:grpSpPr>
            <a:xfrm rot="16200000">
              <a:off x="3310834" y="-649354"/>
              <a:ext cx="181503" cy="907520"/>
              <a:chOff x="1863727" y="-1663170"/>
              <a:chExt cx="181503" cy="907520"/>
            </a:xfrm>
          </p:grpSpPr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7A3EE7C2-7D89-EFC4-68A4-52F782031E7C}"/>
                  </a:ext>
                </a:extLst>
              </p:cNvPr>
              <p:cNvSpPr/>
              <p:nvPr/>
            </p:nvSpPr>
            <p:spPr>
              <a:xfrm>
                <a:off x="1863727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2A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14C86983-EC61-22FB-3D54-598E9B087BC6}"/>
                  </a:ext>
                </a:extLst>
              </p:cNvPr>
              <p:cNvSpPr/>
              <p:nvPr/>
            </p:nvSpPr>
            <p:spPr>
              <a:xfrm>
                <a:off x="1863727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5DB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2A802532-C7C1-59C2-ECA8-8C23A68202FD}"/>
                  </a:ext>
                </a:extLst>
              </p:cNvPr>
              <p:cNvSpPr/>
              <p:nvPr/>
            </p:nvSpPr>
            <p:spPr>
              <a:xfrm>
                <a:off x="1863727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8E4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839E2827-2A90-66F3-A80E-5498A1C87BA9}"/>
                  </a:ext>
                </a:extLst>
              </p:cNvPr>
              <p:cNvSpPr/>
              <p:nvPr/>
            </p:nvSpPr>
            <p:spPr>
              <a:xfrm>
                <a:off x="1863727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ED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D4D359D5-B9E9-5C9B-AF5E-6285FA71E9F4}"/>
                  </a:ext>
                </a:extLst>
              </p:cNvPr>
              <p:cNvSpPr/>
              <p:nvPr/>
            </p:nvSpPr>
            <p:spPr>
              <a:xfrm>
                <a:off x="1863727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DF6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677ED4FA-536B-68F9-40A8-0262589976C6}"/>
                </a:ext>
              </a:extLst>
            </p:cNvPr>
            <p:cNvGrpSpPr/>
            <p:nvPr userDrawn="1"/>
          </p:nvGrpSpPr>
          <p:grpSpPr>
            <a:xfrm rot="16200000">
              <a:off x="4293441" y="-649352"/>
              <a:ext cx="181508" cy="907520"/>
              <a:chOff x="2045230" y="-1663170"/>
              <a:chExt cx="181508" cy="907520"/>
            </a:xfrm>
          </p:grpSpPr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ACBF81C6-BE44-5BC5-85CA-2C5F3C30AE7C}"/>
                  </a:ext>
                </a:extLst>
              </p:cNvPr>
              <p:cNvSpPr/>
              <p:nvPr/>
            </p:nvSpPr>
            <p:spPr>
              <a:xfrm>
                <a:off x="2045230" y="-937158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9F7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AEAF1152-5198-0FF6-5738-9C0C42F2729C}"/>
                  </a:ext>
                </a:extLst>
              </p:cNvPr>
              <p:cNvSpPr/>
              <p:nvPr/>
            </p:nvSpPr>
            <p:spPr>
              <a:xfrm>
                <a:off x="2045230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FED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293526D9-75C9-30DB-B969-7E8C23047C38}"/>
                  </a:ext>
                </a:extLst>
              </p:cNvPr>
              <p:cNvSpPr/>
              <p:nvPr/>
            </p:nvSpPr>
            <p:spPr>
              <a:xfrm>
                <a:off x="2045230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5E3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000A0F49-3341-71FA-52B4-72E2F46CE562}"/>
                  </a:ext>
                </a:extLst>
              </p:cNvPr>
              <p:cNvSpPr/>
              <p:nvPr/>
            </p:nvSpPr>
            <p:spPr>
              <a:xfrm>
                <a:off x="2045230" y="-1663170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CFC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FC2586F3-A5C4-0745-0654-56568109A9B8}"/>
                  </a:ext>
                </a:extLst>
              </p:cNvPr>
              <p:cNvSpPr/>
              <p:nvPr/>
            </p:nvSpPr>
            <p:spPr>
              <a:xfrm>
                <a:off x="2045230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BD9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077172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(sand) and Text 2/3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5440E761-56DA-1F16-C101-779B792715A1}"/>
              </a:ext>
            </a:extLst>
          </p:cNvPr>
          <p:cNvSpPr/>
          <p:nvPr userDrawn="1"/>
        </p:nvSpPr>
        <p:spPr>
          <a:xfrm>
            <a:off x="8136000" y="0"/>
            <a:ext cx="40559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63000" y="843891"/>
            <a:ext cx="2770186" cy="55106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DFBD3275-9FB8-1BA7-C85D-5CAAC944C9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3" y="843892"/>
            <a:ext cx="6818374" cy="5511338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C854F1AF-0039-A023-6DAC-BB79D6FB09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6D02A74F-B6DE-4B4F-F6C7-9976EA25370F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0415668" y="503483"/>
            <a:ext cx="1289916" cy="180000"/>
            <a:chOff x="-161925" y="-1630732"/>
            <a:chExt cx="12193587" cy="1701544"/>
          </a:xfrm>
          <a:solidFill>
            <a:schemeClr val="accent2"/>
          </a:solidFill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DCAFB850-6D0E-F5AB-1365-F5F1DC8FA76C}"/>
                </a:ext>
              </a:extLst>
            </p:cNvPr>
            <p:cNvSpPr/>
            <p:nvPr/>
          </p:nvSpPr>
          <p:spPr bwMode="gray">
            <a:xfrm>
              <a:off x="10774928" y="-1247713"/>
              <a:ext cx="1256734" cy="356304"/>
            </a:xfrm>
            <a:custGeom>
              <a:avLst/>
              <a:gdLst>
                <a:gd name="connsiteX0" fmla="*/ 1226823 w 1256734"/>
                <a:gd name="connsiteY0" fmla="*/ 269166 h 356304"/>
                <a:gd name="connsiteX1" fmla="*/ 1133491 w 1256734"/>
                <a:gd name="connsiteY1" fmla="*/ 316610 h 356304"/>
                <a:gd name="connsiteX2" fmla="*/ 1010248 w 1256734"/>
                <a:gd name="connsiteY2" fmla="*/ 178448 h 356304"/>
                <a:gd name="connsiteX3" fmla="*/ 1131426 w 1256734"/>
                <a:gd name="connsiteY3" fmla="*/ 39696 h 356304"/>
                <a:gd name="connsiteX4" fmla="*/ 1226823 w 1256734"/>
                <a:gd name="connsiteY4" fmla="*/ 86659 h 356304"/>
                <a:gd name="connsiteX5" fmla="*/ 1256735 w 1256734"/>
                <a:gd name="connsiteY5" fmla="*/ 58823 h 356304"/>
                <a:gd name="connsiteX6" fmla="*/ 1216553 w 1256734"/>
                <a:gd name="connsiteY6" fmla="*/ 23241 h 356304"/>
                <a:gd name="connsiteX7" fmla="*/ 1130420 w 1256734"/>
                <a:gd name="connsiteY7" fmla="*/ 0 h 356304"/>
                <a:gd name="connsiteX8" fmla="*/ 965885 w 1256734"/>
                <a:gd name="connsiteY8" fmla="*/ 178448 h 356304"/>
                <a:gd name="connsiteX9" fmla="*/ 1011783 w 1256734"/>
                <a:gd name="connsiteY9" fmla="*/ 305763 h 356304"/>
                <a:gd name="connsiteX10" fmla="*/ 1129892 w 1256734"/>
                <a:gd name="connsiteY10" fmla="*/ 356305 h 356304"/>
                <a:gd name="connsiteX11" fmla="*/ 1255676 w 1256734"/>
                <a:gd name="connsiteY11" fmla="*/ 298071 h 356304"/>
                <a:gd name="connsiteX12" fmla="*/ 1226823 w 1256734"/>
                <a:gd name="connsiteY12" fmla="*/ 269166 h 356304"/>
                <a:gd name="connsiteX13" fmla="*/ 679216 w 1256734"/>
                <a:gd name="connsiteY13" fmla="*/ 197999 h 356304"/>
                <a:gd name="connsiteX14" fmla="*/ 846824 w 1256734"/>
                <a:gd name="connsiteY14" fmla="*/ 197999 h 356304"/>
                <a:gd name="connsiteX15" fmla="*/ 846824 w 1256734"/>
                <a:gd name="connsiteY15" fmla="*/ 350105 h 356304"/>
                <a:gd name="connsiteX16" fmla="*/ 890075 w 1256734"/>
                <a:gd name="connsiteY16" fmla="*/ 350105 h 356304"/>
                <a:gd name="connsiteX17" fmla="*/ 890075 w 1256734"/>
                <a:gd name="connsiteY17" fmla="*/ 6198 h 356304"/>
                <a:gd name="connsiteX18" fmla="*/ 846824 w 1256734"/>
                <a:gd name="connsiteY18" fmla="*/ 6198 h 356304"/>
                <a:gd name="connsiteX19" fmla="*/ 846824 w 1256734"/>
                <a:gd name="connsiteY19" fmla="*/ 160920 h 356304"/>
                <a:gd name="connsiteX20" fmla="*/ 679216 w 1256734"/>
                <a:gd name="connsiteY20" fmla="*/ 160920 h 356304"/>
                <a:gd name="connsiteX21" fmla="*/ 679216 w 1256734"/>
                <a:gd name="connsiteY21" fmla="*/ 6198 h 356304"/>
                <a:gd name="connsiteX22" fmla="*/ 635912 w 1256734"/>
                <a:gd name="connsiteY22" fmla="*/ 6198 h 356304"/>
                <a:gd name="connsiteX23" fmla="*/ 635912 w 1256734"/>
                <a:gd name="connsiteY23" fmla="*/ 350105 h 356304"/>
                <a:gd name="connsiteX24" fmla="*/ 679216 w 1256734"/>
                <a:gd name="connsiteY24" fmla="*/ 350105 h 356304"/>
                <a:gd name="connsiteX25" fmla="*/ 679216 w 1256734"/>
                <a:gd name="connsiteY25" fmla="*/ 197999 h 356304"/>
                <a:gd name="connsiteX26" fmla="*/ 392018 w 1256734"/>
                <a:gd name="connsiteY26" fmla="*/ 40230 h 356304"/>
                <a:gd name="connsiteX27" fmla="*/ 476563 w 1256734"/>
                <a:gd name="connsiteY27" fmla="*/ 75813 h 356304"/>
                <a:gd name="connsiteX28" fmla="*/ 515792 w 1256734"/>
                <a:gd name="connsiteY28" fmla="*/ 181011 h 356304"/>
                <a:gd name="connsiteX29" fmla="*/ 482758 w 1256734"/>
                <a:gd name="connsiteY29" fmla="*/ 275365 h 356304"/>
                <a:gd name="connsiteX30" fmla="*/ 390960 w 1256734"/>
                <a:gd name="connsiteY30" fmla="*/ 316610 h 356304"/>
                <a:gd name="connsiteX31" fmla="*/ 267239 w 1256734"/>
                <a:gd name="connsiteY31" fmla="*/ 178448 h 356304"/>
                <a:gd name="connsiteX32" fmla="*/ 392018 w 1256734"/>
                <a:gd name="connsiteY32" fmla="*/ 40230 h 356304"/>
                <a:gd name="connsiteX33" fmla="*/ 393077 w 1256734"/>
                <a:gd name="connsiteY33" fmla="*/ 0 h 356304"/>
                <a:gd name="connsiteX34" fmla="*/ 222876 w 1256734"/>
                <a:gd name="connsiteY34" fmla="*/ 179994 h 356304"/>
                <a:gd name="connsiteX35" fmla="*/ 258982 w 1256734"/>
                <a:gd name="connsiteY35" fmla="*/ 291872 h 356304"/>
                <a:gd name="connsiteX36" fmla="*/ 392018 w 1256734"/>
                <a:gd name="connsiteY36" fmla="*/ 356305 h 356304"/>
                <a:gd name="connsiteX37" fmla="*/ 501868 w 1256734"/>
                <a:gd name="connsiteY37" fmla="*/ 315059 h 356304"/>
                <a:gd name="connsiteX38" fmla="*/ 560155 w 1256734"/>
                <a:gd name="connsiteY38" fmla="*/ 181545 h 356304"/>
                <a:gd name="connsiteX39" fmla="*/ 519921 w 1256734"/>
                <a:gd name="connsiteY39" fmla="*/ 59304 h 356304"/>
                <a:gd name="connsiteX40" fmla="*/ 393077 w 1256734"/>
                <a:gd name="connsiteY40" fmla="*/ 0 h 356304"/>
                <a:gd name="connsiteX41" fmla="*/ 43306 w 1256734"/>
                <a:gd name="connsiteY41" fmla="*/ 310946 h 356304"/>
                <a:gd name="connsiteX42" fmla="*/ 43306 w 1256734"/>
                <a:gd name="connsiteY42" fmla="*/ 6198 h 356304"/>
                <a:gd name="connsiteX43" fmla="*/ 0 w 1256734"/>
                <a:gd name="connsiteY43" fmla="*/ 6198 h 356304"/>
                <a:gd name="connsiteX44" fmla="*/ 0 w 1256734"/>
                <a:gd name="connsiteY44" fmla="*/ 350105 h 356304"/>
                <a:gd name="connsiteX45" fmla="*/ 194237 w 1256734"/>
                <a:gd name="connsiteY45" fmla="*/ 350105 h 356304"/>
                <a:gd name="connsiteX46" fmla="*/ 194237 w 1256734"/>
                <a:gd name="connsiteY46" fmla="*/ 310946 h 356304"/>
                <a:gd name="connsiteX47" fmla="*/ 43306 w 1256734"/>
                <a:gd name="connsiteY47" fmla="*/ 310946 h 35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256734" h="356304">
                  <a:moveTo>
                    <a:pt x="1226823" y="269166"/>
                  </a:moveTo>
                  <a:cubicBezTo>
                    <a:pt x="1200037" y="301650"/>
                    <a:pt x="1171131" y="316610"/>
                    <a:pt x="1133491" y="316610"/>
                  </a:cubicBezTo>
                  <a:cubicBezTo>
                    <a:pt x="1062341" y="316610"/>
                    <a:pt x="1010248" y="258371"/>
                    <a:pt x="1010248" y="178448"/>
                  </a:cubicBezTo>
                  <a:cubicBezTo>
                    <a:pt x="1010248" y="97985"/>
                    <a:pt x="1061334" y="39696"/>
                    <a:pt x="1131426" y="39696"/>
                  </a:cubicBezTo>
                  <a:cubicBezTo>
                    <a:pt x="1168008" y="39696"/>
                    <a:pt x="1193313" y="52092"/>
                    <a:pt x="1226823" y="86659"/>
                  </a:cubicBezTo>
                  <a:lnTo>
                    <a:pt x="1256735" y="58823"/>
                  </a:lnTo>
                  <a:cubicBezTo>
                    <a:pt x="1239742" y="40230"/>
                    <a:pt x="1230424" y="32003"/>
                    <a:pt x="1216553" y="23241"/>
                  </a:cubicBezTo>
                  <a:cubicBezTo>
                    <a:pt x="1191725" y="8281"/>
                    <a:pt x="1161338" y="0"/>
                    <a:pt x="1130420" y="0"/>
                  </a:cubicBezTo>
                  <a:cubicBezTo>
                    <a:pt x="1035500" y="0"/>
                    <a:pt x="965885" y="75279"/>
                    <a:pt x="965885" y="178448"/>
                  </a:cubicBezTo>
                  <a:cubicBezTo>
                    <a:pt x="965885" y="226369"/>
                    <a:pt x="982931" y="273279"/>
                    <a:pt x="1011783" y="305763"/>
                  </a:cubicBezTo>
                  <a:cubicBezTo>
                    <a:pt x="1041165" y="338782"/>
                    <a:pt x="1081928" y="356305"/>
                    <a:pt x="1129892" y="356305"/>
                  </a:cubicBezTo>
                  <a:cubicBezTo>
                    <a:pt x="1182990" y="356305"/>
                    <a:pt x="1221107" y="338782"/>
                    <a:pt x="1255676" y="298071"/>
                  </a:cubicBezTo>
                  <a:lnTo>
                    <a:pt x="1226823" y="269166"/>
                  </a:lnTo>
                  <a:close/>
                  <a:moveTo>
                    <a:pt x="679216" y="197999"/>
                  </a:moveTo>
                  <a:lnTo>
                    <a:pt x="846824" y="197999"/>
                  </a:lnTo>
                  <a:lnTo>
                    <a:pt x="846824" y="350105"/>
                  </a:lnTo>
                  <a:lnTo>
                    <a:pt x="890075" y="350105"/>
                  </a:lnTo>
                  <a:lnTo>
                    <a:pt x="890075" y="6198"/>
                  </a:lnTo>
                  <a:lnTo>
                    <a:pt x="846824" y="6198"/>
                  </a:lnTo>
                  <a:lnTo>
                    <a:pt x="846824" y="160920"/>
                  </a:lnTo>
                  <a:lnTo>
                    <a:pt x="679216" y="160920"/>
                  </a:lnTo>
                  <a:lnTo>
                    <a:pt x="679216" y="6198"/>
                  </a:lnTo>
                  <a:lnTo>
                    <a:pt x="635912" y="6198"/>
                  </a:lnTo>
                  <a:lnTo>
                    <a:pt x="635912" y="350105"/>
                  </a:lnTo>
                  <a:lnTo>
                    <a:pt x="679216" y="350105"/>
                  </a:lnTo>
                  <a:lnTo>
                    <a:pt x="679216" y="197999"/>
                  </a:lnTo>
                  <a:close/>
                  <a:moveTo>
                    <a:pt x="392018" y="40230"/>
                  </a:moveTo>
                  <a:cubicBezTo>
                    <a:pt x="422459" y="40230"/>
                    <a:pt x="453904" y="53641"/>
                    <a:pt x="476563" y="75813"/>
                  </a:cubicBezTo>
                  <a:cubicBezTo>
                    <a:pt x="503404" y="101618"/>
                    <a:pt x="515792" y="135117"/>
                    <a:pt x="515792" y="181011"/>
                  </a:cubicBezTo>
                  <a:cubicBezTo>
                    <a:pt x="515792" y="216057"/>
                    <a:pt x="502874" y="253189"/>
                    <a:pt x="482758" y="275365"/>
                  </a:cubicBezTo>
                  <a:cubicBezTo>
                    <a:pt x="459569" y="301650"/>
                    <a:pt x="425530" y="316610"/>
                    <a:pt x="390960" y="316610"/>
                  </a:cubicBezTo>
                  <a:cubicBezTo>
                    <a:pt x="319809" y="316610"/>
                    <a:pt x="267239" y="258371"/>
                    <a:pt x="267239" y="178448"/>
                  </a:cubicBezTo>
                  <a:cubicBezTo>
                    <a:pt x="267239" y="99000"/>
                    <a:pt x="320338" y="40230"/>
                    <a:pt x="392018" y="40230"/>
                  </a:cubicBezTo>
                  <a:moveTo>
                    <a:pt x="393077" y="0"/>
                  </a:moveTo>
                  <a:cubicBezTo>
                    <a:pt x="295615" y="0"/>
                    <a:pt x="222876" y="77362"/>
                    <a:pt x="222876" y="179994"/>
                  </a:cubicBezTo>
                  <a:cubicBezTo>
                    <a:pt x="222876" y="223273"/>
                    <a:pt x="235318" y="261956"/>
                    <a:pt x="258982" y="291872"/>
                  </a:cubicBezTo>
                  <a:cubicBezTo>
                    <a:pt x="290957" y="332101"/>
                    <a:pt x="340985" y="356305"/>
                    <a:pt x="392018" y="356305"/>
                  </a:cubicBezTo>
                  <a:cubicBezTo>
                    <a:pt x="431723" y="356305"/>
                    <a:pt x="470899" y="341879"/>
                    <a:pt x="501868" y="315059"/>
                  </a:cubicBezTo>
                  <a:cubicBezTo>
                    <a:pt x="539509" y="283110"/>
                    <a:pt x="560155" y="235131"/>
                    <a:pt x="560155" y="181545"/>
                  </a:cubicBezTo>
                  <a:cubicBezTo>
                    <a:pt x="560155" y="129935"/>
                    <a:pt x="547715" y="91788"/>
                    <a:pt x="519921" y="59304"/>
                  </a:cubicBezTo>
                  <a:cubicBezTo>
                    <a:pt x="486886" y="21691"/>
                    <a:pt x="440988" y="0"/>
                    <a:pt x="393077" y="0"/>
                  </a:cubicBezTo>
                  <a:moveTo>
                    <a:pt x="43306" y="310946"/>
                  </a:moveTo>
                  <a:lnTo>
                    <a:pt x="43306" y="6198"/>
                  </a:lnTo>
                  <a:lnTo>
                    <a:pt x="0" y="6198"/>
                  </a:lnTo>
                  <a:lnTo>
                    <a:pt x="0" y="350105"/>
                  </a:lnTo>
                  <a:lnTo>
                    <a:pt x="194237" y="350105"/>
                  </a:lnTo>
                  <a:lnTo>
                    <a:pt x="194237" y="310946"/>
                  </a:lnTo>
                  <a:lnTo>
                    <a:pt x="43306" y="310946"/>
                  </a:lnTo>
                  <a:close/>
                </a:path>
              </a:pathLst>
            </a:custGeom>
            <a:solidFill>
              <a:schemeClr val="accent2"/>
            </a:solidFill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6135BBF4-853F-61BF-53EE-C0225EFAD52B}"/>
                </a:ext>
              </a:extLst>
            </p:cNvPr>
            <p:cNvSpPr/>
            <p:nvPr/>
          </p:nvSpPr>
          <p:spPr bwMode="gray">
            <a:xfrm>
              <a:off x="-161925" y="-1630732"/>
              <a:ext cx="10575647" cy="1701544"/>
            </a:xfrm>
            <a:custGeom>
              <a:avLst/>
              <a:gdLst>
                <a:gd name="connsiteX0" fmla="*/ 7802033 w 10575647"/>
                <a:gd name="connsiteY0" fmla="*/ 380187 h 1701544"/>
                <a:gd name="connsiteX1" fmla="*/ 7621138 w 10575647"/>
                <a:gd name="connsiteY1" fmla="*/ 380187 h 1701544"/>
                <a:gd name="connsiteX2" fmla="*/ 7621138 w 10575647"/>
                <a:gd name="connsiteY2" fmla="*/ 1271563 h 1701544"/>
                <a:gd name="connsiteX3" fmla="*/ 7802033 w 10575647"/>
                <a:gd name="connsiteY3" fmla="*/ 1271563 h 1701544"/>
                <a:gd name="connsiteX4" fmla="*/ 7802033 w 10575647"/>
                <a:gd name="connsiteY4" fmla="*/ 380187 h 1701544"/>
                <a:gd name="connsiteX5" fmla="*/ 706522 w 10575647"/>
                <a:gd name="connsiteY5" fmla="*/ 1271563 h 1701544"/>
                <a:gd name="connsiteX6" fmla="*/ 902065 w 10575647"/>
                <a:gd name="connsiteY6" fmla="*/ 1271563 h 1701544"/>
                <a:gd name="connsiteX7" fmla="*/ 902065 w 10575647"/>
                <a:gd name="connsiteY7" fmla="*/ 0 h 1701544"/>
                <a:gd name="connsiteX8" fmla="*/ 706522 w 10575647"/>
                <a:gd name="connsiteY8" fmla="*/ 0 h 1701544"/>
                <a:gd name="connsiteX9" fmla="*/ 706522 w 10575647"/>
                <a:gd name="connsiteY9" fmla="*/ 553717 h 1701544"/>
                <a:gd name="connsiteX10" fmla="*/ 195543 w 10575647"/>
                <a:gd name="connsiteY10" fmla="*/ 553717 h 1701544"/>
                <a:gd name="connsiteX11" fmla="*/ 195543 w 10575647"/>
                <a:gd name="connsiteY11" fmla="*/ 0 h 1701544"/>
                <a:gd name="connsiteX12" fmla="*/ 0 w 10575647"/>
                <a:gd name="connsiteY12" fmla="*/ 0 h 1701544"/>
                <a:gd name="connsiteX13" fmla="*/ 0 w 10575647"/>
                <a:gd name="connsiteY13" fmla="*/ 1271563 h 1701544"/>
                <a:gd name="connsiteX14" fmla="*/ 195543 w 10575647"/>
                <a:gd name="connsiteY14" fmla="*/ 1271563 h 1701544"/>
                <a:gd name="connsiteX15" fmla="*/ 195543 w 10575647"/>
                <a:gd name="connsiteY15" fmla="*/ 727142 h 1701544"/>
                <a:gd name="connsiteX16" fmla="*/ 706522 w 10575647"/>
                <a:gd name="connsiteY16" fmla="*/ 727142 h 1701544"/>
                <a:gd name="connsiteX17" fmla="*/ 706522 w 10575647"/>
                <a:gd name="connsiteY17" fmla="*/ 1271563 h 1701544"/>
                <a:gd name="connsiteX18" fmla="*/ 1306185 w 10575647"/>
                <a:gd name="connsiteY18" fmla="*/ 1690649 h 1701544"/>
                <a:gd name="connsiteX19" fmla="*/ 1654904 w 10575647"/>
                <a:gd name="connsiteY19" fmla="*/ 1036061 h 1701544"/>
                <a:gd name="connsiteX20" fmla="*/ 1306185 w 10575647"/>
                <a:gd name="connsiteY20" fmla="*/ 381469 h 1701544"/>
                <a:gd name="connsiteX21" fmla="*/ 1090234 w 10575647"/>
                <a:gd name="connsiteY21" fmla="*/ 381469 h 1701544"/>
                <a:gd name="connsiteX22" fmla="*/ 1438900 w 10575647"/>
                <a:gd name="connsiteY22" fmla="*/ 1036061 h 1701544"/>
                <a:gd name="connsiteX23" fmla="*/ 1090234 w 10575647"/>
                <a:gd name="connsiteY23" fmla="*/ 1690649 h 1701544"/>
                <a:gd name="connsiteX24" fmla="*/ 1306185 w 10575647"/>
                <a:gd name="connsiteY24" fmla="*/ 1690649 h 1701544"/>
                <a:gd name="connsiteX25" fmla="*/ 2581808 w 10575647"/>
                <a:gd name="connsiteY25" fmla="*/ 828654 h 1701544"/>
                <a:gd name="connsiteX26" fmla="*/ 2317883 w 10575647"/>
                <a:gd name="connsiteY26" fmla="*/ 1129505 h 1701544"/>
                <a:gd name="connsiteX27" fmla="*/ 2065011 w 10575647"/>
                <a:gd name="connsiteY27" fmla="*/ 832338 h 1701544"/>
                <a:gd name="connsiteX28" fmla="*/ 2327068 w 10575647"/>
                <a:gd name="connsiteY28" fmla="*/ 525990 h 1701544"/>
                <a:gd name="connsiteX29" fmla="*/ 2581808 w 10575647"/>
                <a:gd name="connsiteY29" fmla="*/ 828654 h 1701544"/>
                <a:gd name="connsiteX30" fmla="*/ 2581808 w 10575647"/>
                <a:gd name="connsiteY30" fmla="*/ 1271563 h 1701544"/>
                <a:gd name="connsiteX31" fmla="*/ 2762608 w 10575647"/>
                <a:gd name="connsiteY31" fmla="*/ 1271563 h 1701544"/>
                <a:gd name="connsiteX32" fmla="*/ 2762608 w 10575647"/>
                <a:gd name="connsiteY32" fmla="*/ 0 h 1701544"/>
                <a:gd name="connsiteX33" fmla="*/ 2581808 w 10575647"/>
                <a:gd name="connsiteY33" fmla="*/ 0 h 1701544"/>
                <a:gd name="connsiteX34" fmla="*/ 2581808 w 10575647"/>
                <a:gd name="connsiteY34" fmla="*/ 476356 h 1701544"/>
                <a:gd name="connsiteX35" fmla="*/ 2297581 w 10575647"/>
                <a:gd name="connsiteY35" fmla="*/ 359885 h 1701544"/>
                <a:gd name="connsiteX36" fmla="*/ 1876785 w 10575647"/>
                <a:gd name="connsiteY36" fmla="*/ 830470 h 1701544"/>
                <a:gd name="connsiteX37" fmla="*/ 2297581 w 10575647"/>
                <a:gd name="connsiteY37" fmla="*/ 1291865 h 1701544"/>
                <a:gd name="connsiteX38" fmla="*/ 2581808 w 10575647"/>
                <a:gd name="connsiteY38" fmla="*/ 1163217 h 1701544"/>
                <a:gd name="connsiteX39" fmla="*/ 2581808 w 10575647"/>
                <a:gd name="connsiteY39" fmla="*/ 1271563 h 1701544"/>
                <a:gd name="connsiteX40" fmla="*/ 3437445 w 10575647"/>
                <a:gd name="connsiteY40" fmla="*/ 542393 h 1701544"/>
                <a:gd name="connsiteX41" fmla="*/ 3460310 w 10575647"/>
                <a:gd name="connsiteY41" fmla="*/ 545331 h 1701544"/>
                <a:gd name="connsiteX42" fmla="*/ 3460310 w 10575647"/>
                <a:gd name="connsiteY42" fmla="*/ 359885 h 1701544"/>
                <a:gd name="connsiteX43" fmla="*/ 3406830 w 10575647"/>
                <a:gd name="connsiteY43" fmla="*/ 359885 h 1701544"/>
                <a:gd name="connsiteX44" fmla="*/ 3231965 w 10575647"/>
                <a:gd name="connsiteY44" fmla="*/ 415877 h 1701544"/>
                <a:gd name="connsiteX45" fmla="*/ 3187194 w 10575647"/>
                <a:gd name="connsiteY45" fmla="*/ 462091 h 1701544"/>
                <a:gd name="connsiteX46" fmla="*/ 3187194 w 10575647"/>
                <a:gd name="connsiteY46" fmla="*/ 380187 h 1701544"/>
                <a:gd name="connsiteX47" fmla="*/ 3006395 w 10575647"/>
                <a:gd name="connsiteY47" fmla="*/ 380187 h 1701544"/>
                <a:gd name="connsiteX48" fmla="*/ 3006395 w 10575647"/>
                <a:gd name="connsiteY48" fmla="*/ 1271563 h 1701544"/>
                <a:gd name="connsiteX49" fmla="*/ 3187194 w 10575647"/>
                <a:gd name="connsiteY49" fmla="*/ 1271563 h 1701544"/>
                <a:gd name="connsiteX50" fmla="*/ 3187194 w 10575647"/>
                <a:gd name="connsiteY50" fmla="*/ 819411 h 1701544"/>
                <a:gd name="connsiteX51" fmla="*/ 3233517 w 10575647"/>
                <a:gd name="connsiteY51" fmla="*/ 629638 h 1701544"/>
                <a:gd name="connsiteX52" fmla="*/ 3401277 w 10575647"/>
                <a:gd name="connsiteY52" fmla="*/ 540683 h 1701544"/>
                <a:gd name="connsiteX53" fmla="*/ 3437445 w 10575647"/>
                <a:gd name="connsiteY53" fmla="*/ 542393 h 1701544"/>
                <a:gd name="connsiteX54" fmla="*/ 4250980 w 10575647"/>
                <a:gd name="connsiteY54" fmla="*/ 826838 h 1701544"/>
                <a:gd name="connsiteX55" fmla="*/ 3983364 w 10575647"/>
                <a:gd name="connsiteY55" fmla="*/ 1122077 h 1701544"/>
                <a:gd name="connsiteX56" fmla="*/ 3713875 w 10575647"/>
                <a:gd name="connsiteY56" fmla="*/ 826838 h 1701544"/>
                <a:gd name="connsiteX57" fmla="*/ 3985180 w 10575647"/>
                <a:gd name="connsiteY57" fmla="*/ 529677 h 1701544"/>
                <a:gd name="connsiteX58" fmla="*/ 4250980 w 10575647"/>
                <a:gd name="connsiteY58" fmla="*/ 826838 h 1701544"/>
                <a:gd name="connsiteX59" fmla="*/ 4435464 w 10575647"/>
                <a:gd name="connsiteY59" fmla="*/ 828654 h 1701544"/>
                <a:gd name="connsiteX60" fmla="*/ 3985180 w 10575647"/>
                <a:gd name="connsiteY60" fmla="*/ 359885 h 1701544"/>
                <a:gd name="connsiteX61" fmla="*/ 3529338 w 10575647"/>
                <a:gd name="connsiteY61" fmla="*/ 824916 h 1701544"/>
                <a:gd name="connsiteX62" fmla="*/ 3979622 w 10575647"/>
                <a:gd name="connsiteY62" fmla="*/ 1291865 h 1701544"/>
                <a:gd name="connsiteX63" fmla="*/ 4435464 w 10575647"/>
                <a:gd name="connsiteY63" fmla="*/ 828654 h 1701544"/>
                <a:gd name="connsiteX64" fmla="*/ 5261608 w 10575647"/>
                <a:gd name="connsiteY64" fmla="*/ 828654 h 1701544"/>
                <a:gd name="connsiteX65" fmla="*/ 5205508 w 10575647"/>
                <a:gd name="connsiteY65" fmla="*/ 1025854 h 1701544"/>
                <a:gd name="connsiteX66" fmla="*/ 5005052 w 10575647"/>
                <a:gd name="connsiteY66" fmla="*/ 1122077 h 1701544"/>
                <a:gd name="connsiteX67" fmla="*/ 4746675 w 10575647"/>
                <a:gd name="connsiteY67" fmla="*/ 823153 h 1701544"/>
                <a:gd name="connsiteX68" fmla="*/ 5008683 w 10575647"/>
                <a:gd name="connsiteY68" fmla="*/ 529677 h 1701544"/>
                <a:gd name="connsiteX69" fmla="*/ 5200378 w 10575647"/>
                <a:gd name="connsiteY69" fmla="*/ 617081 h 1701544"/>
                <a:gd name="connsiteX70" fmla="*/ 5261608 w 10575647"/>
                <a:gd name="connsiteY70" fmla="*/ 828654 h 1701544"/>
                <a:gd name="connsiteX71" fmla="*/ 5327264 w 10575647"/>
                <a:gd name="connsiteY71" fmla="*/ 1583314 h 1701544"/>
                <a:gd name="connsiteX72" fmla="*/ 5446113 w 10575647"/>
                <a:gd name="connsiteY72" fmla="*/ 1256819 h 1701544"/>
                <a:gd name="connsiteX73" fmla="*/ 5446113 w 10575647"/>
                <a:gd name="connsiteY73" fmla="*/ 380187 h 1701544"/>
                <a:gd name="connsiteX74" fmla="*/ 5265239 w 10575647"/>
                <a:gd name="connsiteY74" fmla="*/ 380187 h 1701544"/>
                <a:gd name="connsiteX75" fmla="*/ 5265239 w 10575647"/>
                <a:gd name="connsiteY75" fmla="*/ 488537 h 1701544"/>
                <a:gd name="connsiteX76" fmla="*/ 4982875 w 10575647"/>
                <a:gd name="connsiteY76" fmla="*/ 359885 h 1701544"/>
                <a:gd name="connsiteX77" fmla="*/ 4699394 w 10575647"/>
                <a:gd name="connsiteY77" fmla="*/ 465190 h 1701544"/>
                <a:gd name="connsiteX78" fmla="*/ 4558400 w 10575647"/>
                <a:gd name="connsiteY78" fmla="*/ 828654 h 1701544"/>
                <a:gd name="connsiteX79" fmla="*/ 4971816 w 10575647"/>
                <a:gd name="connsiteY79" fmla="*/ 1291865 h 1701544"/>
                <a:gd name="connsiteX80" fmla="*/ 5265239 w 10575647"/>
                <a:gd name="connsiteY80" fmla="*/ 1150553 h 1701544"/>
                <a:gd name="connsiteX81" fmla="*/ 5265239 w 10575647"/>
                <a:gd name="connsiteY81" fmla="*/ 1267931 h 1701544"/>
                <a:gd name="connsiteX82" fmla="*/ 5206095 w 10575647"/>
                <a:gd name="connsiteY82" fmla="*/ 1457116 h 1701544"/>
                <a:gd name="connsiteX83" fmla="*/ 4999546 w 10575647"/>
                <a:gd name="connsiteY83" fmla="*/ 1533625 h 1701544"/>
                <a:gd name="connsiteX84" fmla="*/ 4811695 w 10575647"/>
                <a:gd name="connsiteY84" fmla="*/ 1487409 h 1701544"/>
                <a:gd name="connsiteX85" fmla="*/ 4733588 w 10575647"/>
                <a:gd name="connsiteY85" fmla="*/ 1416300 h 1701544"/>
                <a:gd name="connsiteX86" fmla="*/ 4719215 w 10575647"/>
                <a:gd name="connsiteY86" fmla="*/ 1401339 h 1701544"/>
                <a:gd name="connsiteX87" fmla="*/ 4595103 w 10575647"/>
                <a:gd name="connsiteY87" fmla="*/ 1525451 h 1701544"/>
                <a:gd name="connsiteX88" fmla="*/ 4607819 w 10575647"/>
                <a:gd name="connsiteY88" fmla="*/ 1539824 h 1701544"/>
                <a:gd name="connsiteX89" fmla="*/ 4999546 w 10575647"/>
                <a:gd name="connsiteY89" fmla="*/ 1701544 h 1701544"/>
                <a:gd name="connsiteX90" fmla="*/ 5327264 w 10575647"/>
                <a:gd name="connsiteY90" fmla="*/ 1583314 h 1701544"/>
                <a:gd name="connsiteX91" fmla="*/ 6317923 w 10575647"/>
                <a:gd name="connsiteY91" fmla="*/ 747497 h 1701544"/>
                <a:gd name="connsiteX92" fmla="*/ 5805203 w 10575647"/>
                <a:gd name="connsiteY92" fmla="*/ 747497 h 1701544"/>
                <a:gd name="connsiteX93" fmla="*/ 5845913 w 10575647"/>
                <a:gd name="connsiteY93" fmla="*/ 635144 h 1701544"/>
                <a:gd name="connsiteX94" fmla="*/ 6057989 w 10575647"/>
                <a:gd name="connsiteY94" fmla="*/ 525990 h 1701544"/>
                <a:gd name="connsiteX95" fmla="*/ 6275730 w 10575647"/>
                <a:gd name="connsiteY95" fmla="*/ 633487 h 1701544"/>
                <a:gd name="connsiteX96" fmla="*/ 6317923 w 10575647"/>
                <a:gd name="connsiteY96" fmla="*/ 747497 h 1701544"/>
                <a:gd name="connsiteX97" fmla="*/ 6508188 w 10575647"/>
                <a:gd name="connsiteY97" fmla="*/ 872890 h 1701544"/>
                <a:gd name="connsiteX98" fmla="*/ 6510094 w 10575647"/>
                <a:gd name="connsiteY98" fmla="*/ 815779 h 1701544"/>
                <a:gd name="connsiteX99" fmla="*/ 6057989 w 10575647"/>
                <a:gd name="connsiteY99" fmla="*/ 359885 h 1701544"/>
                <a:gd name="connsiteX100" fmla="*/ 5609538 w 10575647"/>
                <a:gd name="connsiteY100" fmla="*/ 828654 h 1701544"/>
                <a:gd name="connsiteX101" fmla="*/ 6063495 w 10575647"/>
                <a:gd name="connsiteY101" fmla="*/ 1291865 h 1701544"/>
                <a:gd name="connsiteX102" fmla="*/ 6460066 w 10575647"/>
                <a:gd name="connsiteY102" fmla="*/ 1051710 h 1701544"/>
                <a:gd name="connsiteX103" fmla="*/ 6469966 w 10575647"/>
                <a:gd name="connsiteY103" fmla="*/ 1031572 h 1701544"/>
                <a:gd name="connsiteX104" fmla="*/ 6308923 w 10575647"/>
                <a:gd name="connsiteY104" fmla="*/ 971517 h 1701544"/>
                <a:gd name="connsiteX105" fmla="*/ 6300559 w 10575647"/>
                <a:gd name="connsiteY105" fmla="*/ 986689 h 1701544"/>
                <a:gd name="connsiteX106" fmla="*/ 6063495 w 10575647"/>
                <a:gd name="connsiteY106" fmla="*/ 1122077 h 1701544"/>
                <a:gd name="connsiteX107" fmla="*/ 5850784 w 10575647"/>
                <a:gd name="connsiteY107" fmla="*/ 1013832 h 1701544"/>
                <a:gd name="connsiteX108" fmla="*/ 5802132 w 10575647"/>
                <a:gd name="connsiteY108" fmla="*/ 891377 h 1701544"/>
                <a:gd name="connsiteX109" fmla="*/ 6506547 w 10575647"/>
                <a:gd name="connsiteY109" fmla="*/ 891377 h 1701544"/>
                <a:gd name="connsiteX110" fmla="*/ 6508188 w 10575647"/>
                <a:gd name="connsiteY110" fmla="*/ 872890 h 1701544"/>
                <a:gd name="connsiteX111" fmla="*/ 7205139 w 10575647"/>
                <a:gd name="connsiteY111" fmla="*/ 1271563 h 1701544"/>
                <a:gd name="connsiteX112" fmla="*/ 7385928 w 10575647"/>
                <a:gd name="connsiteY112" fmla="*/ 1271563 h 1701544"/>
                <a:gd name="connsiteX113" fmla="*/ 7385928 w 10575647"/>
                <a:gd name="connsiteY113" fmla="*/ 677294 h 1701544"/>
                <a:gd name="connsiteX114" fmla="*/ 7307154 w 10575647"/>
                <a:gd name="connsiteY114" fmla="*/ 435163 h 1701544"/>
                <a:gd name="connsiteX115" fmla="*/ 7096189 w 10575647"/>
                <a:gd name="connsiteY115" fmla="*/ 359885 h 1701544"/>
                <a:gd name="connsiteX116" fmla="*/ 6863625 w 10575647"/>
                <a:gd name="connsiteY116" fmla="*/ 463694 h 1701544"/>
                <a:gd name="connsiteX117" fmla="*/ 6863625 w 10575647"/>
                <a:gd name="connsiteY117" fmla="*/ 380187 h 1701544"/>
                <a:gd name="connsiteX118" fmla="*/ 6682836 w 10575647"/>
                <a:gd name="connsiteY118" fmla="*/ 380187 h 1701544"/>
                <a:gd name="connsiteX119" fmla="*/ 6682836 w 10575647"/>
                <a:gd name="connsiteY119" fmla="*/ 1271563 h 1701544"/>
                <a:gd name="connsiteX120" fmla="*/ 6863625 w 10575647"/>
                <a:gd name="connsiteY120" fmla="*/ 1271563 h 1701544"/>
                <a:gd name="connsiteX121" fmla="*/ 6863625 w 10575647"/>
                <a:gd name="connsiteY121" fmla="*/ 732701 h 1701544"/>
                <a:gd name="connsiteX122" fmla="*/ 6913971 w 10575647"/>
                <a:gd name="connsiteY122" fmla="*/ 591066 h 1701544"/>
                <a:gd name="connsiteX123" fmla="*/ 7061143 w 10575647"/>
                <a:gd name="connsiteY123" fmla="*/ 525990 h 1701544"/>
                <a:gd name="connsiteX124" fmla="*/ 7177769 w 10575647"/>
                <a:gd name="connsiteY124" fmla="*/ 575089 h 1701544"/>
                <a:gd name="connsiteX125" fmla="*/ 7205139 w 10575647"/>
                <a:gd name="connsiteY125" fmla="*/ 708709 h 1701544"/>
                <a:gd name="connsiteX126" fmla="*/ 7205139 w 10575647"/>
                <a:gd name="connsiteY126" fmla="*/ 1271563 h 1701544"/>
                <a:gd name="connsiteX127" fmla="*/ 7822309 w 10575647"/>
                <a:gd name="connsiteY127" fmla="*/ 162418 h 1701544"/>
                <a:gd name="connsiteX128" fmla="*/ 7713412 w 10575647"/>
                <a:gd name="connsiteY128" fmla="*/ 49847 h 1701544"/>
                <a:gd name="connsiteX129" fmla="*/ 7602662 w 10575647"/>
                <a:gd name="connsiteY129" fmla="*/ 160549 h 1701544"/>
                <a:gd name="connsiteX130" fmla="*/ 7711560 w 10575647"/>
                <a:gd name="connsiteY130" fmla="*/ 271303 h 1701544"/>
                <a:gd name="connsiteX131" fmla="*/ 7822309 w 10575647"/>
                <a:gd name="connsiteY131" fmla="*/ 162418 h 1701544"/>
                <a:gd name="connsiteX132" fmla="*/ 8704760 w 10575647"/>
                <a:gd name="connsiteY132" fmla="*/ 826838 h 1701544"/>
                <a:gd name="connsiteX133" fmla="*/ 8437150 w 10575647"/>
                <a:gd name="connsiteY133" fmla="*/ 1122077 h 1701544"/>
                <a:gd name="connsiteX134" fmla="*/ 8167740 w 10575647"/>
                <a:gd name="connsiteY134" fmla="*/ 826838 h 1701544"/>
                <a:gd name="connsiteX135" fmla="*/ 8439003 w 10575647"/>
                <a:gd name="connsiteY135" fmla="*/ 529677 h 1701544"/>
                <a:gd name="connsiteX136" fmla="*/ 8704760 w 10575647"/>
                <a:gd name="connsiteY136" fmla="*/ 826838 h 1701544"/>
                <a:gd name="connsiteX137" fmla="*/ 8889307 w 10575647"/>
                <a:gd name="connsiteY137" fmla="*/ 828654 h 1701544"/>
                <a:gd name="connsiteX138" fmla="*/ 8439003 w 10575647"/>
                <a:gd name="connsiteY138" fmla="*/ 359885 h 1701544"/>
                <a:gd name="connsiteX139" fmla="*/ 7983193 w 10575647"/>
                <a:gd name="connsiteY139" fmla="*/ 824916 h 1701544"/>
                <a:gd name="connsiteX140" fmla="*/ 8433444 w 10575647"/>
                <a:gd name="connsiteY140" fmla="*/ 1291865 h 1701544"/>
                <a:gd name="connsiteX141" fmla="*/ 8889307 w 10575647"/>
                <a:gd name="connsiteY141" fmla="*/ 828654 h 1701544"/>
                <a:gd name="connsiteX142" fmla="*/ 9658150 w 10575647"/>
                <a:gd name="connsiteY142" fmla="*/ 1197940 h 1701544"/>
                <a:gd name="connsiteX143" fmla="*/ 9749630 w 10575647"/>
                <a:gd name="connsiteY143" fmla="*/ 944968 h 1701544"/>
                <a:gd name="connsiteX144" fmla="*/ 9749630 w 10575647"/>
                <a:gd name="connsiteY144" fmla="*/ 380187 h 1701544"/>
                <a:gd name="connsiteX145" fmla="*/ 9566988 w 10575647"/>
                <a:gd name="connsiteY145" fmla="*/ 380187 h 1701544"/>
                <a:gd name="connsiteX146" fmla="*/ 9566988 w 10575647"/>
                <a:gd name="connsiteY146" fmla="*/ 944968 h 1701544"/>
                <a:gd name="connsiteX147" fmla="*/ 9535012 w 10575647"/>
                <a:gd name="connsiteY147" fmla="*/ 1068222 h 1701544"/>
                <a:gd name="connsiteX148" fmla="*/ 9399010 w 10575647"/>
                <a:gd name="connsiteY148" fmla="*/ 1125815 h 1701544"/>
                <a:gd name="connsiteX149" fmla="*/ 9229233 w 10575647"/>
                <a:gd name="connsiteY149" fmla="*/ 941225 h 1701544"/>
                <a:gd name="connsiteX150" fmla="*/ 9229233 w 10575647"/>
                <a:gd name="connsiteY150" fmla="*/ 380187 h 1701544"/>
                <a:gd name="connsiteX151" fmla="*/ 9048391 w 10575647"/>
                <a:gd name="connsiteY151" fmla="*/ 380187 h 1701544"/>
                <a:gd name="connsiteX152" fmla="*/ 9048391 w 10575647"/>
                <a:gd name="connsiteY152" fmla="*/ 944968 h 1701544"/>
                <a:gd name="connsiteX153" fmla="*/ 9139659 w 10575647"/>
                <a:gd name="connsiteY153" fmla="*/ 1195965 h 1701544"/>
                <a:gd name="connsiteX154" fmla="*/ 9399010 w 10575647"/>
                <a:gd name="connsiteY154" fmla="*/ 1291865 h 1701544"/>
                <a:gd name="connsiteX155" fmla="*/ 9658150 w 10575647"/>
                <a:gd name="connsiteY155" fmla="*/ 1197945 h 1701544"/>
                <a:gd name="connsiteX156" fmla="*/ 10385594 w 10575647"/>
                <a:gd name="connsiteY156" fmla="*/ 653307 h 1701544"/>
                <a:gd name="connsiteX157" fmla="*/ 10567335 w 10575647"/>
                <a:gd name="connsiteY157" fmla="*/ 653307 h 1701544"/>
                <a:gd name="connsiteX158" fmla="*/ 10566383 w 10575647"/>
                <a:gd name="connsiteY158" fmla="*/ 632041 h 1701544"/>
                <a:gd name="connsiteX159" fmla="*/ 10249009 w 10575647"/>
                <a:gd name="connsiteY159" fmla="*/ 359885 h 1701544"/>
                <a:gd name="connsiteX160" fmla="*/ 9929730 w 10575647"/>
                <a:gd name="connsiteY160" fmla="*/ 627446 h 1701544"/>
                <a:gd name="connsiteX161" fmla="*/ 10212587 w 10575647"/>
                <a:gd name="connsiteY161" fmla="*/ 903611 h 1701544"/>
                <a:gd name="connsiteX162" fmla="*/ 10391099 w 10575647"/>
                <a:gd name="connsiteY162" fmla="*/ 1031625 h 1701544"/>
                <a:gd name="connsiteX163" fmla="*/ 10252715 w 10575647"/>
                <a:gd name="connsiteY163" fmla="*/ 1136874 h 1701544"/>
                <a:gd name="connsiteX164" fmla="*/ 10093843 w 10575647"/>
                <a:gd name="connsiteY164" fmla="*/ 1007579 h 1701544"/>
                <a:gd name="connsiteX165" fmla="*/ 10092096 w 10575647"/>
                <a:gd name="connsiteY165" fmla="*/ 989257 h 1701544"/>
                <a:gd name="connsiteX166" fmla="*/ 9913054 w 10575647"/>
                <a:gd name="connsiteY166" fmla="*/ 989257 h 1701544"/>
                <a:gd name="connsiteX167" fmla="*/ 9915066 w 10575647"/>
                <a:gd name="connsiteY167" fmla="*/ 1011216 h 1701544"/>
                <a:gd name="connsiteX168" fmla="*/ 10252715 w 10575647"/>
                <a:gd name="connsiteY168" fmla="*/ 1291865 h 1701544"/>
                <a:gd name="connsiteX169" fmla="*/ 10575647 w 10575647"/>
                <a:gd name="connsiteY169" fmla="*/ 1024303 h 1701544"/>
                <a:gd name="connsiteX170" fmla="*/ 10501426 w 10575647"/>
                <a:gd name="connsiteY170" fmla="*/ 843879 h 1701544"/>
                <a:gd name="connsiteX171" fmla="*/ 10285750 w 10575647"/>
                <a:gd name="connsiteY171" fmla="*/ 740769 h 1701544"/>
                <a:gd name="connsiteX172" fmla="*/ 10110519 w 10575647"/>
                <a:gd name="connsiteY172" fmla="*/ 616440 h 1701544"/>
                <a:gd name="connsiteX173" fmla="*/ 10243398 w 10575647"/>
                <a:gd name="connsiteY173" fmla="*/ 514877 h 1701544"/>
                <a:gd name="connsiteX174" fmla="*/ 10385594 w 10575647"/>
                <a:gd name="connsiteY174" fmla="*/ 623762 h 1701544"/>
                <a:gd name="connsiteX175" fmla="*/ 10385594 w 10575647"/>
                <a:gd name="connsiteY175" fmla="*/ 653307 h 170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10575647" h="1701544">
                  <a:moveTo>
                    <a:pt x="7802033" y="380187"/>
                  </a:moveTo>
                  <a:lnTo>
                    <a:pt x="7621138" y="380187"/>
                  </a:lnTo>
                  <a:lnTo>
                    <a:pt x="7621138" y="1271563"/>
                  </a:lnTo>
                  <a:lnTo>
                    <a:pt x="7802033" y="1271563"/>
                  </a:lnTo>
                  <a:lnTo>
                    <a:pt x="7802033" y="380187"/>
                  </a:lnTo>
                  <a:close/>
                  <a:moveTo>
                    <a:pt x="706522" y="1271563"/>
                  </a:moveTo>
                  <a:lnTo>
                    <a:pt x="902065" y="1271563"/>
                  </a:lnTo>
                  <a:lnTo>
                    <a:pt x="902065" y="0"/>
                  </a:lnTo>
                  <a:lnTo>
                    <a:pt x="706522" y="0"/>
                  </a:lnTo>
                  <a:lnTo>
                    <a:pt x="706522" y="553717"/>
                  </a:lnTo>
                  <a:lnTo>
                    <a:pt x="195543" y="553717"/>
                  </a:lnTo>
                  <a:lnTo>
                    <a:pt x="195543" y="0"/>
                  </a:lnTo>
                  <a:lnTo>
                    <a:pt x="0" y="0"/>
                  </a:lnTo>
                  <a:lnTo>
                    <a:pt x="0" y="1271563"/>
                  </a:lnTo>
                  <a:lnTo>
                    <a:pt x="195543" y="1271563"/>
                  </a:lnTo>
                  <a:lnTo>
                    <a:pt x="195543" y="727142"/>
                  </a:lnTo>
                  <a:lnTo>
                    <a:pt x="706522" y="727142"/>
                  </a:lnTo>
                  <a:lnTo>
                    <a:pt x="706522" y="1271563"/>
                  </a:lnTo>
                  <a:close/>
                  <a:moveTo>
                    <a:pt x="1306185" y="1690649"/>
                  </a:moveTo>
                  <a:lnTo>
                    <a:pt x="1654904" y="1036061"/>
                  </a:lnTo>
                  <a:lnTo>
                    <a:pt x="1306185" y="381469"/>
                  </a:lnTo>
                  <a:lnTo>
                    <a:pt x="1090234" y="381469"/>
                  </a:lnTo>
                  <a:lnTo>
                    <a:pt x="1438900" y="1036061"/>
                  </a:lnTo>
                  <a:lnTo>
                    <a:pt x="1090234" y="1690649"/>
                  </a:lnTo>
                  <a:lnTo>
                    <a:pt x="1306185" y="1690649"/>
                  </a:lnTo>
                  <a:close/>
                  <a:moveTo>
                    <a:pt x="2581808" y="828654"/>
                  </a:moveTo>
                  <a:cubicBezTo>
                    <a:pt x="2581808" y="1002989"/>
                    <a:pt x="2470789" y="1129505"/>
                    <a:pt x="2317883" y="1129505"/>
                  </a:cubicBezTo>
                  <a:cubicBezTo>
                    <a:pt x="2168980" y="1129505"/>
                    <a:pt x="2065011" y="1007262"/>
                    <a:pt x="2065011" y="832338"/>
                  </a:cubicBezTo>
                  <a:cubicBezTo>
                    <a:pt x="2065011" y="649088"/>
                    <a:pt x="2170314" y="525990"/>
                    <a:pt x="2327068" y="525990"/>
                  </a:cubicBezTo>
                  <a:cubicBezTo>
                    <a:pt x="2479444" y="525990"/>
                    <a:pt x="2581808" y="647590"/>
                    <a:pt x="2581808" y="828654"/>
                  </a:cubicBezTo>
                  <a:moveTo>
                    <a:pt x="2581808" y="1271563"/>
                  </a:moveTo>
                  <a:lnTo>
                    <a:pt x="2762608" y="1271563"/>
                  </a:lnTo>
                  <a:lnTo>
                    <a:pt x="2762608" y="0"/>
                  </a:lnTo>
                  <a:lnTo>
                    <a:pt x="2581808" y="0"/>
                  </a:lnTo>
                  <a:lnTo>
                    <a:pt x="2581808" y="476356"/>
                  </a:lnTo>
                  <a:cubicBezTo>
                    <a:pt x="2503431" y="397017"/>
                    <a:pt x="2412449" y="359885"/>
                    <a:pt x="2297581" y="359885"/>
                  </a:cubicBezTo>
                  <a:cubicBezTo>
                    <a:pt x="2057690" y="359885"/>
                    <a:pt x="1876785" y="562214"/>
                    <a:pt x="1876785" y="830470"/>
                  </a:cubicBezTo>
                  <a:cubicBezTo>
                    <a:pt x="1876785" y="1102145"/>
                    <a:pt x="2049839" y="1291865"/>
                    <a:pt x="2297581" y="1291865"/>
                  </a:cubicBezTo>
                  <a:cubicBezTo>
                    <a:pt x="2414371" y="1291865"/>
                    <a:pt x="2503061" y="1251959"/>
                    <a:pt x="2581808" y="1163217"/>
                  </a:cubicBezTo>
                  <a:lnTo>
                    <a:pt x="2581808" y="1271563"/>
                  </a:lnTo>
                  <a:close/>
                  <a:moveTo>
                    <a:pt x="3437445" y="542393"/>
                  </a:moveTo>
                  <a:lnTo>
                    <a:pt x="3460310" y="545331"/>
                  </a:lnTo>
                  <a:lnTo>
                    <a:pt x="3460310" y="359885"/>
                  </a:lnTo>
                  <a:lnTo>
                    <a:pt x="3406830" y="359885"/>
                  </a:lnTo>
                  <a:cubicBezTo>
                    <a:pt x="3341169" y="359885"/>
                    <a:pt x="3277430" y="380294"/>
                    <a:pt x="3231965" y="415877"/>
                  </a:cubicBezTo>
                  <a:cubicBezTo>
                    <a:pt x="3213690" y="430035"/>
                    <a:pt x="3199693" y="444353"/>
                    <a:pt x="3187194" y="462091"/>
                  </a:cubicBezTo>
                  <a:lnTo>
                    <a:pt x="3187194" y="380187"/>
                  </a:lnTo>
                  <a:lnTo>
                    <a:pt x="3006395" y="380187"/>
                  </a:lnTo>
                  <a:lnTo>
                    <a:pt x="3006395" y="1271563"/>
                  </a:lnTo>
                  <a:lnTo>
                    <a:pt x="3187194" y="1271563"/>
                  </a:lnTo>
                  <a:lnTo>
                    <a:pt x="3187194" y="819411"/>
                  </a:lnTo>
                  <a:cubicBezTo>
                    <a:pt x="3187194" y="727783"/>
                    <a:pt x="3198894" y="679915"/>
                    <a:pt x="3233517" y="629638"/>
                  </a:cubicBezTo>
                  <a:cubicBezTo>
                    <a:pt x="3272300" y="572310"/>
                    <a:pt x="3331926" y="540683"/>
                    <a:pt x="3401277" y="540683"/>
                  </a:cubicBezTo>
                  <a:cubicBezTo>
                    <a:pt x="3410356" y="540683"/>
                    <a:pt x="3423983" y="540683"/>
                    <a:pt x="3437445" y="542393"/>
                  </a:cubicBezTo>
                  <a:moveTo>
                    <a:pt x="4250980" y="826838"/>
                  </a:moveTo>
                  <a:cubicBezTo>
                    <a:pt x="4250980" y="1000692"/>
                    <a:pt x="4140918" y="1122077"/>
                    <a:pt x="3983364" y="1122077"/>
                  </a:cubicBezTo>
                  <a:cubicBezTo>
                    <a:pt x="3822174" y="1122077"/>
                    <a:pt x="3713875" y="1003466"/>
                    <a:pt x="3713875" y="826838"/>
                  </a:cubicBezTo>
                  <a:cubicBezTo>
                    <a:pt x="3713875" y="649088"/>
                    <a:pt x="3822920" y="529677"/>
                    <a:pt x="3985180" y="529677"/>
                  </a:cubicBezTo>
                  <a:cubicBezTo>
                    <a:pt x="4144179" y="529677"/>
                    <a:pt x="4250980" y="649088"/>
                    <a:pt x="4250980" y="826838"/>
                  </a:cubicBezTo>
                  <a:moveTo>
                    <a:pt x="4435464" y="828654"/>
                  </a:moveTo>
                  <a:cubicBezTo>
                    <a:pt x="4435464" y="557084"/>
                    <a:pt x="4246120" y="359885"/>
                    <a:pt x="3985180" y="359885"/>
                  </a:cubicBezTo>
                  <a:cubicBezTo>
                    <a:pt x="3716818" y="359885"/>
                    <a:pt x="3529338" y="551155"/>
                    <a:pt x="3529338" y="824916"/>
                  </a:cubicBezTo>
                  <a:cubicBezTo>
                    <a:pt x="3529338" y="1099848"/>
                    <a:pt x="3714521" y="1291865"/>
                    <a:pt x="3979622" y="1291865"/>
                  </a:cubicBezTo>
                  <a:cubicBezTo>
                    <a:pt x="4235272" y="1291865"/>
                    <a:pt x="4435464" y="1088418"/>
                    <a:pt x="4435464" y="828654"/>
                  </a:cubicBezTo>
                  <a:moveTo>
                    <a:pt x="5261608" y="828654"/>
                  </a:moveTo>
                  <a:cubicBezTo>
                    <a:pt x="5261608" y="909382"/>
                    <a:pt x="5239596" y="986748"/>
                    <a:pt x="5205508" y="1025854"/>
                  </a:cubicBezTo>
                  <a:cubicBezTo>
                    <a:pt x="5153150" y="1087026"/>
                    <a:pt x="5080062" y="1122077"/>
                    <a:pt x="5005052" y="1122077"/>
                  </a:cubicBezTo>
                  <a:cubicBezTo>
                    <a:pt x="4855296" y="1122077"/>
                    <a:pt x="4746675" y="996361"/>
                    <a:pt x="4746675" y="823153"/>
                  </a:cubicBezTo>
                  <a:cubicBezTo>
                    <a:pt x="4746675" y="650316"/>
                    <a:pt x="4854386" y="529677"/>
                    <a:pt x="5008683" y="529677"/>
                  </a:cubicBezTo>
                  <a:cubicBezTo>
                    <a:pt x="5078193" y="529677"/>
                    <a:pt x="5151652" y="563177"/>
                    <a:pt x="5200378" y="617081"/>
                  </a:cubicBezTo>
                  <a:cubicBezTo>
                    <a:pt x="5246112" y="667892"/>
                    <a:pt x="5261608" y="721266"/>
                    <a:pt x="5261608" y="828654"/>
                  </a:cubicBezTo>
                  <a:moveTo>
                    <a:pt x="5327264" y="1583314"/>
                  </a:moveTo>
                  <a:cubicBezTo>
                    <a:pt x="5409426" y="1504990"/>
                    <a:pt x="5446113" y="1404277"/>
                    <a:pt x="5446113" y="1256819"/>
                  </a:cubicBezTo>
                  <a:lnTo>
                    <a:pt x="5446113" y="380187"/>
                  </a:lnTo>
                  <a:lnTo>
                    <a:pt x="5265239" y="380187"/>
                  </a:lnTo>
                  <a:lnTo>
                    <a:pt x="5265239" y="488537"/>
                  </a:lnTo>
                  <a:cubicBezTo>
                    <a:pt x="5186005" y="398673"/>
                    <a:pt x="5100153" y="359885"/>
                    <a:pt x="4982875" y="359885"/>
                  </a:cubicBezTo>
                  <a:cubicBezTo>
                    <a:pt x="4866567" y="359885"/>
                    <a:pt x="4771201" y="395361"/>
                    <a:pt x="4699394" y="465190"/>
                  </a:cubicBezTo>
                  <a:cubicBezTo>
                    <a:pt x="4611080" y="549710"/>
                    <a:pt x="4558400" y="685574"/>
                    <a:pt x="4558400" y="828654"/>
                  </a:cubicBezTo>
                  <a:cubicBezTo>
                    <a:pt x="4558400" y="1092743"/>
                    <a:pt x="4736097" y="1291865"/>
                    <a:pt x="4971816" y="1291865"/>
                  </a:cubicBezTo>
                  <a:cubicBezTo>
                    <a:pt x="5092032" y="1291865"/>
                    <a:pt x="5185952" y="1246830"/>
                    <a:pt x="5265239" y="1150553"/>
                  </a:cubicBezTo>
                  <a:lnTo>
                    <a:pt x="5265239" y="1267931"/>
                  </a:lnTo>
                  <a:cubicBezTo>
                    <a:pt x="5265239" y="1350745"/>
                    <a:pt x="5245313" y="1414431"/>
                    <a:pt x="5206095" y="1457116"/>
                  </a:cubicBezTo>
                  <a:cubicBezTo>
                    <a:pt x="5162288" y="1504291"/>
                    <a:pt x="5083159" y="1533625"/>
                    <a:pt x="4999546" y="1533625"/>
                  </a:cubicBezTo>
                  <a:cubicBezTo>
                    <a:pt x="4932122" y="1533625"/>
                    <a:pt x="4856471" y="1514979"/>
                    <a:pt x="4811695" y="1487409"/>
                  </a:cubicBezTo>
                  <a:cubicBezTo>
                    <a:pt x="4788777" y="1471596"/>
                    <a:pt x="4771254" y="1455624"/>
                    <a:pt x="4733588" y="1416300"/>
                  </a:cubicBezTo>
                  <a:lnTo>
                    <a:pt x="4719215" y="1401339"/>
                  </a:lnTo>
                  <a:lnTo>
                    <a:pt x="4595103" y="1525451"/>
                  </a:lnTo>
                  <a:lnTo>
                    <a:pt x="4607819" y="1539824"/>
                  </a:lnTo>
                  <a:cubicBezTo>
                    <a:pt x="4703719" y="1647106"/>
                    <a:pt x="4835528" y="1701544"/>
                    <a:pt x="4999546" y="1701544"/>
                  </a:cubicBezTo>
                  <a:cubicBezTo>
                    <a:pt x="5134664" y="1701544"/>
                    <a:pt x="5247981" y="1660675"/>
                    <a:pt x="5327264" y="1583314"/>
                  </a:cubicBezTo>
                  <a:moveTo>
                    <a:pt x="6317923" y="747497"/>
                  </a:moveTo>
                  <a:lnTo>
                    <a:pt x="5805203" y="747497"/>
                  </a:lnTo>
                  <a:cubicBezTo>
                    <a:pt x="5814785" y="696051"/>
                    <a:pt x="5825267" y="667627"/>
                    <a:pt x="5845913" y="635144"/>
                  </a:cubicBezTo>
                  <a:cubicBezTo>
                    <a:pt x="5892024" y="566756"/>
                    <a:pt x="5971327" y="525990"/>
                    <a:pt x="6057989" y="525990"/>
                  </a:cubicBezTo>
                  <a:cubicBezTo>
                    <a:pt x="6144228" y="525990"/>
                    <a:pt x="6225702" y="566274"/>
                    <a:pt x="6275730" y="633487"/>
                  </a:cubicBezTo>
                  <a:cubicBezTo>
                    <a:pt x="6300453" y="669067"/>
                    <a:pt x="6312047" y="699841"/>
                    <a:pt x="6317923" y="747497"/>
                  </a:cubicBezTo>
                  <a:moveTo>
                    <a:pt x="6508188" y="872890"/>
                  </a:moveTo>
                  <a:cubicBezTo>
                    <a:pt x="6510094" y="851683"/>
                    <a:pt x="6510094" y="827426"/>
                    <a:pt x="6510094" y="815779"/>
                  </a:cubicBezTo>
                  <a:cubicBezTo>
                    <a:pt x="6510094" y="555909"/>
                    <a:pt x="6315700" y="359885"/>
                    <a:pt x="6057989" y="359885"/>
                  </a:cubicBezTo>
                  <a:cubicBezTo>
                    <a:pt x="5798109" y="359885"/>
                    <a:pt x="5609538" y="557084"/>
                    <a:pt x="5609538" y="828654"/>
                  </a:cubicBezTo>
                  <a:cubicBezTo>
                    <a:pt x="5609538" y="1097074"/>
                    <a:pt x="5800491" y="1291865"/>
                    <a:pt x="6063495" y="1291865"/>
                  </a:cubicBezTo>
                  <a:cubicBezTo>
                    <a:pt x="6235020" y="1291865"/>
                    <a:pt x="6386956" y="1199867"/>
                    <a:pt x="6460066" y="1051710"/>
                  </a:cubicBezTo>
                  <a:lnTo>
                    <a:pt x="6469966" y="1031572"/>
                  </a:lnTo>
                  <a:lnTo>
                    <a:pt x="6308923" y="971517"/>
                  </a:lnTo>
                  <a:lnTo>
                    <a:pt x="6300559" y="986689"/>
                  </a:lnTo>
                  <a:cubicBezTo>
                    <a:pt x="6254237" y="1068968"/>
                    <a:pt x="6161169" y="1122077"/>
                    <a:pt x="6063495" y="1122077"/>
                  </a:cubicBezTo>
                  <a:cubicBezTo>
                    <a:pt x="5977415" y="1122077"/>
                    <a:pt x="5901923" y="1083664"/>
                    <a:pt x="5850784" y="1013832"/>
                  </a:cubicBezTo>
                  <a:cubicBezTo>
                    <a:pt x="5821932" y="975900"/>
                    <a:pt x="5809438" y="945021"/>
                    <a:pt x="5802132" y="891377"/>
                  </a:cubicBezTo>
                  <a:lnTo>
                    <a:pt x="6506547" y="891377"/>
                  </a:lnTo>
                  <a:lnTo>
                    <a:pt x="6508188" y="872890"/>
                  </a:lnTo>
                  <a:close/>
                  <a:moveTo>
                    <a:pt x="7205139" y="1271563"/>
                  </a:moveTo>
                  <a:lnTo>
                    <a:pt x="7385928" y="1271563"/>
                  </a:lnTo>
                  <a:lnTo>
                    <a:pt x="7385928" y="677294"/>
                  </a:lnTo>
                  <a:cubicBezTo>
                    <a:pt x="7385928" y="554734"/>
                    <a:pt x="7365387" y="491422"/>
                    <a:pt x="7307154" y="435163"/>
                  </a:cubicBezTo>
                  <a:cubicBezTo>
                    <a:pt x="7252520" y="386599"/>
                    <a:pt x="7177557" y="359885"/>
                    <a:pt x="7096189" y="359885"/>
                  </a:cubicBezTo>
                  <a:cubicBezTo>
                    <a:pt x="7000739" y="359885"/>
                    <a:pt x="6929853" y="391193"/>
                    <a:pt x="6863625" y="463694"/>
                  </a:cubicBezTo>
                  <a:lnTo>
                    <a:pt x="6863625" y="380187"/>
                  </a:lnTo>
                  <a:lnTo>
                    <a:pt x="6682836" y="380187"/>
                  </a:lnTo>
                  <a:lnTo>
                    <a:pt x="6682836" y="1271563"/>
                  </a:lnTo>
                  <a:lnTo>
                    <a:pt x="6863625" y="1271563"/>
                  </a:lnTo>
                  <a:lnTo>
                    <a:pt x="6863625" y="732701"/>
                  </a:lnTo>
                  <a:cubicBezTo>
                    <a:pt x="6863625" y="667839"/>
                    <a:pt x="6876278" y="632147"/>
                    <a:pt x="6913971" y="591066"/>
                  </a:cubicBezTo>
                  <a:cubicBezTo>
                    <a:pt x="6951505" y="548481"/>
                    <a:pt x="7002433" y="525990"/>
                    <a:pt x="7061143" y="525990"/>
                  </a:cubicBezTo>
                  <a:cubicBezTo>
                    <a:pt x="7110748" y="525990"/>
                    <a:pt x="7155428" y="544744"/>
                    <a:pt x="7177769" y="575089"/>
                  </a:cubicBezTo>
                  <a:cubicBezTo>
                    <a:pt x="7197410" y="601215"/>
                    <a:pt x="7205139" y="638722"/>
                    <a:pt x="7205139" y="708709"/>
                  </a:cubicBezTo>
                  <a:lnTo>
                    <a:pt x="7205139" y="1271563"/>
                  </a:lnTo>
                  <a:close/>
                  <a:moveTo>
                    <a:pt x="7822309" y="162418"/>
                  </a:moveTo>
                  <a:cubicBezTo>
                    <a:pt x="7822309" y="99268"/>
                    <a:pt x="7774452" y="49847"/>
                    <a:pt x="7713412" y="49847"/>
                  </a:cubicBezTo>
                  <a:cubicBezTo>
                    <a:pt x="7650255" y="49847"/>
                    <a:pt x="7602662" y="97451"/>
                    <a:pt x="7602662" y="160549"/>
                  </a:cubicBezTo>
                  <a:cubicBezTo>
                    <a:pt x="7602662" y="223699"/>
                    <a:pt x="7649514" y="271303"/>
                    <a:pt x="7711560" y="271303"/>
                  </a:cubicBezTo>
                  <a:cubicBezTo>
                    <a:pt x="7773711" y="271303"/>
                    <a:pt x="7822309" y="223432"/>
                    <a:pt x="7822309" y="162418"/>
                  </a:cubicBezTo>
                  <a:moveTo>
                    <a:pt x="8704760" y="826838"/>
                  </a:moveTo>
                  <a:cubicBezTo>
                    <a:pt x="8704760" y="1000692"/>
                    <a:pt x="8594751" y="1122077"/>
                    <a:pt x="8437150" y="1122077"/>
                  </a:cubicBezTo>
                  <a:cubicBezTo>
                    <a:pt x="8276002" y="1122077"/>
                    <a:pt x="8167740" y="1003466"/>
                    <a:pt x="8167740" y="826838"/>
                  </a:cubicBezTo>
                  <a:cubicBezTo>
                    <a:pt x="8167740" y="649088"/>
                    <a:pt x="8276743" y="529677"/>
                    <a:pt x="8439003" y="529677"/>
                  </a:cubicBezTo>
                  <a:cubicBezTo>
                    <a:pt x="8597980" y="529677"/>
                    <a:pt x="8704760" y="649088"/>
                    <a:pt x="8704760" y="826838"/>
                  </a:cubicBezTo>
                  <a:moveTo>
                    <a:pt x="8889307" y="828654"/>
                  </a:moveTo>
                  <a:cubicBezTo>
                    <a:pt x="8889307" y="557084"/>
                    <a:pt x="8699942" y="359885"/>
                    <a:pt x="8439003" y="359885"/>
                  </a:cubicBezTo>
                  <a:cubicBezTo>
                    <a:pt x="8170652" y="359885"/>
                    <a:pt x="7983193" y="551155"/>
                    <a:pt x="7983193" y="824916"/>
                  </a:cubicBezTo>
                  <a:cubicBezTo>
                    <a:pt x="7983193" y="1099848"/>
                    <a:pt x="8168375" y="1291865"/>
                    <a:pt x="8433444" y="1291865"/>
                  </a:cubicBezTo>
                  <a:cubicBezTo>
                    <a:pt x="8689089" y="1291865"/>
                    <a:pt x="8889307" y="1088418"/>
                    <a:pt x="8889307" y="828654"/>
                  </a:cubicBezTo>
                  <a:moveTo>
                    <a:pt x="9658150" y="1197940"/>
                  </a:moveTo>
                  <a:cubicBezTo>
                    <a:pt x="9724854" y="1137144"/>
                    <a:pt x="9749630" y="1068539"/>
                    <a:pt x="9749630" y="944968"/>
                  </a:cubicBezTo>
                  <a:lnTo>
                    <a:pt x="9749630" y="380187"/>
                  </a:lnTo>
                  <a:lnTo>
                    <a:pt x="9566988" y="380187"/>
                  </a:lnTo>
                  <a:lnTo>
                    <a:pt x="9566988" y="944968"/>
                  </a:lnTo>
                  <a:cubicBezTo>
                    <a:pt x="9566988" y="1008437"/>
                    <a:pt x="9558835" y="1039587"/>
                    <a:pt x="9535012" y="1068222"/>
                  </a:cubicBezTo>
                  <a:cubicBezTo>
                    <a:pt x="9503831" y="1104284"/>
                    <a:pt x="9453009" y="1125815"/>
                    <a:pt x="9399010" y="1125815"/>
                  </a:cubicBezTo>
                  <a:cubicBezTo>
                    <a:pt x="9299060" y="1125815"/>
                    <a:pt x="9229233" y="1049947"/>
                    <a:pt x="9229233" y="941225"/>
                  </a:cubicBezTo>
                  <a:lnTo>
                    <a:pt x="9229233" y="380187"/>
                  </a:lnTo>
                  <a:lnTo>
                    <a:pt x="9048391" y="380187"/>
                  </a:lnTo>
                  <a:lnTo>
                    <a:pt x="9048391" y="944968"/>
                  </a:lnTo>
                  <a:cubicBezTo>
                    <a:pt x="9048391" y="1054330"/>
                    <a:pt x="9078249" y="1136392"/>
                    <a:pt x="9139659" y="1195965"/>
                  </a:cubicBezTo>
                  <a:cubicBezTo>
                    <a:pt x="9204563" y="1256925"/>
                    <a:pt x="9299113" y="1291865"/>
                    <a:pt x="9399010" y="1291865"/>
                  </a:cubicBezTo>
                  <a:cubicBezTo>
                    <a:pt x="9499701" y="1291865"/>
                    <a:pt x="9591763" y="1258529"/>
                    <a:pt x="9658150" y="1197945"/>
                  </a:cubicBezTo>
                  <a:moveTo>
                    <a:pt x="10385594" y="653307"/>
                  </a:moveTo>
                  <a:lnTo>
                    <a:pt x="10567335" y="653307"/>
                  </a:lnTo>
                  <a:lnTo>
                    <a:pt x="10566383" y="632041"/>
                  </a:lnTo>
                  <a:cubicBezTo>
                    <a:pt x="10558442" y="459099"/>
                    <a:pt x="10442768" y="359885"/>
                    <a:pt x="10249009" y="359885"/>
                  </a:cubicBezTo>
                  <a:cubicBezTo>
                    <a:pt x="10058003" y="359885"/>
                    <a:pt x="9929730" y="467434"/>
                    <a:pt x="9929730" y="627446"/>
                  </a:cubicBezTo>
                  <a:cubicBezTo>
                    <a:pt x="9929730" y="765666"/>
                    <a:pt x="10016922" y="850825"/>
                    <a:pt x="10212587" y="903611"/>
                  </a:cubicBezTo>
                  <a:cubicBezTo>
                    <a:pt x="10347689" y="937858"/>
                    <a:pt x="10391099" y="968955"/>
                    <a:pt x="10391099" y="1031625"/>
                  </a:cubicBezTo>
                  <a:cubicBezTo>
                    <a:pt x="10391099" y="1095576"/>
                    <a:pt x="10336730" y="1136874"/>
                    <a:pt x="10252715" y="1136874"/>
                  </a:cubicBezTo>
                  <a:cubicBezTo>
                    <a:pt x="10155517" y="1136874"/>
                    <a:pt x="10102102" y="1093384"/>
                    <a:pt x="10093843" y="1007579"/>
                  </a:cubicBezTo>
                  <a:lnTo>
                    <a:pt x="10092096" y="989257"/>
                  </a:lnTo>
                  <a:lnTo>
                    <a:pt x="9913054" y="989257"/>
                  </a:lnTo>
                  <a:lnTo>
                    <a:pt x="9915066" y="1011216"/>
                  </a:lnTo>
                  <a:cubicBezTo>
                    <a:pt x="9930789" y="1194843"/>
                    <a:pt x="10047626" y="1291865"/>
                    <a:pt x="10252715" y="1291865"/>
                  </a:cubicBezTo>
                  <a:cubicBezTo>
                    <a:pt x="10445839" y="1291865"/>
                    <a:pt x="10575647" y="1184371"/>
                    <a:pt x="10575647" y="1024303"/>
                  </a:cubicBezTo>
                  <a:cubicBezTo>
                    <a:pt x="10575647" y="956667"/>
                    <a:pt x="10548542" y="890948"/>
                    <a:pt x="10501426" y="843879"/>
                  </a:cubicBezTo>
                  <a:cubicBezTo>
                    <a:pt x="10457485" y="799913"/>
                    <a:pt x="10397028" y="770955"/>
                    <a:pt x="10285750" y="740769"/>
                  </a:cubicBezTo>
                  <a:cubicBezTo>
                    <a:pt x="10125660" y="696474"/>
                    <a:pt x="10110519" y="671471"/>
                    <a:pt x="10110519" y="616440"/>
                  </a:cubicBezTo>
                  <a:cubicBezTo>
                    <a:pt x="10110519" y="553823"/>
                    <a:pt x="10161447" y="514877"/>
                    <a:pt x="10243398" y="514877"/>
                  </a:cubicBezTo>
                  <a:cubicBezTo>
                    <a:pt x="10329795" y="514877"/>
                    <a:pt x="10385594" y="557672"/>
                    <a:pt x="10385594" y="623762"/>
                  </a:cubicBezTo>
                  <a:lnTo>
                    <a:pt x="10385594" y="653307"/>
                  </a:ln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30E1E04D-B4F8-D135-804A-F38404D16A7A}"/>
              </a:ext>
            </a:extLst>
          </p:cNvPr>
          <p:cNvGrpSpPr/>
          <p:nvPr userDrawn="1"/>
        </p:nvGrpSpPr>
        <p:grpSpPr>
          <a:xfrm rot="5400000">
            <a:off x="-3617983" y="3323777"/>
            <a:ext cx="6854690" cy="213756"/>
            <a:chOff x="-1" y="-286346"/>
            <a:chExt cx="5820565" cy="181508"/>
          </a:xfrm>
        </p:grpSpPr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AF1F4937-DBE0-682F-898F-6703863AC4AB}"/>
                </a:ext>
              </a:extLst>
            </p:cNvPr>
            <p:cNvGrpSpPr/>
            <p:nvPr userDrawn="1"/>
          </p:nvGrpSpPr>
          <p:grpSpPr>
            <a:xfrm rot="16200000">
              <a:off x="363007" y="-649354"/>
              <a:ext cx="181503" cy="907520"/>
              <a:chOff x="1319213" y="-1663170"/>
              <a:chExt cx="181503" cy="907520"/>
            </a:xfrm>
          </p:grpSpPr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0447E4C8-7F1B-BAA0-C5E6-640F896DCD3B}"/>
                  </a:ext>
                </a:extLst>
              </p:cNvPr>
              <p:cNvSpPr/>
              <p:nvPr/>
            </p:nvSpPr>
            <p:spPr>
              <a:xfrm>
                <a:off x="1319213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44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4936B52A-DE1D-1F2A-9C47-FEF7801F852D}"/>
                  </a:ext>
                </a:extLst>
              </p:cNvPr>
              <p:cNvSpPr/>
              <p:nvPr/>
            </p:nvSpPr>
            <p:spPr>
              <a:xfrm>
                <a:off x="1319213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69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9F2571ED-C556-4793-F28C-14C170F0A5C7}"/>
                  </a:ext>
                </a:extLst>
              </p:cNvPr>
              <p:cNvSpPr/>
              <p:nvPr/>
            </p:nvSpPr>
            <p:spPr>
              <a:xfrm>
                <a:off x="1319213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FE8F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86D68218-C04D-D51D-E760-24A2AE87AAF4}"/>
                  </a:ext>
                </a:extLst>
              </p:cNvPr>
              <p:cNvSpPr/>
              <p:nvPr/>
            </p:nvSpPr>
            <p:spPr>
              <a:xfrm>
                <a:off x="1319213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B4B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77009C6D-FB91-DBA0-2E9F-61CF366C6CFE}"/>
                  </a:ext>
                </a:extLst>
              </p:cNvPr>
              <p:cNvSpPr/>
              <p:nvPr/>
            </p:nvSpPr>
            <p:spPr>
              <a:xfrm>
                <a:off x="1319213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D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332136D0-012E-4362-6C0F-360376630DBF}"/>
                </a:ext>
              </a:extLst>
            </p:cNvPr>
            <p:cNvGrpSpPr/>
            <p:nvPr userDrawn="1"/>
          </p:nvGrpSpPr>
          <p:grpSpPr>
            <a:xfrm rot="16200000">
              <a:off x="1345616" y="-649354"/>
              <a:ext cx="181503" cy="907520"/>
              <a:chOff x="1319213" y="-664912"/>
              <a:chExt cx="181503" cy="907520"/>
            </a:xfrm>
          </p:grpSpPr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50F65639-F072-BD04-4B85-A915017C92A0}"/>
                  </a:ext>
                </a:extLst>
              </p:cNvPr>
              <p:cNvSpPr/>
              <p:nvPr/>
            </p:nvSpPr>
            <p:spPr>
              <a:xfrm>
                <a:off x="1319213" y="-66491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6400A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3F4A8EE7-9384-0D61-1B20-34276CF7D133}"/>
                  </a:ext>
                </a:extLst>
              </p:cNvPr>
              <p:cNvSpPr/>
              <p:nvPr/>
            </p:nvSpPr>
            <p:spPr>
              <a:xfrm>
                <a:off x="1319213" y="-483404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33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950E1CF0-DB50-C532-0BEB-0AAF02F9BD38}"/>
                  </a:ext>
                </a:extLst>
              </p:cNvPr>
              <p:cNvSpPr/>
              <p:nvPr/>
            </p:nvSpPr>
            <p:spPr>
              <a:xfrm>
                <a:off x="1319213" y="-30189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266C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AF3E0A1D-BDF8-134E-04DE-977D0F6AB78B}"/>
                  </a:ext>
                </a:extLst>
              </p:cNvPr>
              <p:cNvSpPr/>
              <p:nvPr/>
            </p:nvSpPr>
            <p:spPr>
              <a:xfrm>
                <a:off x="1319213" y="-120387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199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4A3C112A-856F-9BEC-51F4-E90C520A937C}"/>
                  </a:ext>
                </a:extLst>
              </p:cNvPr>
              <p:cNvSpPr/>
              <p:nvPr/>
            </p:nvSpPr>
            <p:spPr>
              <a:xfrm>
                <a:off x="1319213" y="6110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0CC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9801614D-C583-0FA3-171B-9843795F8512}"/>
                </a:ext>
              </a:extLst>
            </p:cNvPr>
            <p:cNvGrpSpPr/>
            <p:nvPr userDrawn="1"/>
          </p:nvGrpSpPr>
          <p:grpSpPr>
            <a:xfrm rot="16200000">
              <a:off x="2328223" y="-649352"/>
              <a:ext cx="181508" cy="907520"/>
              <a:chOff x="1682219" y="-1663170"/>
              <a:chExt cx="181508" cy="907520"/>
            </a:xfrm>
          </p:grpSpPr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5C5B8813-25FE-2F92-055C-28A8708007F9}"/>
                  </a:ext>
                </a:extLst>
              </p:cNvPr>
              <p:cNvSpPr/>
              <p:nvPr/>
            </p:nvSpPr>
            <p:spPr>
              <a:xfrm>
                <a:off x="1682219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CC8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67EFAD41-6F2C-A70B-9D61-CF402F2E4147}"/>
                  </a:ext>
                </a:extLst>
              </p:cNvPr>
              <p:cNvSpPr/>
              <p:nvPr/>
            </p:nvSpPr>
            <p:spPr>
              <a:xfrm>
                <a:off x="1682224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3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E91A9B03-8A74-46AB-55C2-6E373012A8C5}"/>
                  </a:ext>
                </a:extLst>
              </p:cNvPr>
              <p:cNvSpPr/>
              <p:nvPr/>
            </p:nvSpPr>
            <p:spPr>
              <a:xfrm>
                <a:off x="1682224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ADE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19B29C57-205C-D62F-D21E-3943272D0507}"/>
                  </a:ext>
                </a:extLst>
              </p:cNvPr>
              <p:cNvSpPr/>
              <p:nvPr/>
            </p:nvSpPr>
            <p:spPr>
              <a:xfrm>
                <a:off x="1682224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E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3E106832-7AD2-5208-1534-1E2034102322}"/>
                  </a:ext>
                </a:extLst>
              </p:cNvPr>
              <p:cNvSpPr/>
              <p:nvPr/>
            </p:nvSpPr>
            <p:spPr>
              <a:xfrm>
                <a:off x="1682219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8F4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B58F4657-3DB4-BE4A-35C7-0A0CCB555671}"/>
                </a:ext>
              </a:extLst>
            </p:cNvPr>
            <p:cNvGrpSpPr/>
            <p:nvPr userDrawn="1"/>
          </p:nvGrpSpPr>
          <p:grpSpPr>
            <a:xfrm rot="16200000">
              <a:off x="5276052" y="-649354"/>
              <a:ext cx="181503" cy="907520"/>
              <a:chOff x="2226738" y="-1663170"/>
              <a:chExt cx="181503" cy="907520"/>
            </a:xfrm>
          </p:grpSpPr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179C371A-FF16-8CBA-BF84-FD335D067BBC}"/>
                  </a:ext>
                </a:extLst>
              </p:cNvPr>
              <p:cNvSpPr/>
              <p:nvPr/>
            </p:nvSpPr>
            <p:spPr>
              <a:xfrm>
                <a:off x="2226738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11962BD3-8F73-8A06-8F0C-FB6AE3086811}"/>
                  </a:ext>
                </a:extLst>
              </p:cNvPr>
              <p:cNvSpPr/>
              <p:nvPr/>
            </p:nvSpPr>
            <p:spPr>
              <a:xfrm>
                <a:off x="2226738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5757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CD0434A7-92EA-B354-E92F-5D43DAF2C64B}"/>
                  </a:ext>
                </a:extLst>
              </p:cNvPr>
              <p:cNvSpPr/>
              <p:nvPr/>
            </p:nvSpPr>
            <p:spPr>
              <a:xfrm>
                <a:off x="2226738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8787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03D3EB6A-E290-377E-4469-045C3A16BC84}"/>
                  </a:ext>
                </a:extLst>
              </p:cNvPr>
              <p:cNvSpPr/>
              <p:nvPr/>
            </p:nvSpPr>
            <p:spPr>
              <a:xfrm>
                <a:off x="2226738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2B2B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6226CCF3-454D-9411-D132-64858FCABAB6}"/>
                  </a:ext>
                </a:extLst>
              </p:cNvPr>
              <p:cNvSpPr/>
              <p:nvPr/>
            </p:nvSpPr>
            <p:spPr>
              <a:xfrm>
                <a:off x="2226738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DA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A8B49CBB-C979-9800-8F7C-657FBF5F2834}"/>
                </a:ext>
              </a:extLst>
            </p:cNvPr>
            <p:cNvGrpSpPr/>
            <p:nvPr userDrawn="1"/>
          </p:nvGrpSpPr>
          <p:grpSpPr>
            <a:xfrm rot="16200000">
              <a:off x="3310834" y="-649354"/>
              <a:ext cx="181503" cy="907520"/>
              <a:chOff x="1863727" y="-1663170"/>
              <a:chExt cx="181503" cy="907520"/>
            </a:xfrm>
          </p:grpSpPr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1DA7A38D-6BBA-E8D5-91AB-96DE223FC95E}"/>
                  </a:ext>
                </a:extLst>
              </p:cNvPr>
              <p:cNvSpPr/>
              <p:nvPr/>
            </p:nvSpPr>
            <p:spPr>
              <a:xfrm>
                <a:off x="1863727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2A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7BEB494B-B204-3061-3F4A-8E9E6FE46A42}"/>
                  </a:ext>
                </a:extLst>
              </p:cNvPr>
              <p:cNvSpPr/>
              <p:nvPr/>
            </p:nvSpPr>
            <p:spPr>
              <a:xfrm>
                <a:off x="1863727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5DB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91481CDF-6809-AAF6-4666-81A824866338}"/>
                  </a:ext>
                </a:extLst>
              </p:cNvPr>
              <p:cNvSpPr/>
              <p:nvPr/>
            </p:nvSpPr>
            <p:spPr>
              <a:xfrm>
                <a:off x="1863727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8E4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2BE3F950-0672-DEA6-C903-975421DA3D0F}"/>
                  </a:ext>
                </a:extLst>
              </p:cNvPr>
              <p:cNvSpPr/>
              <p:nvPr/>
            </p:nvSpPr>
            <p:spPr>
              <a:xfrm>
                <a:off x="1863727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ED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CDE20BF4-3C7A-26A2-4637-677C2106F3EA}"/>
                  </a:ext>
                </a:extLst>
              </p:cNvPr>
              <p:cNvSpPr/>
              <p:nvPr/>
            </p:nvSpPr>
            <p:spPr>
              <a:xfrm>
                <a:off x="1863727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DF6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0D1533F2-92FC-74FD-E446-2DE421EB5C38}"/>
                </a:ext>
              </a:extLst>
            </p:cNvPr>
            <p:cNvGrpSpPr/>
            <p:nvPr userDrawn="1"/>
          </p:nvGrpSpPr>
          <p:grpSpPr>
            <a:xfrm rot="16200000">
              <a:off x="4293441" y="-649352"/>
              <a:ext cx="181508" cy="907520"/>
              <a:chOff x="2045230" y="-1663170"/>
              <a:chExt cx="181508" cy="907520"/>
            </a:xfrm>
          </p:grpSpPr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474B3D1A-A71A-6D65-39CB-D93894A28EA4}"/>
                  </a:ext>
                </a:extLst>
              </p:cNvPr>
              <p:cNvSpPr/>
              <p:nvPr/>
            </p:nvSpPr>
            <p:spPr>
              <a:xfrm>
                <a:off x="2045230" y="-937158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9F7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B7988F32-0A7D-022A-0B71-5E5A812D1196}"/>
                  </a:ext>
                </a:extLst>
              </p:cNvPr>
              <p:cNvSpPr/>
              <p:nvPr/>
            </p:nvSpPr>
            <p:spPr>
              <a:xfrm>
                <a:off x="2045230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FED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B62DD04B-C6A1-A4DF-F1C6-0666A3D7DB33}"/>
                  </a:ext>
                </a:extLst>
              </p:cNvPr>
              <p:cNvSpPr/>
              <p:nvPr/>
            </p:nvSpPr>
            <p:spPr>
              <a:xfrm>
                <a:off x="2045230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5E3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38AF9289-D28E-40B8-5B33-82214FD2C1AC}"/>
                  </a:ext>
                </a:extLst>
              </p:cNvPr>
              <p:cNvSpPr/>
              <p:nvPr/>
            </p:nvSpPr>
            <p:spPr>
              <a:xfrm>
                <a:off x="2045230" y="-1663170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CFC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D3EAE779-4B72-092C-9765-A4436B4247E1}"/>
                  </a:ext>
                </a:extLst>
              </p:cNvPr>
              <p:cNvSpPr/>
              <p:nvPr/>
            </p:nvSpPr>
            <p:spPr>
              <a:xfrm>
                <a:off x="2045230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BD9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2067391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(red) and Content 3/4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73236799-8186-158A-F3A4-9E2D432B77EB}"/>
              </a:ext>
            </a:extLst>
          </p:cNvPr>
          <p:cNvSpPr/>
          <p:nvPr userDrawn="1"/>
        </p:nvSpPr>
        <p:spPr>
          <a:xfrm>
            <a:off x="9156700" y="0"/>
            <a:ext cx="30353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72650" y="843892"/>
            <a:ext cx="1760536" cy="55124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964FA6FD-B18C-64CF-40CD-9C782D91C43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415668" y="503483"/>
            <a:ext cx="1289916" cy="180000"/>
            <a:chOff x="-161925" y="-1630732"/>
            <a:chExt cx="12193587" cy="1701544"/>
          </a:xfrm>
          <a:solidFill>
            <a:schemeClr val="bg1"/>
          </a:solidFill>
        </p:grpSpPr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0BAA8276-ECA1-E336-BCFB-04B3EC51B77A}"/>
                </a:ext>
              </a:extLst>
            </p:cNvPr>
            <p:cNvSpPr/>
            <p:nvPr/>
          </p:nvSpPr>
          <p:spPr>
            <a:xfrm>
              <a:off x="10774928" y="-1247713"/>
              <a:ext cx="1256734" cy="356304"/>
            </a:xfrm>
            <a:custGeom>
              <a:avLst/>
              <a:gdLst>
                <a:gd name="connsiteX0" fmla="*/ 1226823 w 1256734"/>
                <a:gd name="connsiteY0" fmla="*/ 269166 h 356304"/>
                <a:gd name="connsiteX1" fmla="*/ 1133491 w 1256734"/>
                <a:gd name="connsiteY1" fmla="*/ 316610 h 356304"/>
                <a:gd name="connsiteX2" fmla="*/ 1010248 w 1256734"/>
                <a:gd name="connsiteY2" fmla="*/ 178448 h 356304"/>
                <a:gd name="connsiteX3" fmla="*/ 1131426 w 1256734"/>
                <a:gd name="connsiteY3" fmla="*/ 39696 h 356304"/>
                <a:gd name="connsiteX4" fmla="*/ 1226823 w 1256734"/>
                <a:gd name="connsiteY4" fmla="*/ 86659 h 356304"/>
                <a:gd name="connsiteX5" fmla="*/ 1256735 w 1256734"/>
                <a:gd name="connsiteY5" fmla="*/ 58823 h 356304"/>
                <a:gd name="connsiteX6" fmla="*/ 1216553 w 1256734"/>
                <a:gd name="connsiteY6" fmla="*/ 23241 h 356304"/>
                <a:gd name="connsiteX7" fmla="*/ 1130420 w 1256734"/>
                <a:gd name="connsiteY7" fmla="*/ 0 h 356304"/>
                <a:gd name="connsiteX8" fmla="*/ 965885 w 1256734"/>
                <a:gd name="connsiteY8" fmla="*/ 178448 h 356304"/>
                <a:gd name="connsiteX9" fmla="*/ 1011783 w 1256734"/>
                <a:gd name="connsiteY9" fmla="*/ 305763 h 356304"/>
                <a:gd name="connsiteX10" fmla="*/ 1129892 w 1256734"/>
                <a:gd name="connsiteY10" fmla="*/ 356305 h 356304"/>
                <a:gd name="connsiteX11" fmla="*/ 1255676 w 1256734"/>
                <a:gd name="connsiteY11" fmla="*/ 298071 h 356304"/>
                <a:gd name="connsiteX12" fmla="*/ 1226823 w 1256734"/>
                <a:gd name="connsiteY12" fmla="*/ 269166 h 356304"/>
                <a:gd name="connsiteX13" fmla="*/ 679216 w 1256734"/>
                <a:gd name="connsiteY13" fmla="*/ 197999 h 356304"/>
                <a:gd name="connsiteX14" fmla="*/ 846824 w 1256734"/>
                <a:gd name="connsiteY14" fmla="*/ 197999 h 356304"/>
                <a:gd name="connsiteX15" fmla="*/ 846824 w 1256734"/>
                <a:gd name="connsiteY15" fmla="*/ 350105 h 356304"/>
                <a:gd name="connsiteX16" fmla="*/ 890075 w 1256734"/>
                <a:gd name="connsiteY16" fmla="*/ 350105 h 356304"/>
                <a:gd name="connsiteX17" fmla="*/ 890075 w 1256734"/>
                <a:gd name="connsiteY17" fmla="*/ 6198 h 356304"/>
                <a:gd name="connsiteX18" fmla="*/ 846824 w 1256734"/>
                <a:gd name="connsiteY18" fmla="*/ 6198 h 356304"/>
                <a:gd name="connsiteX19" fmla="*/ 846824 w 1256734"/>
                <a:gd name="connsiteY19" fmla="*/ 160920 h 356304"/>
                <a:gd name="connsiteX20" fmla="*/ 679216 w 1256734"/>
                <a:gd name="connsiteY20" fmla="*/ 160920 h 356304"/>
                <a:gd name="connsiteX21" fmla="*/ 679216 w 1256734"/>
                <a:gd name="connsiteY21" fmla="*/ 6198 h 356304"/>
                <a:gd name="connsiteX22" fmla="*/ 635912 w 1256734"/>
                <a:gd name="connsiteY22" fmla="*/ 6198 h 356304"/>
                <a:gd name="connsiteX23" fmla="*/ 635912 w 1256734"/>
                <a:gd name="connsiteY23" fmla="*/ 350105 h 356304"/>
                <a:gd name="connsiteX24" fmla="*/ 679216 w 1256734"/>
                <a:gd name="connsiteY24" fmla="*/ 350105 h 356304"/>
                <a:gd name="connsiteX25" fmla="*/ 679216 w 1256734"/>
                <a:gd name="connsiteY25" fmla="*/ 197999 h 356304"/>
                <a:gd name="connsiteX26" fmla="*/ 392018 w 1256734"/>
                <a:gd name="connsiteY26" fmla="*/ 40230 h 356304"/>
                <a:gd name="connsiteX27" fmla="*/ 476563 w 1256734"/>
                <a:gd name="connsiteY27" fmla="*/ 75813 h 356304"/>
                <a:gd name="connsiteX28" fmla="*/ 515792 w 1256734"/>
                <a:gd name="connsiteY28" fmla="*/ 181011 h 356304"/>
                <a:gd name="connsiteX29" fmla="*/ 482758 w 1256734"/>
                <a:gd name="connsiteY29" fmla="*/ 275365 h 356304"/>
                <a:gd name="connsiteX30" fmla="*/ 390960 w 1256734"/>
                <a:gd name="connsiteY30" fmla="*/ 316610 h 356304"/>
                <a:gd name="connsiteX31" fmla="*/ 267239 w 1256734"/>
                <a:gd name="connsiteY31" fmla="*/ 178448 h 356304"/>
                <a:gd name="connsiteX32" fmla="*/ 392018 w 1256734"/>
                <a:gd name="connsiteY32" fmla="*/ 40230 h 356304"/>
                <a:gd name="connsiteX33" fmla="*/ 393077 w 1256734"/>
                <a:gd name="connsiteY33" fmla="*/ 0 h 356304"/>
                <a:gd name="connsiteX34" fmla="*/ 222876 w 1256734"/>
                <a:gd name="connsiteY34" fmla="*/ 179994 h 356304"/>
                <a:gd name="connsiteX35" fmla="*/ 258982 w 1256734"/>
                <a:gd name="connsiteY35" fmla="*/ 291872 h 356304"/>
                <a:gd name="connsiteX36" fmla="*/ 392018 w 1256734"/>
                <a:gd name="connsiteY36" fmla="*/ 356305 h 356304"/>
                <a:gd name="connsiteX37" fmla="*/ 501868 w 1256734"/>
                <a:gd name="connsiteY37" fmla="*/ 315059 h 356304"/>
                <a:gd name="connsiteX38" fmla="*/ 560155 w 1256734"/>
                <a:gd name="connsiteY38" fmla="*/ 181545 h 356304"/>
                <a:gd name="connsiteX39" fmla="*/ 519921 w 1256734"/>
                <a:gd name="connsiteY39" fmla="*/ 59304 h 356304"/>
                <a:gd name="connsiteX40" fmla="*/ 393077 w 1256734"/>
                <a:gd name="connsiteY40" fmla="*/ 0 h 356304"/>
                <a:gd name="connsiteX41" fmla="*/ 43306 w 1256734"/>
                <a:gd name="connsiteY41" fmla="*/ 310946 h 356304"/>
                <a:gd name="connsiteX42" fmla="*/ 43306 w 1256734"/>
                <a:gd name="connsiteY42" fmla="*/ 6198 h 356304"/>
                <a:gd name="connsiteX43" fmla="*/ 0 w 1256734"/>
                <a:gd name="connsiteY43" fmla="*/ 6198 h 356304"/>
                <a:gd name="connsiteX44" fmla="*/ 0 w 1256734"/>
                <a:gd name="connsiteY44" fmla="*/ 350105 h 356304"/>
                <a:gd name="connsiteX45" fmla="*/ 194237 w 1256734"/>
                <a:gd name="connsiteY45" fmla="*/ 350105 h 356304"/>
                <a:gd name="connsiteX46" fmla="*/ 194237 w 1256734"/>
                <a:gd name="connsiteY46" fmla="*/ 310946 h 356304"/>
                <a:gd name="connsiteX47" fmla="*/ 43306 w 1256734"/>
                <a:gd name="connsiteY47" fmla="*/ 310946 h 35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256734" h="356304">
                  <a:moveTo>
                    <a:pt x="1226823" y="269166"/>
                  </a:moveTo>
                  <a:cubicBezTo>
                    <a:pt x="1200037" y="301650"/>
                    <a:pt x="1171131" y="316610"/>
                    <a:pt x="1133491" y="316610"/>
                  </a:cubicBezTo>
                  <a:cubicBezTo>
                    <a:pt x="1062341" y="316610"/>
                    <a:pt x="1010248" y="258371"/>
                    <a:pt x="1010248" y="178448"/>
                  </a:cubicBezTo>
                  <a:cubicBezTo>
                    <a:pt x="1010248" y="97985"/>
                    <a:pt x="1061334" y="39696"/>
                    <a:pt x="1131426" y="39696"/>
                  </a:cubicBezTo>
                  <a:cubicBezTo>
                    <a:pt x="1168008" y="39696"/>
                    <a:pt x="1193313" y="52092"/>
                    <a:pt x="1226823" y="86659"/>
                  </a:cubicBezTo>
                  <a:lnTo>
                    <a:pt x="1256735" y="58823"/>
                  </a:lnTo>
                  <a:cubicBezTo>
                    <a:pt x="1239742" y="40230"/>
                    <a:pt x="1230424" y="32003"/>
                    <a:pt x="1216553" y="23241"/>
                  </a:cubicBezTo>
                  <a:cubicBezTo>
                    <a:pt x="1191725" y="8281"/>
                    <a:pt x="1161338" y="0"/>
                    <a:pt x="1130420" y="0"/>
                  </a:cubicBezTo>
                  <a:cubicBezTo>
                    <a:pt x="1035500" y="0"/>
                    <a:pt x="965885" y="75279"/>
                    <a:pt x="965885" y="178448"/>
                  </a:cubicBezTo>
                  <a:cubicBezTo>
                    <a:pt x="965885" y="226369"/>
                    <a:pt x="982931" y="273279"/>
                    <a:pt x="1011783" y="305763"/>
                  </a:cubicBezTo>
                  <a:cubicBezTo>
                    <a:pt x="1041165" y="338782"/>
                    <a:pt x="1081928" y="356305"/>
                    <a:pt x="1129892" y="356305"/>
                  </a:cubicBezTo>
                  <a:cubicBezTo>
                    <a:pt x="1182990" y="356305"/>
                    <a:pt x="1221107" y="338782"/>
                    <a:pt x="1255676" y="298071"/>
                  </a:cubicBezTo>
                  <a:lnTo>
                    <a:pt x="1226823" y="269166"/>
                  </a:lnTo>
                  <a:close/>
                  <a:moveTo>
                    <a:pt x="679216" y="197999"/>
                  </a:moveTo>
                  <a:lnTo>
                    <a:pt x="846824" y="197999"/>
                  </a:lnTo>
                  <a:lnTo>
                    <a:pt x="846824" y="350105"/>
                  </a:lnTo>
                  <a:lnTo>
                    <a:pt x="890075" y="350105"/>
                  </a:lnTo>
                  <a:lnTo>
                    <a:pt x="890075" y="6198"/>
                  </a:lnTo>
                  <a:lnTo>
                    <a:pt x="846824" y="6198"/>
                  </a:lnTo>
                  <a:lnTo>
                    <a:pt x="846824" y="160920"/>
                  </a:lnTo>
                  <a:lnTo>
                    <a:pt x="679216" y="160920"/>
                  </a:lnTo>
                  <a:lnTo>
                    <a:pt x="679216" y="6198"/>
                  </a:lnTo>
                  <a:lnTo>
                    <a:pt x="635912" y="6198"/>
                  </a:lnTo>
                  <a:lnTo>
                    <a:pt x="635912" y="350105"/>
                  </a:lnTo>
                  <a:lnTo>
                    <a:pt x="679216" y="350105"/>
                  </a:lnTo>
                  <a:lnTo>
                    <a:pt x="679216" y="197999"/>
                  </a:lnTo>
                  <a:close/>
                  <a:moveTo>
                    <a:pt x="392018" y="40230"/>
                  </a:moveTo>
                  <a:cubicBezTo>
                    <a:pt x="422459" y="40230"/>
                    <a:pt x="453904" y="53641"/>
                    <a:pt x="476563" y="75813"/>
                  </a:cubicBezTo>
                  <a:cubicBezTo>
                    <a:pt x="503404" y="101618"/>
                    <a:pt x="515792" y="135117"/>
                    <a:pt x="515792" y="181011"/>
                  </a:cubicBezTo>
                  <a:cubicBezTo>
                    <a:pt x="515792" y="216057"/>
                    <a:pt x="502874" y="253189"/>
                    <a:pt x="482758" y="275365"/>
                  </a:cubicBezTo>
                  <a:cubicBezTo>
                    <a:pt x="459569" y="301650"/>
                    <a:pt x="425530" y="316610"/>
                    <a:pt x="390960" y="316610"/>
                  </a:cubicBezTo>
                  <a:cubicBezTo>
                    <a:pt x="319809" y="316610"/>
                    <a:pt x="267239" y="258371"/>
                    <a:pt x="267239" y="178448"/>
                  </a:cubicBezTo>
                  <a:cubicBezTo>
                    <a:pt x="267239" y="99000"/>
                    <a:pt x="320338" y="40230"/>
                    <a:pt x="392018" y="40230"/>
                  </a:cubicBezTo>
                  <a:moveTo>
                    <a:pt x="393077" y="0"/>
                  </a:moveTo>
                  <a:cubicBezTo>
                    <a:pt x="295615" y="0"/>
                    <a:pt x="222876" y="77362"/>
                    <a:pt x="222876" y="179994"/>
                  </a:cubicBezTo>
                  <a:cubicBezTo>
                    <a:pt x="222876" y="223273"/>
                    <a:pt x="235318" y="261956"/>
                    <a:pt x="258982" y="291872"/>
                  </a:cubicBezTo>
                  <a:cubicBezTo>
                    <a:pt x="290957" y="332101"/>
                    <a:pt x="340985" y="356305"/>
                    <a:pt x="392018" y="356305"/>
                  </a:cubicBezTo>
                  <a:cubicBezTo>
                    <a:pt x="431723" y="356305"/>
                    <a:pt x="470899" y="341879"/>
                    <a:pt x="501868" y="315059"/>
                  </a:cubicBezTo>
                  <a:cubicBezTo>
                    <a:pt x="539509" y="283110"/>
                    <a:pt x="560155" y="235131"/>
                    <a:pt x="560155" y="181545"/>
                  </a:cubicBezTo>
                  <a:cubicBezTo>
                    <a:pt x="560155" y="129935"/>
                    <a:pt x="547715" y="91788"/>
                    <a:pt x="519921" y="59304"/>
                  </a:cubicBezTo>
                  <a:cubicBezTo>
                    <a:pt x="486886" y="21691"/>
                    <a:pt x="440988" y="0"/>
                    <a:pt x="393077" y="0"/>
                  </a:cubicBezTo>
                  <a:moveTo>
                    <a:pt x="43306" y="310946"/>
                  </a:moveTo>
                  <a:lnTo>
                    <a:pt x="43306" y="6198"/>
                  </a:lnTo>
                  <a:lnTo>
                    <a:pt x="0" y="6198"/>
                  </a:lnTo>
                  <a:lnTo>
                    <a:pt x="0" y="350105"/>
                  </a:lnTo>
                  <a:lnTo>
                    <a:pt x="194237" y="350105"/>
                  </a:lnTo>
                  <a:lnTo>
                    <a:pt x="194237" y="310946"/>
                  </a:lnTo>
                  <a:lnTo>
                    <a:pt x="43306" y="310946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B77DA9CA-81E3-9C95-68A3-BFADB2CD7E3C}"/>
                </a:ext>
              </a:extLst>
            </p:cNvPr>
            <p:cNvSpPr/>
            <p:nvPr/>
          </p:nvSpPr>
          <p:spPr>
            <a:xfrm>
              <a:off x="-161925" y="-1630732"/>
              <a:ext cx="10575647" cy="1701544"/>
            </a:xfrm>
            <a:custGeom>
              <a:avLst/>
              <a:gdLst>
                <a:gd name="connsiteX0" fmla="*/ 7802033 w 10575647"/>
                <a:gd name="connsiteY0" fmla="*/ 380187 h 1701544"/>
                <a:gd name="connsiteX1" fmla="*/ 7621138 w 10575647"/>
                <a:gd name="connsiteY1" fmla="*/ 380187 h 1701544"/>
                <a:gd name="connsiteX2" fmla="*/ 7621138 w 10575647"/>
                <a:gd name="connsiteY2" fmla="*/ 1271563 h 1701544"/>
                <a:gd name="connsiteX3" fmla="*/ 7802033 w 10575647"/>
                <a:gd name="connsiteY3" fmla="*/ 1271563 h 1701544"/>
                <a:gd name="connsiteX4" fmla="*/ 7802033 w 10575647"/>
                <a:gd name="connsiteY4" fmla="*/ 380187 h 1701544"/>
                <a:gd name="connsiteX5" fmla="*/ 706522 w 10575647"/>
                <a:gd name="connsiteY5" fmla="*/ 1271563 h 1701544"/>
                <a:gd name="connsiteX6" fmla="*/ 902065 w 10575647"/>
                <a:gd name="connsiteY6" fmla="*/ 1271563 h 1701544"/>
                <a:gd name="connsiteX7" fmla="*/ 902065 w 10575647"/>
                <a:gd name="connsiteY7" fmla="*/ 0 h 1701544"/>
                <a:gd name="connsiteX8" fmla="*/ 706522 w 10575647"/>
                <a:gd name="connsiteY8" fmla="*/ 0 h 1701544"/>
                <a:gd name="connsiteX9" fmla="*/ 706522 w 10575647"/>
                <a:gd name="connsiteY9" fmla="*/ 553717 h 1701544"/>
                <a:gd name="connsiteX10" fmla="*/ 195543 w 10575647"/>
                <a:gd name="connsiteY10" fmla="*/ 553717 h 1701544"/>
                <a:gd name="connsiteX11" fmla="*/ 195543 w 10575647"/>
                <a:gd name="connsiteY11" fmla="*/ 0 h 1701544"/>
                <a:gd name="connsiteX12" fmla="*/ 0 w 10575647"/>
                <a:gd name="connsiteY12" fmla="*/ 0 h 1701544"/>
                <a:gd name="connsiteX13" fmla="*/ 0 w 10575647"/>
                <a:gd name="connsiteY13" fmla="*/ 1271563 h 1701544"/>
                <a:gd name="connsiteX14" fmla="*/ 195543 w 10575647"/>
                <a:gd name="connsiteY14" fmla="*/ 1271563 h 1701544"/>
                <a:gd name="connsiteX15" fmla="*/ 195543 w 10575647"/>
                <a:gd name="connsiteY15" fmla="*/ 727142 h 1701544"/>
                <a:gd name="connsiteX16" fmla="*/ 706522 w 10575647"/>
                <a:gd name="connsiteY16" fmla="*/ 727142 h 1701544"/>
                <a:gd name="connsiteX17" fmla="*/ 706522 w 10575647"/>
                <a:gd name="connsiteY17" fmla="*/ 1271563 h 1701544"/>
                <a:gd name="connsiteX18" fmla="*/ 1306185 w 10575647"/>
                <a:gd name="connsiteY18" fmla="*/ 1690649 h 1701544"/>
                <a:gd name="connsiteX19" fmla="*/ 1654904 w 10575647"/>
                <a:gd name="connsiteY19" fmla="*/ 1036061 h 1701544"/>
                <a:gd name="connsiteX20" fmla="*/ 1306185 w 10575647"/>
                <a:gd name="connsiteY20" fmla="*/ 381469 h 1701544"/>
                <a:gd name="connsiteX21" fmla="*/ 1090234 w 10575647"/>
                <a:gd name="connsiteY21" fmla="*/ 381469 h 1701544"/>
                <a:gd name="connsiteX22" fmla="*/ 1438900 w 10575647"/>
                <a:gd name="connsiteY22" fmla="*/ 1036061 h 1701544"/>
                <a:gd name="connsiteX23" fmla="*/ 1090234 w 10575647"/>
                <a:gd name="connsiteY23" fmla="*/ 1690649 h 1701544"/>
                <a:gd name="connsiteX24" fmla="*/ 1306185 w 10575647"/>
                <a:gd name="connsiteY24" fmla="*/ 1690649 h 1701544"/>
                <a:gd name="connsiteX25" fmla="*/ 2581808 w 10575647"/>
                <a:gd name="connsiteY25" fmla="*/ 828654 h 1701544"/>
                <a:gd name="connsiteX26" fmla="*/ 2317883 w 10575647"/>
                <a:gd name="connsiteY26" fmla="*/ 1129505 h 1701544"/>
                <a:gd name="connsiteX27" fmla="*/ 2065011 w 10575647"/>
                <a:gd name="connsiteY27" fmla="*/ 832338 h 1701544"/>
                <a:gd name="connsiteX28" fmla="*/ 2327068 w 10575647"/>
                <a:gd name="connsiteY28" fmla="*/ 525990 h 1701544"/>
                <a:gd name="connsiteX29" fmla="*/ 2581808 w 10575647"/>
                <a:gd name="connsiteY29" fmla="*/ 828654 h 1701544"/>
                <a:gd name="connsiteX30" fmla="*/ 2581808 w 10575647"/>
                <a:gd name="connsiteY30" fmla="*/ 1271563 h 1701544"/>
                <a:gd name="connsiteX31" fmla="*/ 2762608 w 10575647"/>
                <a:gd name="connsiteY31" fmla="*/ 1271563 h 1701544"/>
                <a:gd name="connsiteX32" fmla="*/ 2762608 w 10575647"/>
                <a:gd name="connsiteY32" fmla="*/ 0 h 1701544"/>
                <a:gd name="connsiteX33" fmla="*/ 2581808 w 10575647"/>
                <a:gd name="connsiteY33" fmla="*/ 0 h 1701544"/>
                <a:gd name="connsiteX34" fmla="*/ 2581808 w 10575647"/>
                <a:gd name="connsiteY34" fmla="*/ 476356 h 1701544"/>
                <a:gd name="connsiteX35" fmla="*/ 2297581 w 10575647"/>
                <a:gd name="connsiteY35" fmla="*/ 359885 h 1701544"/>
                <a:gd name="connsiteX36" fmla="*/ 1876785 w 10575647"/>
                <a:gd name="connsiteY36" fmla="*/ 830470 h 1701544"/>
                <a:gd name="connsiteX37" fmla="*/ 2297581 w 10575647"/>
                <a:gd name="connsiteY37" fmla="*/ 1291865 h 1701544"/>
                <a:gd name="connsiteX38" fmla="*/ 2581808 w 10575647"/>
                <a:gd name="connsiteY38" fmla="*/ 1163217 h 1701544"/>
                <a:gd name="connsiteX39" fmla="*/ 2581808 w 10575647"/>
                <a:gd name="connsiteY39" fmla="*/ 1271563 h 1701544"/>
                <a:gd name="connsiteX40" fmla="*/ 3437445 w 10575647"/>
                <a:gd name="connsiteY40" fmla="*/ 542393 h 1701544"/>
                <a:gd name="connsiteX41" fmla="*/ 3460310 w 10575647"/>
                <a:gd name="connsiteY41" fmla="*/ 545331 h 1701544"/>
                <a:gd name="connsiteX42" fmla="*/ 3460310 w 10575647"/>
                <a:gd name="connsiteY42" fmla="*/ 359885 h 1701544"/>
                <a:gd name="connsiteX43" fmla="*/ 3406830 w 10575647"/>
                <a:gd name="connsiteY43" fmla="*/ 359885 h 1701544"/>
                <a:gd name="connsiteX44" fmla="*/ 3231965 w 10575647"/>
                <a:gd name="connsiteY44" fmla="*/ 415877 h 1701544"/>
                <a:gd name="connsiteX45" fmla="*/ 3187194 w 10575647"/>
                <a:gd name="connsiteY45" fmla="*/ 462091 h 1701544"/>
                <a:gd name="connsiteX46" fmla="*/ 3187194 w 10575647"/>
                <a:gd name="connsiteY46" fmla="*/ 380187 h 1701544"/>
                <a:gd name="connsiteX47" fmla="*/ 3006395 w 10575647"/>
                <a:gd name="connsiteY47" fmla="*/ 380187 h 1701544"/>
                <a:gd name="connsiteX48" fmla="*/ 3006395 w 10575647"/>
                <a:gd name="connsiteY48" fmla="*/ 1271563 h 1701544"/>
                <a:gd name="connsiteX49" fmla="*/ 3187194 w 10575647"/>
                <a:gd name="connsiteY49" fmla="*/ 1271563 h 1701544"/>
                <a:gd name="connsiteX50" fmla="*/ 3187194 w 10575647"/>
                <a:gd name="connsiteY50" fmla="*/ 819411 h 1701544"/>
                <a:gd name="connsiteX51" fmla="*/ 3233517 w 10575647"/>
                <a:gd name="connsiteY51" fmla="*/ 629638 h 1701544"/>
                <a:gd name="connsiteX52" fmla="*/ 3401277 w 10575647"/>
                <a:gd name="connsiteY52" fmla="*/ 540683 h 1701544"/>
                <a:gd name="connsiteX53" fmla="*/ 3437445 w 10575647"/>
                <a:gd name="connsiteY53" fmla="*/ 542393 h 1701544"/>
                <a:gd name="connsiteX54" fmla="*/ 4250980 w 10575647"/>
                <a:gd name="connsiteY54" fmla="*/ 826838 h 1701544"/>
                <a:gd name="connsiteX55" fmla="*/ 3983364 w 10575647"/>
                <a:gd name="connsiteY55" fmla="*/ 1122077 h 1701544"/>
                <a:gd name="connsiteX56" fmla="*/ 3713875 w 10575647"/>
                <a:gd name="connsiteY56" fmla="*/ 826838 h 1701544"/>
                <a:gd name="connsiteX57" fmla="*/ 3985180 w 10575647"/>
                <a:gd name="connsiteY57" fmla="*/ 529677 h 1701544"/>
                <a:gd name="connsiteX58" fmla="*/ 4250980 w 10575647"/>
                <a:gd name="connsiteY58" fmla="*/ 826838 h 1701544"/>
                <a:gd name="connsiteX59" fmla="*/ 4435464 w 10575647"/>
                <a:gd name="connsiteY59" fmla="*/ 828654 h 1701544"/>
                <a:gd name="connsiteX60" fmla="*/ 3985180 w 10575647"/>
                <a:gd name="connsiteY60" fmla="*/ 359885 h 1701544"/>
                <a:gd name="connsiteX61" fmla="*/ 3529338 w 10575647"/>
                <a:gd name="connsiteY61" fmla="*/ 824916 h 1701544"/>
                <a:gd name="connsiteX62" fmla="*/ 3979622 w 10575647"/>
                <a:gd name="connsiteY62" fmla="*/ 1291865 h 1701544"/>
                <a:gd name="connsiteX63" fmla="*/ 4435464 w 10575647"/>
                <a:gd name="connsiteY63" fmla="*/ 828654 h 1701544"/>
                <a:gd name="connsiteX64" fmla="*/ 5261608 w 10575647"/>
                <a:gd name="connsiteY64" fmla="*/ 828654 h 1701544"/>
                <a:gd name="connsiteX65" fmla="*/ 5205508 w 10575647"/>
                <a:gd name="connsiteY65" fmla="*/ 1025854 h 1701544"/>
                <a:gd name="connsiteX66" fmla="*/ 5005052 w 10575647"/>
                <a:gd name="connsiteY66" fmla="*/ 1122077 h 1701544"/>
                <a:gd name="connsiteX67" fmla="*/ 4746675 w 10575647"/>
                <a:gd name="connsiteY67" fmla="*/ 823153 h 1701544"/>
                <a:gd name="connsiteX68" fmla="*/ 5008683 w 10575647"/>
                <a:gd name="connsiteY68" fmla="*/ 529677 h 1701544"/>
                <a:gd name="connsiteX69" fmla="*/ 5200378 w 10575647"/>
                <a:gd name="connsiteY69" fmla="*/ 617081 h 1701544"/>
                <a:gd name="connsiteX70" fmla="*/ 5261608 w 10575647"/>
                <a:gd name="connsiteY70" fmla="*/ 828654 h 1701544"/>
                <a:gd name="connsiteX71" fmla="*/ 5327264 w 10575647"/>
                <a:gd name="connsiteY71" fmla="*/ 1583314 h 1701544"/>
                <a:gd name="connsiteX72" fmla="*/ 5446113 w 10575647"/>
                <a:gd name="connsiteY72" fmla="*/ 1256819 h 1701544"/>
                <a:gd name="connsiteX73" fmla="*/ 5446113 w 10575647"/>
                <a:gd name="connsiteY73" fmla="*/ 380187 h 1701544"/>
                <a:gd name="connsiteX74" fmla="*/ 5265239 w 10575647"/>
                <a:gd name="connsiteY74" fmla="*/ 380187 h 1701544"/>
                <a:gd name="connsiteX75" fmla="*/ 5265239 w 10575647"/>
                <a:gd name="connsiteY75" fmla="*/ 488537 h 1701544"/>
                <a:gd name="connsiteX76" fmla="*/ 4982875 w 10575647"/>
                <a:gd name="connsiteY76" fmla="*/ 359885 h 1701544"/>
                <a:gd name="connsiteX77" fmla="*/ 4699394 w 10575647"/>
                <a:gd name="connsiteY77" fmla="*/ 465190 h 1701544"/>
                <a:gd name="connsiteX78" fmla="*/ 4558400 w 10575647"/>
                <a:gd name="connsiteY78" fmla="*/ 828654 h 1701544"/>
                <a:gd name="connsiteX79" fmla="*/ 4971816 w 10575647"/>
                <a:gd name="connsiteY79" fmla="*/ 1291865 h 1701544"/>
                <a:gd name="connsiteX80" fmla="*/ 5265239 w 10575647"/>
                <a:gd name="connsiteY80" fmla="*/ 1150553 h 1701544"/>
                <a:gd name="connsiteX81" fmla="*/ 5265239 w 10575647"/>
                <a:gd name="connsiteY81" fmla="*/ 1267931 h 1701544"/>
                <a:gd name="connsiteX82" fmla="*/ 5206095 w 10575647"/>
                <a:gd name="connsiteY82" fmla="*/ 1457116 h 1701544"/>
                <a:gd name="connsiteX83" fmla="*/ 4999546 w 10575647"/>
                <a:gd name="connsiteY83" fmla="*/ 1533625 h 1701544"/>
                <a:gd name="connsiteX84" fmla="*/ 4811695 w 10575647"/>
                <a:gd name="connsiteY84" fmla="*/ 1487409 h 1701544"/>
                <a:gd name="connsiteX85" fmla="*/ 4733588 w 10575647"/>
                <a:gd name="connsiteY85" fmla="*/ 1416300 h 1701544"/>
                <a:gd name="connsiteX86" fmla="*/ 4719215 w 10575647"/>
                <a:gd name="connsiteY86" fmla="*/ 1401339 h 1701544"/>
                <a:gd name="connsiteX87" fmla="*/ 4595103 w 10575647"/>
                <a:gd name="connsiteY87" fmla="*/ 1525451 h 1701544"/>
                <a:gd name="connsiteX88" fmla="*/ 4607819 w 10575647"/>
                <a:gd name="connsiteY88" fmla="*/ 1539824 h 1701544"/>
                <a:gd name="connsiteX89" fmla="*/ 4999546 w 10575647"/>
                <a:gd name="connsiteY89" fmla="*/ 1701544 h 1701544"/>
                <a:gd name="connsiteX90" fmla="*/ 5327264 w 10575647"/>
                <a:gd name="connsiteY90" fmla="*/ 1583314 h 1701544"/>
                <a:gd name="connsiteX91" fmla="*/ 6317923 w 10575647"/>
                <a:gd name="connsiteY91" fmla="*/ 747497 h 1701544"/>
                <a:gd name="connsiteX92" fmla="*/ 5805203 w 10575647"/>
                <a:gd name="connsiteY92" fmla="*/ 747497 h 1701544"/>
                <a:gd name="connsiteX93" fmla="*/ 5845913 w 10575647"/>
                <a:gd name="connsiteY93" fmla="*/ 635144 h 1701544"/>
                <a:gd name="connsiteX94" fmla="*/ 6057989 w 10575647"/>
                <a:gd name="connsiteY94" fmla="*/ 525990 h 1701544"/>
                <a:gd name="connsiteX95" fmla="*/ 6275730 w 10575647"/>
                <a:gd name="connsiteY95" fmla="*/ 633487 h 1701544"/>
                <a:gd name="connsiteX96" fmla="*/ 6317923 w 10575647"/>
                <a:gd name="connsiteY96" fmla="*/ 747497 h 1701544"/>
                <a:gd name="connsiteX97" fmla="*/ 6508188 w 10575647"/>
                <a:gd name="connsiteY97" fmla="*/ 872890 h 1701544"/>
                <a:gd name="connsiteX98" fmla="*/ 6510094 w 10575647"/>
                <a:gd name="connsiteY98" fmla="*/ 815779 h 1701544"/>
                <a:gd name="connsiteX99" fmla="*/ 6057989 w 10575647"/>
                <a:gd name="connsiteY99" fmla="*/ 359885 h 1701544"/>
                <a:gd name="connsiteX100" fmla="*/ 5609538 w 10575647"/>
                <a:gd name="connsiteY100" fmla="*/ 828654 h 1701544"/>
                <a:gd name="connsiteX101" fmla="*/ 6063495 w 10575647"/>
                <a:gd name="connsiteY101" fmla="*/ 1291865 h 1701544"/>
                <a:gd name="connsiteX102" fmla="*/ 6460066 w 10575647"/>
                <a:gd name="connsiteY102" fmla="*/ 1051710 h 1701544"/>
                <a:gd name="connsiteX103" fmla="*/ 6469966 w 10575647"/>
                <a:gd name="connsiteY103" fmla="*/ 1031572 h 1701544"/>
                <a:gd name="connsiteX104" fmla="*/ 6308923 w 10575647"/>
                <a:gd name="connsiteY104" fmla="*/ 971517 h 1701544"/>
                <a:gd name="connsiteX105" fmla="*/ 6300559 w 10575647"/>
                <a:gd name="connsiteY105" fmla="*/ 986689 h 1701544"/>
                <a:gd name="connsiteX106" fmla="*/ 6063495 w 10575647"/>
                <a:gd name="connsiteY106" fmla="*/ 1122077 h 1701544"/>
                <a:gd name="connsiteX107" fmla="*/ 5850784 w 10575647"/>
                <a:gd name="connsiteY107" fmla="*/ 1013832 h 1701544"/>
                <a:gd name="connsiteX108" fmla="*/ 5802132 w 10575647"/>
                <a:gd name="connsiteY108" fmla="*/ 891377 h 1701544"/>
                <a:gd name="connsiteX109" fmla="*/ 6506547 w 10575647"/>
                <a:gd name="connsiteY109" fmla="*/ 891377 h 1701544"/>
                <a:gd name="connsiteX110" fmla="*/ 6508188 w 10575647"/>
                <a:gd name="connsiteY110" fmla="*/ 872890 h 1701544"/>
                <a:gd name="connsiteX111" fmla="*/ 7205139 w 10575647"/>
                <a:gd name="connsiteY111" fmla="*/ 1271563 h 1701544"/>
                <a:gd name="connsiteX112" fmla="*/ 7385928 w 10575647"/>
                <a:gd name="connsiteY112" fmla="*/ 1271563 h 1701544"/>
                <a:gd name="connsiteX113" fmla="*/ 7385928 w 10575647"/>
                <a:gd name="connsiteY113" fmla="*/ 677294 h 1701544"/>
                <a:gd name="connsiteX114" fmla="*/ 7307154 w 10575647"/>
                <a:gd name="connsiteY114" fmla="*/ 435163 h 1701544"/>
                <a:gd name="connsiteX115" fmla="*/ 7096189 w 10575647"/>
                <a:gd name="connsiteY115" fmla="*/ 359885 h 1701544"/>
                <a:gd name="connsiteX116" fmla="*/ 6863625 w 10575647"/>
                <a:gd name="connsiteY116" fmla="*/ 463694 h 1701544"/>
                <a:gd name="connsiteX117" fmla="*/ 6863625 w 10575647"/>
                <a:gd name="connsiteY117" fmla="*/ 380187 h 1701544"/>
                <a:gd name="connsiteX118" fmla="*/ 6682836 w 10575647"/>
                <a:gd name="connsiteY118" fmla="*/ 380187 h 1701544"/>
                <a:gd name="connsiteX119" fmla="*/ 6682836 w 10575647"/>
                <a:gd name="connsiteY119" fmla="*/ 1271563 h 1701544"/>
                <a:gd name="connsiteX120" fmla="*/ 6863625 w 10575647"/>
                <a:gd name="connsiteY120" fmla="*/ 1271563 h 1701544"/>
                <a:gd name="connsiteX121" fmla="*/ 6863625 w 10575647"/>
                <a:gd name="connsiteY121" fmla="*/ 732701 h 1701544"/>
                <a:gd name="connsiteX122" fmla="*/ 6913971 w 10575647"/>
                <a:gd name="connsiteY122" fmla="*/ 591066 h 1701544"/>
                <a:gd name="connsiteX123" fmla="*/ 7061143 w 10575647"/>
                <a:gd name="connsiteY123" fmla="*/ 525990 h 1701544"/>
                <a:gd name="connsiteX124" fmla="*/ 7177769 w 10575647"/>
                <a:gd name="connsiteY124" fmla="*/ 575089 h 1701544"/>
                <a:gd name="connsiteX125" fmla="*/ 7205139 w 10575647"/>
                <a:gd name="connsiteY125" fmla="*/ 708709 h 1701544"/>
                <a:gd name="connsiteX126" fmla="*/ 7205139 w 10575647"/>
                <a:gd name="connsiteY126" fmla="*/ 1271563 h 1701544"/>
                <a:gd name="connsiteX127" fmla="*/ 7822309 w 10575647"/>
                <a:gd name="connsiteY127" fmla="*/ 162418 h 1701544"/>
                <a:gd name="connsiteX128" fmla="*/ 7713412 w 10575647"/>
                <a:gd name="connsiteY128" fmla="*/ 49847 h 1701544"/>
                <a:gd name="connsiteX129" fmla="*/ 7602662 w 10575647"/>
                <a:gd name="connsiteY129" fmla="*/ 160549 h 1701544"/>
                <a:gd name="connsiteX130" fmla="*/ 7711560 w 10575647"/>
                <a:gd name="connsiteY130" fmla="*/ 271303 h 1701544"/>
                <a:gd name="connsiteX131" fmla="*/ 7822309 w 10575647"/>
                <a:gd name="connsiteY131" fmla="*/ 162418 h 1701544"/>
                <a:gd name="connsiteX132" fmla="*/ 8704760 w 10575647"/>
                <a:gd name="connsiteY132" fmla="*/ 826838 h 1701544"/>
                <a:gd name="connsiteX133" fmla="*/ 8437150 w 10575647"/>
                <a:gd name="connsiteY133" fmla="*/ 1122077 h 1701544"/>
                <a:gd name="connsiteX134" fmla="*/ 8167740 w 10575647"/>
                <a:gd name="connsiteY134" fmla="*/ 826838 h 1701544"/>
                <a:gd name="connsiteX135" fmla="*/ 8439003 w 10575647"/>
                <a:gd name="connsiteY135" fmla="*/ 529677 h 1701544"/>
                <a:gd name="connsiteX136" fmla="*/ 8704760 w 10575647"/>
                <a:gd name="connsiteY136" fmla="*/ 826838 h 1701544"/>
                <a:gd name="connsiteX137" fmla="*/ 8889307 w 10575647"/>
                <a:gd name="connsiteY137" fmla="*/ 828654 h 1701544"/>
                <a:gd name="connsiteX138" fmla="*/ 8439003 w 10575647"/>
                <a:gd name="connsiteY138" fmla="*/ 359885 h 1701544"/>
                <a:gd name="connsiteX139" fmla="*/ 7983193 w 10575647"/>
                <a:gd name="connsiteY139" fmla="*/ 824916 h 1701544"/>
                <a:gd name="connsiteX140" fmla="*/ 8433444 w 10575647"/>
                <a:gd name="connsiteY140" fmla="*/ 1291865 h 1701544"/>
                <a:gd name="connsiteX141" fmla="*/ 8889307 w 10575647"/>
                <a:gd name="connsiteY141" fmla="*/ 828654 h 1701544"/>
                <a:gd name="connsiteX142" fmla="*/ 9658150 w 10575647"/>
                <a:gd name="connsiteY142" fmla="*/ 1197940 h 1701544"/>
                <a:gd name="connsiteX143" fmla="*/ 9749630 w 10575647"/>
                <a:gd name="connsiteY143" fmla="*/ 944968 h 1701544"/>
                <a:gd name="connsiteX144" fmla="*/ 9749630 w 10575647"/>
                <a:gd name="connsiteY144" fmla="*/ 380187 h 1701544"/>
                <a:gd name="connsiteX145" fmla="*/ 9566988 w 10575647"/>
                <a:gd name="connsiteY145" fmla="*/ 380187 h 1701544"/>
                <a:gd name="connsiteX146" fmla="*/ 9566988 w 10575647"/>
                <a:gd name="connsiteY146" fmla="*/ 944968 h 1701544"/>
                <a:gd name="connsiteX147" fmla="*/ 9535012 w 10575647"/>
                <a:gd name="connsiteY147" fmla="*/ 1068222 h 1701544"/>
                <a:gd name="connsiteX148" fmla="*/ 9399010 w 10575647"/>
                <a:gd name="connsiteY148" fmla="*/ 1125815 h 1701544"/>
                <a:gd name="connsiteX149" fmla="*/ 9229233 w 10575647"/>
                <a:gd name="connsiteY149" fmla="*/ 941225 h 1701544"/>
                <a:gd name="connsiteX150" fmla="*/ 9229233 w 10575647"/>
                <a:gd name="connsiteY150" fmla="*/ 380187 h 1701544"/>
                <a:gd name="connsiteX151" fmla="*/ 9048391 w 10575647"/>
                <a:gd name="connsiteY151" fmla="*/ 380187 h 1701544"/>
                <a:gd name="connsiteX152" fmla="*/ 9048391 w 10575647"/>
                <a:gd name="connsiteY152" fmla="*/ 944968 h 1701544"/>
                <a:gd name="connsiteX153" fmla="*/ 9139659 w 10575647"/>
                <a:gd name="connsiteY153" fmla="*/ 1195965 h 1701544"/>
                <a:gd name="connsiteX154" fmla="*/ 9399010 w 10575647"/>
                <a:gd name="connsiteY154" fmla="*/ 1291865 h 1701544"/>
                <a:gd name="connsiteX155" fmla="*/ 9658150 w 10575647"/>
                <a:gd name="connsiteY155" fmla="*/ 1197945 h 1701544"/>
                <a:gd name="connsiteX156" fmla="*/ 10385594 w 10575647"/>
                <a:gd name="connsiteY156" fmla="*/ 653307 h 1701544"/>
                <a:gd name="connsiteX157" fmla="*/ 10567335 w 10575647"/>
                <a:gd name="connsiteY157" fmla="*/ 653307 h 1701544"/>
                <a:gd name="connsiteX158" fmla="*/ 10566383 w 10575647"/>
                <a:gd name="connsiteY158" fmla="*/ 632041 h 1701544"/>
                <a:gd name="connsiteX159" fmla="*/ 10249009 w 10575647"/>
                <a:gd name="connsiteY159" fmla="*/ 359885 h 1701544"/>
                <a:gd name="connsiteX160" fmla="*/ 9929730 w 10575647"/>
                <a:gd name="connsiteY160" fmla="*/ 627446 h 1701544"/>
                <a:gd name="connsiteX161" fmla="*/ 10212587 w 10575647"/>
                <a:gd name="connsiteY161" fmla="*/ 903611 h 1701544"/>
                <a:gd name="connsiteX162" fmla="*/ 10391099 w 10575647"/>
                <a:gd name="connsiteY162" fmla="*/ 1031625 h 1701544"/>
                <a:gd name="connsiteX163" fmla="*/ 10252715 w 10575647"/>
                <a:gd name="connsiteY163" fmla="*/ 1136874 h 1701544"/>
                <a:gd name="connsiteX164" fmla="*/ 10093843 w 10575647"/>
                <a:gd name="connsiteY164" fmla="*/ 1007579 h 1701544"/>
                <a:gd name="connsiteX165" fmla="*/ 10092096 w 10575647"/>
                <a:gd name="connsiteY165" fmla="*/ 989257 h 1701544"/>
                <a:gd name="connsiteX166" fmla="*/ 9913054 w 10575647"/>
                <a:gd name="connsiteY166" fmla="*/ 989257 h 1701544"/>
                <a:gd name="connsiteX167" fmla="*/ 9915066 w 10575647"/>
                <a:gd name="connsiteY167" fmla="*/ 1011216 h 1701544"/>
                <a:gd name="connsiteX168" fmla="*/ 10252715 w 10575647"/>
                <a:gd name="connsiteY168" fmla="*/ 1291865 h 1701544"/>
                <a:gd name="connsiteX169" fmla="*/ 10575647 w 10575647"/>
                <a:gd name="connsiteY169" fmla="*/ 1024303 h 1701544"/>
                <a:gd name="connsiteX170" fmla="*/ 10501426 w 10575647"/>
                <a:gd name="connsiteY170" fmla="*/ 843879 h 1701544"/>
                <a:gd name="connsiteX171" fmla="*/ 10285750 w 10575647"/>
                <a:gd name="connsiteY171" fmla="*/ 740769 h 1701544"/>
                <a:gd name="connsiteX172" fmla="*/ 10110519 w 10575647"/>
                <a:gd name="connsiteY172" fmla="*/ 616440 h 1701544"/>
                <a:gd name="connsiteX173" fmla="*/ 10243398 w 10575647"/>
                <a:gd name="connsiteY173" fmla="*/ 514877 h 1701544"/>
                <a:gd name="connsiteX174" fmla="*/ 10385594 w 10575647"/>
                <a:gd name="connsiteY174" fmla="*/ 623762 h 1701544"/>
                <a:gd name="connsiteX175" fmla="*/ 10385594 w 10575647"/>
                <a:gd name="connsiteY175" fmla="*/ 653307 h 170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10575647" h="1701544">
                  <a:moveTo>
                    <a:pt x="7802033" y="380187"/>
                  </a:moveTo>
                  <a:lnTo>
                    <a:pt x="7621138" y="380187"/>
                  </a:lnTo>
                  <a:lnTo>
                    <a:pt x="7621138" y="1271563"/>
                  </a:lnTo>
                  <a:lnTo>
                    <a:pt x="7802033" y="1271563"/>
                  </a:lnTo>
                  <a:lnTo>
                    <a:pt x="7802033" y="380187"/>
                  </a:lnTo>
                  <a:close/>
                  <a:moveTo>
                    <a:pt x="706522" y="1271563"/>
                  </a:moveTo>
                  <a:lnTo>
                    <a:pt x="902065" y="1271563"/>
                  </a:lnTo>
                  <a:lnTo>
                    <a:pt x="902065" y="0"/>
                  </a:lnTo>
                  <a:lnTo>
                    <a:pt x="706522" y="0"/>
                  </a:lnTo>
                  <a:lnTo>
                    <a:pt x="706522" y="553717"/>
                  </a:lnTo>
                  <a:lnTo>
                    <a:pt x="195543" y="553717"/>
                  </a:lnTo>
                  <a:lnTo>
                    <a:pt x="195543" y="0"/>
                  </a:lnTo>
                  <a:lnTo>
                    <a:pt x="0" y="0"/>
                  </a:lnTo>
                  <a:lnTo>
                    <a:pt x="0" y="1271563"/>
                  </a:lnTo>
                  <a:lnTo>
                    <a:pt x="195543" y="1271563"/>
                  </a:lnTo>
                  <a:lnTo>
                    <a:pt x="195543" y="727142"/>
                  </a:lnTo>
                  <a:lnTo>
                    <a:pt x="706522" y="727142"/>
                  </a:lnTo>
                  <a:lnTo>
                    <a:pt x="706522" y="1271563"/>
                  </a:lnTo>
                  <a:close/>
                  <a:moveTo>
                    <a:pt x="1306185" y="1690649"/>
                  </a:moveTo>
                  <a:lnTo>
                    <a:pt x="1654904" y="1036061"/>
                  </a:lnTo>
                  <a:lnTo>
                    <a:pt x="1306185" y="381469"/>
                  </a:lnTo>
                  <a:lnTo>
                    <a:pt x="1090234" y="381469"/>
                  </a:lnTo>
                  <a:lnTo>
                    <a:pt x="1438900" y="1036061"/>
                  </a:lnTo>
                  <a:lnTo>
                    <a:pt x="1090234" y="1690649"/>
                  </a:lnTo>
                  <a:lnTo>
                    <a:pt x="1306185" y="1690649"/>
                  </a:lnTo>
                  <a:close/>
                  <a:moveTo>
                    <a:pt x="2581808" y="828654"/>
                  </a:moveTo>
                  <a:cubicBezTo>
                    <a:pt x="2581808" y="1002989"/>
                    <a:pt x="2470789" y="1129505"/>
                    <a:pt x="2317883" y="1129505"/>
                  </a:cubicBezTo>
                  <a:cubicBezTo>
                    <a:pt x="2168980" y="1129505"/>
                    <a:pt x="2065011" y="1007262"/>
                    <a:pt x="2065011" y="832338"/>
                  </a:cubicBezTo>
                  <a:cubicBezTo>
                    <a:pt x="2065011" y="649088"/>
                    <a:pt x="2170314" y="525990"/>
                    <a:pt x="2327068" y="525990"/>
                  </a:cubicBezTo>
                  <a:cubicBezTo>
                    <a:pt x="2479444" y="525990"/>
                    <a:pt x="2581808" y="647590"/>
                    <a:pt x="2581808" y="828654"/>
                  </a:cubicBezTo>
                  <a:moveTo>
                    <a:pt x="2581808" y="1271563"/>
                  </a:moveTo>
                  <a:lnTo>
                    <a:pt x="2762608" y="1271563"/>
                  </a:lnTo>
                  <a:lnTo>
                    <a:pt x="2762608" y="0"/>
                  </a:lnTo>
                  <a:lnTo>
                    <a:pt x="2581808" y="0"/>
                  </a:lnTo>
                  <a:lnTo>
                    <a:pt x="2581808" y="476356"/>
                  </a:lnTo>
                  <a:cubicBezTo>
                    <a:pt x="2503431" y="397017"/>
                    <a:pt x="2412449" y="359885"/>
                    <a:pt x="2297581" y="359885"/>
                  </a:cubicBezTo>
                  <a:cubicBezTo>
                    <a:pt x="2057690" y="359885"/>
                    <a:pt x="1876785" y="562214"/>
                    <a:pt x="1876785" y="830470"/>
                  </a:cubicBezTo>
                  <a:cubicBezTo>
                    <a:pt x="1876785" y="1102145"/>
                    <a:pt x="2049839" y="1291865"/>
                    <a:pt x="2297581" y="1291865"/>
                  </a:cubicBezTo>
                  <a:cubicBezTo>
                    <a:pt x="2414371" y="1291865"/>
                    <a:pt x="2503061" y="1251959"/>
                    <a:pt x="2581808" y="1163217"/>
                  </a:cubicBezTo>
                  <a:lnTo>
                    <a:pt x="2581808" y="1271563"/>
                  </a:lnTo>
                  <a:close/>
                  <a:moveTo>
                    <a:pt x="3437445" y="542393"/>
                  </a:moveTo>
                  <a:lnTo>
                    <a:pt x="3460310" y="545331"/>
                  </a:lnTo>
                  <a:lnTo>
                    <a:pt x="3460310" y="359885"/>
                  </a:lnTo>
                  <a:lnTo>
                    <a:pt x="3406830" y="359885"/>
                  </a:lnTo>
                  <a:cubicBezTo>
                    <a:pt x="3341169" y="359885"/>
                    <a:pt x="3277430" y="380294"/>
                    <a:pt x="3231965" y="415877"/>
                  </a:cubicBezTo>
                  <a:cubicBezTo>
                    <a:pt x="3213690" y="430035"/>
                    <a:pt x="3199693" y="444353"/>
                    <a:pt x="3187194" y="462091"/>
                  </a:cubicBezTo>
                  <a:lnTo>
                    <a:pt x="3187194" y="380187"/>
                  </a:lnTo>
                  <a:lnTo>
                    <a:pt x="3006395" y="380187"/>
                  </a:lnTo>
                  <a:lnTo>
                    <a:pt x="3006395" y="1271563"/>
                  </a:lnTo>
                  <a:lnTo>
                    <a:pt x="3187194" y="1271563"/>
                  </a:lnTo>
                  <a:lnTo>
                    <a:pt x="3187194" y="819411"/>
                  </a:lnTo>
                  <a:cubicBezTo>
                    <a:pt x="3187194" y="727783"/>
                    <a:pt x="3198894" y="679915"/>
                    <a:pt x="3233517" y="629638"/>
                  </a:cubicBezTo>
                  <a:cubicBezTo>
                    <a:pt x="3272300" y="572310"/>
                    <a:pt x="3331926" y="540683"/>
                    <a:pt x="3401277" y="540683"/>
                  </a:cubicBezTo>
                  <a:cubicBezTo>
                    <a:pt x="3410356" y="540683"/>
                    <a:pt x="3423983" y="540683"/>
                    <a:pt x="3437445" y="542393"/>
                  </a:cubicBezTo>
                  <a:moveTo>
                    <a:pt x="4250980" y="826838"/>
                  </a:moveTo>
                  <a:cubicBezTo>
                    <a:pt x="4250980" y="1000692"/>
                    <a:pt x="4140918" y="1122077"/>
                    <a:pt x="3983364" y="1122077"/>
                  </a:cubicBezTo>
                  <a:cubicBezTo>
                    <a:pt x="3822174" y="1122077"/>
                    <a:pt x="3713875" y="1003466"/>
                    <a:pt x="3713875" y="826838"/>
                  </a:cubicBezTo>
                  <a:cubicBezTo>
                    <a:pt x="3713875" y="649088"/>
                    <a:pt x="3822920" y="529677"/>
                    <a:pt x="3985180" y="529677"/>
                  </a:cubicBezTo>
                  <a:cubicBezTo>
                    <a:pt x="4144179" y="529677"/>
                    <a:pt x="4250980" y="649088"/>
                    <a:pt x="4250980" y="826838"/>
                  </a:cubicBezTo>
                  <a:moveTo>
                    <a:pt x="4435464" y="828654"/>
                  </a:moveTo>
                  <a:cubicBezTo>
                    <a:pt x="4435464" y="557084"/>
                    <a:pt x="4246120" y="359885"/>
                    <a:pt x="3985180" y="359885"/>
                  </a:cubicBezTo>
                  <a:cubicBezTo>
                    <a:pt x="3716818" y="359885"/>
                    <a:pt x="3529338" y="551155"/>
                    <a:pt x="3529338" y="824916"/>
                  </a:cubicBezTo>
                  <a:cubicBezTo>
                    <a:pt x="3529338" y="1099848"/>
                    <a:pt x="3714521" y="1291865"/>
                    <a:pt x="3979622" y="1291865"/>
                  </a:cubicBezTo>
                  <a:cubicBezTo>
                    <a:pt x="4235272" y="1291865"/>
                    <a:pt x="4435464" y="1088418"/>
                    <a:pt x="4435464" y="828654"/>
                  </a:cubicBezTo>
                  <a:moveTo>
                    <a:pt x="5261608" y="828654"/>
                  </a:moveTo>
                  <a:cubicBezTo>
                    <a:pt x="5261608" y="909382"/>
                    <a:pt x="5239596" y="986748"/>
                    <a:pt x="5205508" y="1025854"/>
                  </a:cubicBezTo>
                  <a:cubicBezTo>
                    <a:pt x="5153150" y="1087026"/>
                    <a:pt x="5080062" y="1122077"/>
                    <a:pt x="5005052" y="1122077"/>
                  </a:cubicBezTo>
                  <a:cubicBezTo>
                    <a:pt x="4855296" y="1122077"/>
                    <a:pt x="4746675" y="996361"/>
                    <a:pt x="4746675" y="823153"/>
                  </a:cubicBezTo>
                  <a:cubicBezTo>
                    <a:pt x="4746675" y="650316"/>
                    <a:pt x="4854386" y="529677"/>
                    <a:pt x="5008683" y="529677"/>
                  </a:cubicBezTo>
                  <a:cubicBezTo>
                    <a:pt x="5078193" y="529677"/>
                    <a:pt x="5151652" y="563177"/>
                    <a:pt x="5200378" y="617081"/>
                  </a:cubicBezTo>
                  <a:cubicBezTo>
                    <a:pt x="5246112" y="667892"/>
                    <a:pt x="5261608" y="721266"/>
                    <a:pt x="5261608" y="828654"/>
                  </a:cubicBezTo>
                  <a:moveTo>
                    <a:pt x="5327264" y="1583314"/>
                  </a:moveTo>
                  <a:cubicBezTo>
                    <a:pt x="5409426" y="1504990"/>
                    <a:pt x="5446113" y="1404277"/>
                    <a:pt x="5446113" y="1256819"/>
                  </a:cubicBezTo>
                  <a:lnTo>
                    <a:pt x="5446113" y="380187"/>
                  </a:lnTo>
                  <a:lnTo>
                    <a:pt x="5265239" y="380187"/>
                  </a:lnTo>
                  <a:lnTo>
                    <a:pt x="5265239" y="488537"/>
                  </a:lnTo>
                  <a:cubicBezTo>
                    <a:pt x="5186005" y="398673"/>
                    <a:pt x="5100153" y="359885"/>
                    <a:pt x="4982875" y="359885"/>
                  </a:cubicBezTo>
                  <a:cubicBezTo>
                    <a:pt x="4866567" y="359885"/>
                    <a:pt x="4771201" y="395361"/>
                    <a:pt x="4699394" y="465190"/>
                  </a:cubicBezTo>
                  <a:cubicBezTo>
                    <a:pt x="4611080" y="549710"/>
                    <a:pt x="4558400" y="685574"/>
                    <a:pt x="4558400" y="828654"/>
                  </a:cubicBezTo>
                  <a:cubicBezTo>
                    <a:pt x="4558400" y="1092743"/>
                    <a:pt x="4736097" y="1291865"/>
                    <a:pt x="4971816" y="1291865"/>
                  </a:cubicBezTo>
                  <a:cubicBezTo>
                    <a:pt x="5092032" y="1291865"/>
                    <a:pt x="5185952" y="1246830"/>
                    <a:pt x="5265239" y="1150553"/>
                  </a:cubicBezTo>
                  <a:lnTo>
                    <a:pt x="5265239" y="1267931"/>
                  </a:lnTo>
                  <a:cubicBezTo>
                    <a:pt x="5265239" y="1350745"/>
                    <a:pt x="5245313" y="1414431"/>
                    <a:pt x="5206095" y="1457116"/>
                  </a:cubicBezTo>
                  <a:cubicBezTo>
                    <a:pt x="5162288" y="1504291"/>
                    <a:pt x="5083159" y="1533625"/>
                    <a:pt x="4999546" y="1533625"/>
                  </a:cubicBezTo>
                  <a:cubicBezTo>
                    <a:pt x="4932122" y="1533625"/>
                    <a:pt x="4856471" y="1514979"/>
                    <a:pt x="4811695" y="1487409"/>
                  </a:cubicBezTo>
                  <a:cubicBezTo>
                    <a:pt x="4788777" y="1471596"/>
                    <a:pt x="4771254" y="1455624"/>
                    <a:pt x="4733588" y="1416300"/>
                  </a:cubicBezTo>
                  <a:lnTo>
                    <a:pt x="4719215" y="1401339"/>
                  </a:lnTo>
                  <a:lnTo>
                    <a:pt x="4595103" y="1525451"/>
                  </a:lnTo>
                  <a:lnTo>
                    <a:pt x="4607819" y="1539824"/>
                  </a:lnTo>
                  <a:cubicBezTo>
                    <a:pt x="4703719" y="1647106"/>
                    <a:pt x="4835528" y="1701544"/>
                    <a:pt x="4999546" y="1701544"/>
                  </a:cubicBezTo>
                  <a:cubicBezTo>
                    <a:pt x="5134664" y="1701544"/>
                    <a:pt x="5247981" y="1660675"/>
                    <a:pt x="5327264" y="1583314"/>
                  </a:cubicBezTo>
                  <a:moveTo>
                    <a:pt x="6317923" y="747497"/>
                  </a:moveTo>
                  <a:lnTo>
                    <a:pt x="5805203" y="747497"/>
                  </a:lnTo>
                  <a:cubicBezTo>
                    <a:pt x="5814785" y="696051"/>
                    <a:pt x="5825267" y="667627"/>
                    <a:pt x="5845913" y="635144"/>
                  </a:cubicBezTo>
                  <a:cubicBezTo>
                    <a:pt x="5892024" y="566756"/>
                    <a:pt x="5971327" y="525990"/>
                    <a:pt x="6057989" y="525990"/>
                  </a:cubicBezTo>
                  <a:cubicBezTo>
                    <a:pt x="6144228" y="525990"/>
                    <a:pt x="6225702" y="566274"/>
                    <a:pt x="6275730" y="633487"/>
                  </a:cubicBezTo>
                  <a:cubicBezTo>
                    <a:pt x="6300453" y="669067"/>
                    <a:pt x="6312047" y="699841"/>
                    <a:pt x="6317923" y="747497"/>
                  </a:cubicBezTo>
                  <a:moveTo>
                    <a:pt x="6508188" y="872890"/>
                  </a:moveTo>
                  <a:cubicBezTo>
                    <a:pt x="6510094" y="851683"/>
                    <a:pt x="6510094" y="827426"/>
                    <a:pt x="6510094" y="815779"/>
                  </a:cubicBezTo>
                  <a:cubicBezTo>
                    <a:pt x="6510094" y="555909"/>
                    <a:pt x="6315700" y="359885"/>
                    <a:pt x="6057989" y="359885"/>
                  </a:cubicBezTo>
                  <a:cubicBezTo>
                    <a:pt x="5798109" y="359885"/>
                    <a:pt x="5609538" y="557084"/>
                    <a:pt x="5609538" y="828654"/>
                  </a:cubicBezTo>
                  <a:cubicBezTo>
                    <a:pt x="5609538" y="1097074"/>
                    <a:pt x="5800491" y="1291865"/>
                    <a:pt x="6063495" y="1291865"/>
                  </a:cubicBezTo>
                  <a:cubicBezTo>
                    <a:pt x="6235020" y="1291865"/>
                    <a:pt x="6386956" y="1199867"/>
                    <a:pt x="6460066" y="1051710"/>
                  </a:cubicBezTo>
                  <a:lnTo>
                    <a:pt x="6469966" y="1031572"/>
                  </a:lnTo>
                  <a:lnTo>
                    <a:pt x="6308923" y="971517"/>
                  </a:lnTo>
                  <a:lnTo>
                    <a:pt x="6300559" y="986689"/>
                  </a:lnTo>
                  <a:cubicBezTo>
                    <a:pt x="6254237" y="1068968"/>
                    <a:pt x="6161169" y="1122077"/>
                    <a:pt x="6063495" y="1122077"/>
                  </a:cubicBezTo>
                  <a:cubicBezTo>
                    <a:pt x="5977415" y="1122077"/>
                    <a:pt x="5901923" y="1083664"/>
                    <a:pt x="5850784" y="1013832"/>
                  </a:cubicBezTo>
                  <a:cubicBezTo>
                    <a:pt x="5821932" y="975900"/>
                    <a:pt x="5809438" y="945021"/>
                    <a:pt x="5802132" y="891377"/>
                  </a:cubicBezTo>
                  <a:lnTo>
                    <a:pt x="6506547" y="891377"/>
                  </a:lnTo>
                  <a:lnTo>
                    <a:pt x="6508188" y="872890"/>
                  </a:lnTo>
                  <a:close/>
                  <a:moveTo>
                    <a:pt x="7205139" y="1271563"/>
                  </a:moveTo>
                  <a:lnTo>
                    <a:pt x="7385928" y="1271563"/>
                  </a:lnTo>
                  <a:lnTo>
                    <a:pt x="7385928" y="677294"/>
                  </a:lnTo>
                  <a:cubicBezTo>
                    <a:pt x="7385928" y="554734"/>
                    <a:pt x="7365387" y="491422"/>
                    <a:pt x="7307154" y="435163"/>
                  </a:cubicBezTo>
                  <a:cubicBezTo>
                    <a:pt x="7252520" y="386599"/>
                    <a:pt x="7177557" y="359885"/>
                    <a:pt x="7096189" y="359885"/>
                  </a:cubicBezTo>
                  <a:cubicBezTo>
                    <a:pt x="7000739" y="359885"/>
                    <a:pt x="6929853" y="391193"/>
                    <a:pt x="6863625" y="463694"/>
                  </a:cubicBezTo>
                  <a:lnTo>
                    <a:pt x="6863625" y="380187"/>
                  </a:lnTo>
                  <a:lnTo>
                    <a:pt x="6682836" y="380187"/>
                  </a:lnTo>
                  <a:lnTo>
                    <a:pt x="6682836" y="1271563"/>
                  </a:lnTo>
                  <a:lnTo>
                    <a:pt x="6863625" y="1271563"/>
                  </a:lnTo>
                  <a:lnTo>
                    <a:pt x="6863625" y="732701"/>
                  </a:lnTo>
                  <a:cubicBezTo>
                    <a:pt x="6863625" y="667839"/>
                    <a:pt x="6876278" y="632147"/>
                    <a:pt x="6913971" y="591066"/>
                  </a:cubicBezTo>
                  <a:cubicBezTo>
                    <a:pt x="6951505" y="548481"/>
                    <a:pt x="7002433" y="525990"/>
                    <a:pt x="7061143" y="525990"/>
                  </a:cubicBezTo>
                  <a:cubicBezTo>
                    <a:pt x="7110748" y="525990"/>
                    <a:pt x="7155428" y="544744"/>
                    <a:pt x="7177769" y="575089"/>
                  </a:cubicBezTo>
                  <a:cubicBezTo>
                    <a:pt x="7197410" y="601215"/>
                    <a:pt x="7205139" y="638722"/>
                    <a:pt x="7205139" y="708709"/>
                  </a:cubicBezTo>
                  <a:lnTo>
                    <a:pt x="7205139" y="1271563"/>
                  </a:lnTo>
                  <a:close/>
                  <a:moveTo>
                    <a:pt x="7822309" y="162418"/>
                  </a:moveTo>
                  <a:cubicBezTo>
                    <a:pt x="7822309" y="99268"/>
                    <a:pt x="7774452" y="49847"/>
                    <a:pt x="7713412" y="49847"/>
                  </a:cubicBezTo>
                  <a:cubicBezTo>
                    <a:pt x="7650255" y="49847"/>
                    <a:pt x="7602662" y="97451"/>
                    <a:pt x="7602662" y="160549"/>
                  </a:cubicBezTo>
                  <a:cubicBezTo>
                    <a:pt x="7602662" y="223699"/>
                    <a:pt x="7649514" y="271303"/>
                    <a:pt x="7711560" y="271303"/>
                  </a:cubicBezTo>
                  <a:cubicBezTo>
                    <a:pt x="7773711" y="271303"/>
                    <a:pt x="7822309" y="223432"/>
                    <a:pt x="7822309" y="162418"/>
                  </a:cubicBezTo>
                  <a:moveTo>
                    <a:pt x="8704760" y="826838"/>
                  </a:moveTo>
                  <a:cubicBezTo>
                    <a:pt x="8704760" y="1000692"/>
                    <a:pt x="8594751" y="1122077"/>
                    <a:pt x="8437150" y="1122077"/>
                  </a:cubicBezTo>
                  <a:cubicBezTo>
                    <a:pt x="8276002" y="1122077"/>
                    <a:pt x="8167740" y="1003466"/>
                    <a:pt x="8167740" y="826838"/>
                  </a:cubicBezTo>
                  <a:cubicBezTo>
                    <a:pt x="8167740" y="649088"/>
                    <a:pt x="8276743" y="529677"/>
                    <a:pt x="8439003" y="529677"/>
                  </a:cubicBezTo>
                  <a:cubicBezTo>
                    <a:pt x="8597980" y="529677"/>
                    <a:pt x="8704760" y="649088"/>
                    <a:pt x="8704760" y="826838"/>
                  </a:cubicBezTo>
                  <a:moveTo>
                    <a:pt x="8889307" y="828654"/>
                  </a:moveTo>
                  <a:cubicBezTo>
                    <a:pt x="8889307" y="557084"/>
                    <a:pt x="8699942" y="359885"/>
                    <a:pt x="8439003" y="359885"/>
                  </a:cubicBezTo>
                  <a:cubicBezTo>
                    <a:pt x="8170652" y="359885"/>
                    <a:pt x="7983193" y="551155"/>
                    <a:pt x="7983193" y="824916"/>
                  </a:cubicBezTo>
                  <a:cubicBezTo>
                    <a:pt x="7983193" y="1099848"/>
                    <a:pt x="8168375" y="1291865"/>
                    <a:pt x="8433444" y="1291865"/>
                  </a:cubicBezTo>
                  <a:cubicBezTo>
                    <a:pt x="8689089" y="1291865"/>
                    <a:pt x="8889307" y="1088418"/>
                    <a:pt x="8889307" y="828654"/>
                  </a:cubicBezTo>
                  <a:moveTo>
                    <a:pt x="9658150" y="1197940"/>
                  </a:moveTo>
                  <a:cubicBezTo>
                    <a:pt x="9724854" y="1137144"/>
                    <a:pt x="9749630" y="1068539"/>
                    <a:pt x="9749630" y="944968"/>
                  </a:cubicBezTo>
                  <a:lnTo>
                    <a:pt x="9749630" y="380187"/>
                  </a:lnTo>
                  <a:lnTo>
                    <a:pt x="9566988" y="380187"/>
                  </a:lnTo>
                  <a:lnTo>
                    <a:pt x="9566988" y="944968"/>
                  </a:lnTo>
                  <a:cubicBezTo>
                    <a:pt x="9566988" y="1008437"/>
                    <a:pt x="9558835" y="1039587"/>
                    <a:pt x="9535012" y="1068222"/>
                  </a:cubicBezTo>
                  <a:cubicBezTo>
                    <a:pt x="9503831" y="1104284"/>
                    <a:pt x="9453009" y="1125815"/>
                    <a:pt x="9399010" y="1125815"/>
                  </a:cubicBezTo>
                  <a:cubicBezTo>
                    <a:pt x="9299060" y="1125815"/>
                    <a:pt x="9229233" y="1049947"/>
                    <a:pt x="9229233" y="941225"/>
                  </a:cubicBezTo>
                  <a:lnTo>
                    <a:pt x="9229233" y="380187"/>
                  </a:lnTo>
                  <a:lnTo>
                    <a:pt x="9048391" y="380187"/>
                  </a:lnTo>
                  <a:lnTo>
                    <a:pt x="9048391" y="944968"/>
                  </a:lnTo>
                  <a:cubicBezTo>
                    <a:pt x="9048391" y="1054330"/>
                    <a:pt x="9078249" y="1136392"/>
                    <a:pt x="9139659" y="1195965"/>
                  </a:cubicBezTo>
                  <a:cubicBezTo>
                    <a:pt x="9204563" y="1256925"/>
                    <a:pt x="9299113" y="1291865"/>
                    <a:pt x="9399010" y="1291865"/>
                  </a:cubicBezTo>
                  <a:cubicBezTo>
                    <a:pt x="9499701" y="1291865"/>
                    <a:pt x="9591763" y="1258529"/>
                    <a:pt x="9658150" y="1197945"/>
                  </a:cubicBezTo>
                  <a:moveTo>
                    <a:pt x="10385594" y="653307"/>
                  </a:moveTo>
                  <a:lnTo>
                    <a:pt x="10567335" y="653307"/>
                  </a:lnTo>
                  <a:lnTo>
                    <a:pt x="10566383" y="632041"/>
                  </a:lnTo>
                  <a:cubicBezTo>
                    <a:pt x="10558442" y="459099"/>
                    <a:pt x="10442768" y="359885"/>
                    <a:pt x="10249009" y="359885"/>
                  </a:cubicBezTo>
                  <a:cubicBezTo>
                    <a:pt x="10058003" y="359885"/>
                    <a:pt x="9929730" y="467434"/>
                    <a:pt x="9929730" y="627446"/>
                  </a:cubicBezTo>
                  <a:cubicBezTo>
                    <a:pt x="9929730" y="765666"/>
                    <a:pt x="10016922" y="850825"/>
                    <a:pt x="10212587" y="903611"/>
                  </a:cubicBezTo>
                  <a:cubicBezTo>
                    <a:pt x="10347689" y="937858"/>
                    <a:pt x="10391099" y="968955"/>
                    <a:pt x="10391099" y="1031625"/>
                  </a:cubicBezTo>
                  <a:cubicBezTo>
                    <a:pt x="10391099" y="1095576"/>
                    <a:pt x="10336730" y="1136874"/>
                    <a:pt x="10252715" y="1136874"/>
                  </a:cubicBezTo>
                  <a:cubicBezTo>
                    <a:pt x="10155517" y="1136874"/>
                    <a:pt x="10102102" y="1093384"/>
                    <a:pt x="10093843" y="1007579"/>
                  </a:cubicBezTo>
                  <a:lnTo>
                    <a:pt x="10092096" y="989257"/>
                  </a:lnTo>
                  <a:lnTo>
                    <a:pt x="9913054" y="989257"/>
                  </a:lnTo>
                  <a:lnTo>
                    <a:pt x="9915066" y="1011216"/>
                  </a:lnTo>
                  <a:cubicBezTo>
                    <a:pt x="9930789" y="1194843"/>
                    <a:pt x="10047626" y="1291865"/>
                    <a:pt x="10252715" y="1291865"/>
                  </a:cubicBezTo>
                  <a:cubicBezTo>
                    <a:pt x="10445839" y="1291865"/>
                    <a:pt x="10575647" y="1184371"/>
                    <a:pt x="10575647" y="1024303"/>
                  </a:cubicBezTo>
                  <a:cubicBezTo>
                    <a:pt x="10575647" y="956667"/>
                    <a:pt x="10548542" y="890948"/>
                    <a:pt x="10501426" y="843879"/>
                  </a:cubicBezTo>
                  <a:cubicBezTo>
                    <a:pt x="10457485" y="799913"/>
                    <a:pt x="10397028" y="770955"/>
                    <a:pt x="10285750" y="740769"/>
                  </a:cubicBezTo>
                  <a:cubicBezTo>
                    <a:pt x="10125660" y="696474"/>
                    <a:pt x="10110519" y="671471"/>
                    <a:pt x="10110519" y="616440"/>
                  </a:cubicBezTo>
                  <a:cubicBezTo>
                    <a:pt x="10110519" y="553823"/>
                    <a:pt x="10161447" y="514877"/>
                    <a:pt x="10243398" y="514877"/>
                  </a:cubicBezTo>
                  <a:cubicBezTo>
                    <a:pt x="10329795" y="514877"/>
                    <a:pt x="10385594" y="557672"/>
                    <a:pt x="10385594" y="623762"/>
                  </a:cubicBezTo>
                  <a:lnTo>
                    <a:pt x="10385594" y="653307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</p:grp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4B64477F-55E2-8773-B84C-7947357097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CAAB5A71-1CA4-3B48-F7AF-FD9873D27F6B}"/>
              </a:ext>
            </a:extLst>
          </p:cNvPr>
          <p:cNvGrpSpPr/>
          <p:nvPr userDrawn="1"/>
        </p:nvGrpSpPr>
        <p:grpSpPr>
          <a:xfrm rot="5400000">
            <a:off x="-3617983" y="3323777"/>
            <a:ext cx="6854690" cy="213756"/>
            <a:chOff x="-1" y="-286346"/>
            <a:chExt cx="5820565" cy="181508"/>
          </a:xfrm>
        </p:grpSpPr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9AA18767-79EF-5D20-433C-A494FBE5E8C8}"/>
                </a:ext>
              </a:extLst>
            </p:cNvPr>
            <p:cNvGrpSpPr/>
            <p:nvPr userDrawn="1"/>
          </p:nvGrpSpPr>
          <p:grpSpPr>
            <a:xfrm rot="16200000">
              <a:off x="363007" y="-649354"/>
              <a:ext cx="181503" cy="907520"/>
              <a:chOff x="1319213" y="-1663170"/>
              <a:chExt cx="181503" cy="907520"/>
            </a:xfrm>
          </p:grpSpPr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01424A0E-7550-560A-9C76-C879E808735D}"/>
                  </a:ext>
                </a:extLst>
              </p:cNvPr>
              <p:cNvSpPr/>
              <p:nvPr/>
            </p:nvSpPr>
            <p:spPr>
              <a:xfrm>
                <a:off x="1319213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44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5BE8E2F6-0A3E-3FF4-C1DE-A2A29540D9AF}"/>
                  </a:ext>
                </a:extLst>
              </p:cNvPr>
              <p:cNvSpPr/>
              <p:nvPr/>
            </p:nvSpPr>
            <p:spPr>
              <a:xfrm>
                <a:off x="1319213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69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BF698A20-0F92-DFD1-CAC9-26ECD671719B}"/>
                  </a:ext>
                </a:extLst>
              </p:cNvPr>
              <p:cNvSpPr/>
              <p:nvPr/>
            </p:nvSpPr>
            <p:spPr>
              <a:xfrm>
                <a:off x="1319213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FE8F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EA661C56-AB3E-9FBC-4C14-BD155669F85C}"/>
                  </a:ext>
                </a:extLst>
              </p:cNvPr>
              <p:cNvSpPr/>
              <p:nvPr/>
            </p:nvSpPr>
            <p:spPr>
              <a:xfrm>
                <a:off x="1319213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B4B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5A458892-5875-4474-EF9D-8A6AAE8E23D9}"/>
                  </a:ext>
                </a:extLst>
              </p:cNvPr>
              <p:cNvSpPr/>
              <p:nvPr/>
            </p:nvSpPr>
            <p:spPr>
              <a:xfrm>
                <a:off x="1319213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D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A3F1A042-7477-B676-96E6-1DFF30F5C7FA}"/>
                </a:ext>
              </a:extLst>
            </p:cNvPr>
            <p:cNvGrpSpPr/>
            <p:nvPr userDrawn="1"/>
          </p:nvGrpSpPr>
          <p:grpSpPr>
            <a:xfrm rot="16200000">
              <a:off x="1345616" y="-649354"/>
              <a:ext cx="181503" cy="907520"/>
              <a:chOff x="1319213" y="-664912"/>
              <a:chExt cx="181503" cy="907520"/>
            </a:xfrm>
          </p:grpSpPr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456C14DF-A2CF-0648-0689-04AE67607895}"/>
                  </a:ext>
                </a:extLst>
              </p:cNvPr>
              <p:cNvSpPr/>
              <p:nvPr/>
            </p:nvSpPr>
            <p:spPr>
              <a:xfrm>
                <a:off x="1319213" y="-66491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6400A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C0CA86E8-B93E-4A68-2FB6-3E675227A75D}"/>
                  </a:ext>
                </a:extLst>
              </p:cNvPr>
              <p:cNvSpPr/>
              <p:nvPr/>
            </p:nvSpPr>
            <p:spPr>
              <a:xfrm>
                <a:off x="1319213" y="-483404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33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F167F88C-7D60-9905-5958-3B22B829A048}"/>
                  </a:ext>
                </a:extLst>
              </p:cNvPr>
              <p:cNvSpPr/>
              <p:nvPr/>
            </p:nvSpPr>
            <p:spPr>
              <a:xfrm>
                <a:off x="1319213" y="-30189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266C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F2675FCB-BD71-2A20-5EAE-2972C02E4DCE}"/>
                  </a:ext>
                </a:extLst>
              </p:cNvPr>
              <p:cNvSpPr/>
              <p:nvPr/>
            </p:nvSpPr>
            <p:spPr>
              <a:xfrm>
                <a:off x="1319213" y="-120387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199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0030B586-C72D-1AF6-C404-45E26E039FCC}"/>
                  </a:ext>
                </a:extLst>
              </p:cNvPr>
              <p:cNvSpPr/>
              <p:nvPr/>
            </p:nvSpPr>
            <p:spPr>
              <a:xfrm>
                <a:off x="1319213" y="6110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0CC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5AB96A7A-4DD3-8BBA-8F6F-F98F9F66B3F7}"/>
                </a:ext>
              </a:extLst>
            </p:cNvPr>
            <p:cNvGrpSpPr/>
            <p:nvPr userDrawn="1"/>
          </p:nvGrpSpPr>
          <p:grpSpPr>
            <a:xfrm rot="16200000">
              <a:off x="2328223" y="-649352"/>
              <a:ext cx="181508" cy="907520"/>
              <a:chOff x="1682219" y="-1663170"/>
              <a:chExt cx="181508" cy="907520"/>
            </a:xfrm>
          </p:grpSpPr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F1267710-831A-BA3D-27B4-A5DDF08F2C5A}"/>
                  </a:ext>
                </a:extLst>
              </p:cNvPr>
              <p:cNvSpPr/>
              <p:nvPr/>
            </p:nvSpPr>
            <p:spPr>
              <a:xfrm>
                <a:off x="1682219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CC8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559774FB-994C-BF30-67AE-986A965203C4}"/>
                  </a:ext>
                </a:extLst>
              </p:cNvPr>
              <p:cNvSpPr/>
              <p:nvPr/>
            </p:nvSpPr>
            <p:spPr>
              <a:xfrm>
                <a:off x="1682224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3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D013D697-342A-D793-358E-6DF6218CD498}"/>
                  </a:ext>
                </a:extLst>
              </p:cNvPr>
              <p:cNvSpPr/>
              <p:nvPr/>
            </p:nvSpPr>
            <p:spPr>
              <a:xfrm>
                <a:off x="1682224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ADE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48C17B14-70B0-85C2-1312-2601C298CCF7}"/>
                  </a:ext>
                </a:extLst>
              </p:cNvPr>
              <p:cNvSpPr/>
              <p:nvPr/>
            </p:nvSpPr>
            <p:spPr>
              <a:xfrm>
                <a:off x="1682224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E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571D6915-E3E8-5B41-C01D-8B9ED57FA073}"/>
                  </a:ext>
                </a:extLst>
              </p:cNvPr>
              <p:cNvSpPr/>
              <p:nvPr/>
            </p:nvSpPr>
            <p:spPr>
              <a:xfrm>
                <a:off x="1682219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8F4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FEB6E333-6AD3-938D-4616-ECB0C52F5062}"/>
                </a:ext>
              </a:extLst>
            </p:cNvPr>
            <p:cNvGrpSpPr/>
            <p:nvPr userDrawn="1"/>
          </p:nvGrpSpPr>
          <p:grpSpPr>
            <a:xfrm rot="16200000">
              <a:off x="5276052" y="-649354"/>
              <a:ext cx="181503" cy="907520"/>
              <a:chOff x="2226738" y="-1663170"/>
              <a:chExt cx="181503" cy="907520"/>
            </a:xfrm>
          </p:grpSpPr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9B684744-CCE9-7286-F1F3-E9180592E15A}"/>
                  </a:ext>
                </a:extLst>
              </p:cNvPr>
              <p:cNvSpPr/>
              <p:nvPr/>
            </p:nvSpPr>
            <p:spPr>
              <a:xfrm>
                <a:off x="2226738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6A1FF202-FD6C-0AD2-FABE-31C5BA4D16C9}"/>
                  </a:ext>
                </a:extLst>
              </p:cNvPr>
              <p:cNvSpPr/>
              <p:nvPr/>
            </p:nvSpPr>
            <p:spPr>
              <a:xfrm>
                <a:off x="2226738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5757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EC76043A-EC10-4F4B-766D-B2206596624B}"/>
                  </a:ext>
                </a:extLst>
              </p:cNvPr>
              <p:cNvSpPr/>
              <p:nvPr/>
            </p:nvSpPr>
            <p:spPr>
              <a:xfrm>
                <a:off x="2226738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8787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7E3862FD-E6C5-AB18-3FE0-AC3AA8E6E13F}"/>
                  </a:ext>
                </a:extLst>
              </p:cNvPr>
              <p:cNvSpPr/>
              <p:nvPr/>
            </p:nvSpPr>
            <p:spPr>
              <a:xfrm>
                <a:off x="2226738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2B2B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90DC9435-1090-AC23-B88E-F77D4E47FA18}"/>
                  </a:ext>
                </a:extLst>
              </p:cNvPr>
              <p:cNvSpPr/>
              <p:nvPr/>
            </p:nvSpPr>
            <p:spPr>
              <a:xfrm>
                <a:off x="2226738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DA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07CA7204-F40C-3A20-114F-A5E7F5F131CD}"/>
                </a:ext>
              </a:extLst>
            </p:cNvPr>
            <p:cNvGrpSpPr/>
            <p:nvPr userDrawn="1"/>
          </p:nvGrpSpPr>
          <p:grpSpPr>
            <a:xfrm rot="16200000">
              <a:off x="3310834" y="-649354"/>
              <a:ext cx="181503" cy="907520"/>
              <a:chOff x="1863727" y="-1663170"/>
              <a:chExt cx="181503" cy="907520"/>
            </a:xfrm>
          </p:grpSpPr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555DC7D4-727C-49AE-A6DF-988F589CDDEF}"/>
                  </a:ext>
                </a:extLst>
              </p:cNvPr>
              <p:cNvSpPr/>
              <p:nvPr/>
            </p:nvSpPr>
            <p:spPr>
              <a:xfrm>
                <a:off x="1863727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2A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DD356D35-D9BE-5A36-BB32-27486F223270}"/>
                  </a:ext>
                </a:extLst>
              </p:cNvPr>
              <p:cNvSpPr/>
              <p:nvPr/>
            </p:nvSpPr>
            <p:spPr>
              <a:xfrm>
                <a:off x="1863727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5DB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1ABC38F5-2A2F-B0FA-168A-4FFC9A18F160}"/>
                  </a:ext>
                </a:extLst>
              </p:cNvPr>
              <p:cNvSpPr/>
              <p:nvPr/>
            </p:nvSpPr>
            <p:spPr>
              <a:xfrm>
                <a:off x="1863727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8E4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67F4852C-5C8E-1D79-48BE-7989A639540F}"/>
                  </a:ext>
                </a:extLst>
              </p:cNvPr>
              <p:cNvSpPr/>
              <p:nvPr/>
            </p:nvSpPr>
            <p:spPr>
              <a:xfrm>
                <a:off x="1863727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ED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8457C8A1-388E-9FDD-076A-951257833787}"/>
                  </a:ext>
                </a:extLst>
              </p:cNvPr>
              <p:cNvSpPr/>
              <p:nvPr/>
            </p:nvSpPr>
            <p:spPr>
              <a:xfrm>
                <a:off x="1863727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DF6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B845059F-A18A-B1FC-EA28-16FED47EEF2C}"/>
                </a:ext>
              </a:extLst>
            </p:cNvPr>
            <p:cNvGrpSpPr/>
            <p:nvPr userDrawn="1"/>
          </p:nvGrpSpPr>
          <p:grpSpPr>
            <a:xfrm rot="16200000">
              <a:off x="4293441" y="-649352"/>
              <a:ext cx="181508" cy="907520"/>
              <a:chOff x="2045230" y="-1663170"/>
              <a:chExt cx="181508" cy="907520"/>
            </a:xfrm>
          </p:grpSpPr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7FBF356A-B766-ABF9-C92B-202207950A83}"/>
                  </a:ext>
                </a:extLst>
              </p:cNvPr>
              <p:cNvSpPr/>
              <p:nvPr/>
            </p:nvSpPr>
            <p:spPr>
              <a:xfrm>
                <a:off x="2045230" y="-937158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9F7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E32B5C42-8C84-4A3D-4C44-DFEE6666E3B6}"/>
                  </a:ext>
                </a:extLst>
              </p:cNvPr>
              <p:cNvSpPr/>
              <p:nvPr/>
            </p:nvSpPr>
            <p:spPr>
              <a:xfrm>
                <a:off x="2045230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FED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DFA09D33-242C-E77A-5117-11FA037856AC}"/>
                  </a:ext>
                </a:extLst>
              </p:cNvPr>
              <p:cNvSpPr/>
              <p:nvPr/>
            </p:nvSpPr>
            <p:spPr>
              <a:xfrm>
                <a:off x="2045230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5E3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46C2F973-4266-D2AB-7725-D08395E06C09}"/>
                  </a:ext>
                </a:extLst>
              </p:cNvPr>
              <p:cNvSpPr/>
              <p:nvPr/>
            </p:nvSpPr>
            <p:spPr>
              <a:xfrm>
                <a:off x="2045230" y="-1663170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CFC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518127E0-960A-4B80-2AF7-93B2704FFBED}"/>
                  </a:ext>
                </a:extLst>
              </p:cNvPr>
              <p:cNvSpPr/>
              <p:nvPr/>
            </p:nvSpPr>
            <p:spPr>
              <a:xfrm>
                <a:off x="2045230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BD9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0997800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 (red) and Content 3/4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Grafik 47">
            <a:extLst>
              <a:ext uri="{FF2B5EF4-FFF2-40B4-BE49-F238E27FC236}">
                <a16:creationId xmlns:a16="http://schemas.microsoft.com/office/drawing/2014/main" id="{342FA2FA-698F-300B-EF70-10424C1A70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6694" y="0"/>
            <a:ext cx="3035305" cy="6857999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72650" y="843892"/>
            <a:ext cx="1760536" cy="55124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964FA6FD-B18C-64CF-40CD-9C782D91C43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415668" y="503483"/>
            <a:ext cx="1289916" cy="180000"/>
            <a:chOff x="-161925" y="-1630732"/>
            <a:chExt cx="12193587" cy="1701544"/>
          </a:xfrm>
          <a:solidFill>
            <a:schemeClr val="bg1"/>
          </a:solidFill>
        </p:grpSpPr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0BAA8276-ECA1-E336-BCFB-04B3EC51B77A}"/>
                </a:ext>
              </a:extLst>
            </p:cNvPr>
            <p:cNvSpPr/>
            <p:nvPr/>
          </p:nvSpPr>
          <p:spPr>
            <a:xfrm>
              <a:off x="10774928" y="-1247713"/>
              <a:ext cx="1256734" cy="356304"/>
            </a:xfrm>
            <a:custGeom>
              <a:avLst/>
              <a:gdLst>
                <a:gd name="connsiteX0" fmla="*/ 1226823 w 1256734"/>
                <a:gd name="connsiteY0" fmla="*/ 269166 h 356304"/>
                <a:gd name="connsiteX1" fmla="*/ 1133491 w 1256734"/>
                <a:gd name="connsiteY1" fmla="*/ 316610 h 356304"/>
                <a:gd name="connsiteX2" fmla="*/ 1010248 w 1256734"/>
                <a:gd name="connsiteY2" fmla="*/ 178448 h 356304"/>
                <a:gd name="connsiteX3" fmla="*/ 1131426 w 1256734"/>
                <a:gd name="connsiteY3" fmla="*/ 39696 h 356304"/>
                <a:gd name="connsiteX4" fmla="*/ 1226823 w 1256734"/>
                <a:gd name="connsiteY4" fmla="*/ 86659 h 356304"/>
                <a:gd name="connsiteX5" fmla="*/ 1256735 w 1256734"/>
                <a:gd name="connsiteY5" fmla="*/ 58823 h 356304"/>
                <a:gd name="connsiteX6" fmla="*/ 1216553 w 1256734"/>
                <a:gd name="connsiteY6" fmla="*/ 23241 h 356304"/>
                <a:gd name="connsiteX7" fmla="*/ 1130420 w 1256734"/>
                <a:gd name="connsiteY7" fmla="*/ 0 h 356304"/>
                <a:gd name="connsiteX8" fmla="*/ 965885 w 1256734"/>
                <a:gd name="connsiteY8" fmla="*/ 178448 h 356304"/>
                <a:gd name="connsiteX9" fmla="*/ 1011783 w 1256734"/>
                <a:gd name="connsiteY9" fmla="*/ 305763 h 356304"/>
                <a:gd name="connsiteX10" fmla="*/ 1129892 w 1256734"/>
                <a:gd name="connsiteY10" fmla="*/ 356305 h 356304"/>
                <a:gd name="connsiteX11" fmla="*/ 1255676 w 1256734"/>
                <a:gd name="connsiteY11" fmla="*/ 298071 h 356304"/>
                <a:gd name="connsiteX12" fmla="*/ 1226823 w 1256734"/>
                <a:gd name="connsiteY12" fmla="*/ 269166 h 356304"/>
                <a:gd name="connsiteX13" fmla="*/ 679216 w 1256734"/>
                <a:gd name="connsiteY13" fmla="*/ 197999 h 356304"/>
                <a:gd name="connsiteX14" fmla="*/ 846824 w 1256734"/>
                <a:gd name="connsiteY14" fmla="*/ 197999 h 356304"/>
                <a:gd name="connsiteX15" fmla="*/ 846824 w 1256734"/>
                <a:gd name="connsiteY15" fmla="*/ 350105 h 356304"/>
                <a:gd name="connsiteX16" fmla="*/ 890075 w 1256734"/>
                <a:gd name="connsiteY16" fmla="*/ 350105 h 356304"/>
                <a:gd name="connsiteX17" fmla="*/ 890075 w 1256734"/>
                <a:gd name="connsiteY17" fmla="*/ 6198 h 356304"/>
                <a:gd name="connsiteX18" fmla="*/ 846824 w 1256734"/>
                <a:gd name="connsiteY18" fmla="*/ 6198 h 356304"/>
                <a:gd name="connsiteX19" fmla="*/ 846824 w 1256734"/>
                <a:gd name="connsiteY19" fmla="*/ 160920 h 356304"/>
                <a:gd name="connsiteX20" fmla="*/ 679216 w 1256734"/>
                <a:gd name="connsiteY20" fmla="*/ 160920 h 356304"/>
                <a:gd name="connsiteX21" fmla="*/ 679216 w 1256734"/>
                <a:gd name="connsiteY21" fmla="*/ 6198 h 356304"/>
                <a:gd name="connsiteX22" fmla="*/ 635912 w 1256734"/>
                <a:gd name="connsiteY22" fmla="*/ 6198 h 356304"/>
                <a:gd name="connsiteX23" fmla="*/ 635912 w 1256734"/>
                <a:gd name="connsiteY23" fmla="*/ 350105 h 356304"/>
                <a:gd name="connsiteX24" fmla="*/ 679216 w 1256734"/>
                <a:gd name="connsiteY24" fmla="*/ 350105 h 356304"/>
                <a:gd name="connsiteX25" fmla="*/ 679216 w 1256734"/>
                <a:gd name="connsiteY25" fmla="*/ 197999 h 356304"/>
                <a:gd name="connsiteX26" fmla="*/ 392018 w 1256734"/>
                <a:gd name="connsiteY26" fmla="*/ 40230 h 356304"/>
                <a:gd name="connsiteX27" fmla="*/ 476563 w 1256734"/>
                <a:gd name="connsiteY27" fmla="*/ 75813 h 356304"/>
                <a:gd name="connsiteX28" fmla="*/ 515792 w 1256734"/>
                <a:gd name="connsiteY28" fmla="*/ 181011 h 356304"/>
                <a:gd name="connsiteX29" fmla="*/ 482758 w 1256734"/>
                <a:gd name="connsiteY29" fmla="*/ 275365 h 356304"/>
                <a:gd name="connsiteX30" fmla="*/ 390960 w 1256734"/>
                <a:gd name="connsiteY30" fmla="*/ 316610 h 356304"/>
                <a:gd name="connsiteX31" fmla="*/ 267239 w 1256734"/>
                <a:gd name="connsiteY31" fmla="*/ 178448 h 356304"/>
                <a:gd name="connsiteX32" fmla="*/ 392018 w 1256734"/>
                <a:gd name="connsiteY32" fmla="*/ 40230 h 356304"/>
                <a:gd name="connsiteX33" fmla="*/ 393077 w 1256734"/>
                <a:gd name="connsiteY33" fmla="*/ 0 h 356304"/>
                <a:gd name="connsiteX34" fmla="*/ 222876 w 1256734"/>
                <a:gd name="connsiteY34" fmla="*/ 179994 h 356304"/>
                <a:gd name="connsiteX35" fmla="*/ 258982 w 1256734"/>
                <a:gd name="connsiteY35" fmla="*/ 291872 h 356304"/>
                <a:gd name="connsiteX36" fmla="*/ 392018 w 1256734"/>
                <a:gd name="connsiteY36" fmla="*/ 356305 h 356304"/>
                <a:gd name="connsiteX37" fmla="*/ 501868 w 1256734"/>
                <a:gd name="connsiteY37" fmla="*/ 315059 h 356304"/>
                <a:gd name="connsiteX38" fmla="*/ 560155 w 1256734"/>
                <a:gd name="connsiteY38" fmla="*/ 181545 h 356304"/>
                <a:gd name="connsiteX39" fmla="*/ 519921 w 1256734"/>
                <a:gd name="connsiteY39" fmla="*/ 59304 h 356304"/>
                <a:gd name="connsiteX40" fmla="*/ 393077 w 1256734"/>
                <a:gd name="connsiteY40" fmla="*/ 0 h 356304"/>
                <a:gd name="connsiteX41" fmla="*/ 43306 w 1256734"/>
                <a:gd name="connsiteY41" fmla="*/ 310946 h 356304"/>
                <a:gd name="connsiteX42" fmla="*/ 43306 w 1256734"/>
                <a:gd name="connsiteY42" fmla="*/ 6198 h 356304"/>
                <a:gd name="connsiteX43" fmla="*/ 0 w 1256734"/>
                <a:gd name="connsiteY43" fmla="*/ 6198 h 356304"/>
                <a:gd name="connsiteX44" fmla="*/ 0 w 1256734"/>
                <a:gd name="connsiteY44" fmla="*/ 350105 h 356304"/>
                <a:gd name="connsiteX45" fmla="*/ 194237 w 1256734"/>
                <a:gd name="connsiteY45" fmla="*/ 350105 h 356304"/>
                <a:gd name="connsiteX46" fmla="*/ 194237 w 1256734"/>
                <a:gd name="connsiteY46" fmla="*/ 310946 h 356304"/>
                <a:gd name="connsiteX47" fmla="*/ 43306 w 1256734"/>
                <a:gd name="connsiteY47" fmla="*/ 310946 h 35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256734" h="356304">
                  <a:moveTo>
                    <a:pt x="1226823" y="269166"/>
                  </a:moveTo>
                  <a:cubicBezTo>
                    <a:pt x="1200037" y="301650"/>
                    <a:pt x="1171131" y="316610"/>
                    <a:pt x="1133491" y="316610"/>
                  </a:cubicBezTo>
                  <a:cubicBezTo>
                    <a:pt x="1062341" y="316610"/>
                    <a:pt x="1010248" y="258371"/>
                    <a:pt x="1010248" y="178448"/>
                  </a:cubicBezTo>
                  <a:cubicBezTo>
                    <a:pt x="1010248" y="97985"/>
                    <a:pt x="1061334" y="39696"/>
                    <a:pt x="1131426" y="39696"/>
                  </a:cubicBezTo>
                  <a:cubicBezTo>
                    <a:pt x="1168008" y="39696"/>
                    <a:pt x="1193313" y="52092"/>
                    <a:pt x="1226823" y="86659"/>
                  </a:cubicBezTo>
                  <a:lnTo>
                    <a:pt x="1256735" y="58823"/>
                  </a:lnTo>
                  <a:cubicBezTo>
                    <a:pt x="1239742" y="40230"/>
                    <a:pt x="1230424" y="32003"/>
                    <a:pt x="1216553" y="23241"/>
                  </a:cubicBezTo>
                  <a:cubicBezTo>
                    <a:pt x="1191725" y="8281"/>
                    <a:pt x="1161338" y="0"/>
                    <a:pt x="1130420" y="0"/>
                  </a:cubicBezTo>
                  <a:cubicBezTo>
                    <a:pt x="1035500" y="0"/>
                    <a:pt x="965885" y="75279"/>
                    <a:pt x="965885" y="178448"/>
                  </a:cubicBezTo>
                  <a:cubicBezTo>
                    <a:pt x="965885" y="226369"/>
                    <a:pt x="982931" y="273279"/>
                    <a:pt x="1011783" y="305763"/>
                  </a:cubicBezTo>
                  <a:cubicBezTo>
                    <a:pt x="1041165" y="338782"/>
                    <a:pt x="1081928" y="356305"/>
                    <a:pt x="1129892" y="356305"/>
                  </a:cubicBezTo>
                  <a:cubicBezTo>
                    <a:pt x="1182990" y="356305"/>
                    <a:pt x="1221107" y="338782"/>
                    <a:pt x="1255676" y="298071"/>
                  </a:cubicBezTo>
                  <a:lnTo>
                    <a:pt x="1226823" y="269166"/>
                  </a:lnTo>
                  <a:close/>
                  <a:moveTo>
                    <a:pt x="679216" y="197999"/>
                  </a:moveTo>
                  <a:lnTo>
                    <a:pt x="846824" y="197999"/>
                  </a:lnTo>
                  <a:lnTo>
                    <a:pt x="846824" y="350105"/>
                  </a:lnTo>
                  <a:lnTo>
                    <a:pt x="890075" y="350105"/>
                  </a:lnTo>
                  <a:lnTo>
                    <a:pt x="890075" y="6198"/>
                  </a:lnTo>
                  <a:lnTo>
                    <a:pt x="846824" y="6198"/>
                  </a:lnTo>
                  <a:lnTo>
                    <a:pt x="846824" y="160920"/>
                  </a:lnTo>
                  <a:lnTo>
                    <a:pt x="679216" y="160920"/>
                  </a:lnTo>
                  <a:lnTo>
                    <a:pt x="679216" y="6198"/>
                  </a:lnTo>
                  <a:lnTo>
                    <a:pt x="635912" y="6198"/>
                  </a:lnTo>
                  <a:lnTo>
                    <a:pt x="635912" y="350105"/>
                  </a:lnTo>
                  <a:lnTo>
                    <a:pt x="679216" y="350105"/>
                  </a:lnTo>
                  <a:lnTo>
                    <a:pt x="679216" y="197999"/>
                  </a:lnTo>
                  <a:close/>
                  <a:moveTo>
                    <a:pt x="392018" y="40230"/>
                  </a:moveTo>
                  <a:cubicBezTo>
                    <a:pt x="422459" y="40230"/>
                    <a:pt x="453904" y="53641"/>
                    <a:pt x="476563" y="75813"/>
                  </a:cubicBezTo>
                  <a:cubicBezTo>
                    <a:pt x="503404" y="101618"/>
                    <a:pt x="515792" y="135117"/>
                    <a:pt x="515792" y="181011"/>
                  </a:cubicBezTo>
                  <a:cubicBezTo>
                    <a:pt x="515792" y="216057"/>
                    <a:pt x="502874" y="253189"/>
                    <a:pt x="482758" y="275365"/>
                  </a:cubicBezTo>
                  <a:cubicBezTo>
                    <a:pt x="459569" y="301650"/>
                    <a:pt x="425530" y="316610"/>
                    <a:pt x="390960" y="316610"/>
                  </a:cubicBezTo>
                  <a:cubicBezTo>
                    <a:pt x="319809" y="316610"/>
                    <a:pt x="267239" y="258371"/>
                    <a:pt x="267239" y="178448"/>
                  </a:cubicBezTo>
                  <a:cubicBezTo>
                    <a:pt x="267239" y="99000"/>
                    <a:pt x="320338" y="40230"/>
                    <a:pt x="392018" y="40230"/>
                  </a:cubicBezTo>
                  <a:moveTo>
                    <a:pt x="393077" y="0"/>
                  </a:moveTo>
                  <a:cubicBezTo>
                    <a:pt x="295615" y="0"/>
                    <a:pt x="222876" y="77362"/>
                    <a:pt x="222876" y="179994"/>
                  </a:cubicBezTo>
                  <a:cubicBezTo>
                    <a:pt x="222876" y="223273"/>
                    <a:pt x="235318" y="261956"/>
                    <a:pt x="258982" y="291872"/>
                  </a:cubicBezTo>
                  <a:cubicBezTo>
                    <a:pt x="290957" y="332101"/>
                    <a:pt x="340985" y="356305"/>
                    <a:pt x="392018" y="356305"/>
                  </a:cubicBezTo>
                  <a:cubicBezTo>
                    <a:pt x="431723" y="356305"/>
                    <a:pt x="470899" y="341879"/>
                    <a:pt x="501868" y="315059"/>
                  </a:cubicBezTo>
                  <a:cubicBezTo>
                    <a:pt x="539509" y="283110"/>
                    <a:pt x="560155" y="235131"/>
                    <a:pt x="560155" y="181545"/>
                  </a:cubicBezTo>
                  <a:cubicBezTo>
                    <a:pt x="560155" y="129935"/>
                    <a:pt x="547715" y="91788"/>
                    <a:pt x="519921" y="59304"/>
                  </a:cubicBezTo>
                  <a:cubicBezTo>
                    <a:pt x="486886" y="21691"/>
                    <a:pt x="440988" y="0"/>
                    <a:pt x="393077" y="0"/>
                  </a:cubicBezTo>
                  <a:moveTo>
                    <a:pt x="43306" y="310946"/>
                  </a:moveTo>
                  <a:lnTo>
                    <a:pt x="43306" y="6198"/>
                  </a:lnTo>
                  <a:lnTo>
                    <a:pt x="0" y="6198"/>
                  </a:lnTo>
                  <a:lnTo>
                    <a:pt x="0" y="350105"/>
                  </a:lnTo>
                  <a:lnTo>
                    <a:pt x="194237" y="350105"/>
                  </a:lnTo>
                  <a:lnTo>
                    <a:pt x="194237" y="310946"/>
                  </a:lnTo>
                  <a:lnTo>
                    <a:pt x="43306" y="310946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B77DA9CA-81E3-9C95-68A3-BFADB2CD7E3C}"/>
                </a:ext>
              </a:extLst>
            </p:cNvPr>
            <p:cNvSpPr/>
            <p:nvPr/>
          </p:nvSpPr>
          <p:spPr>
            <a:xfrm>
              <a:off x="-161925" y="-1630732"/>
              <a:ext cx="10575647" cy="1701544"/>
            </a:xfrm>
            <a:custGeom>
              <a:avLst/>
              <a:gdLst>
                <a:gd name="connsiteX0" fmla="*/ 7802033 w 10575647"/>
                <a:gd name="connsiteY0" fmla="*/ 380187 h 1701544"/>
                <a:gd name="connsiteX1" fmla="*/ 7621138 w 10575647"/>
                <a:gd name="connsiteY1" fmla="*/ 380187 h 1701544"/>
                <a:gd name="connsiteX2" fmla="*/ 7621138 w 10575647"/>
                <a:gd name="connsiteY2" fmla="*/ 1271563 h 1701544"/>
                <a:gd name="connsiteX3" fmla="*/ 7802033 w 10575647"/>
                <a:gd name="connsiteY3" fmla="*/ 1271563 h 1701544"/>
                <a:gd name="connsiteX4" fmla="*/ 7802033 w 10575647"/>
                <a:gd name="connsiteY4" fmla="*/ 380187 h 1701544"/>
                <a:gd name="connsiteX5" fmla="*/ 706522 w 10575647"/>
                <a:gd name="connsiteY5" fmla="*/ 1271563 h 1701544"/>
                <a:gd name="connsiteX6" fmla="*/ 902065 w 10575647"/>
                <a:gd name="connsiteY6" fmla="*/ 1271563 h 1701544"/>
                <a:gd name="connsiteX7" fmla="*/ 902065 w 10575647"/>
                <a:gd name="connsiteY7" fmla="*/ 0 h 1701544"/>
                <a:gd name="connsiteX8" fmla="*/ 706522 w 10575647"/>
                <a:gd name="connsiteY8" fmla="*/ 0 h 1701544"/>
                <a:gd name="connsiteX9" fmla="*/ 706522 w 10575647"/>
                <a:gd name="connsiteY9" fmla="*/ 553717 h 1701544"/>
                <a:gd name="connsiteX10" fmla="*/ 195543 w 10575647"/>
                <a:gd name="connsiteY10" fmla="*/ 553717 h 1701544"/>
                <a:gd name="connsiteX11" fmla="*/ 195543 w 10575647"/>
                <a:gd name="connsiteY11" fmla="*/ 0 h 1701544"/>
                <a:gd name="connsiteX12" fmla="*/ 0 w 10575647"/>
                <a:gd name="connsiteY12" fmla="*/ 0 h 1701544"/>
                <a:gd name="connsiteX13" fmla="*/ 0 w 10575647"/>
                <a:gd name="connsiteY13" fmla="*/ 1271563 h 1701544"/>
                <a:gd name="connsiteX14" fmla="*/ 195543 w 10575647"/>
                <a:gd name="connsiteY14" fmla="*/ 1271563 h 1701544"/>
                <a:gd name="connsiteX15" fmla="*/ 195543 w 10575647"/>
                <a:gd name="connsiteY15" fmla="*/ 727142 h 1701544"/>
                <a:gd name="connsiteX16" fmla="*/ 706522 w 10575647"/>
                <a:gd name="connsiteY16" fmla="*/ 727142 h 1701544"/>
                <a:gd name="connsiteX17" fmla="*/ 706522 w 10575647"/>
                <a:gd name="connsiteY17" fmla="*/ 1271563 h 1701544"/>
                <a:gd name="connsiteX18" fmla="*/ 1306185 w 10575647"/>
                <a:gd name="connsiteY18" fmla="*/ 1690649 h 1701544"/>
                <a:gd name="connsiteX19" fmla="*/ 1654904 w 10575647"/>
                <a:gd name="connsiteY19" fmla="*/ 1036061 h 1701544"/>
                <a:gd name="connsiteX20" fmla="*/ 1306185 w 10575647"/>
                <a:gd name="connsiteY20" fmla="*/ 381469 h 1701544"/>
                <a:gd name="connsiteX21" fmla="*/ 1090234 w 10575647"/>
                <a:gd name="connsiteY21" fmla="*/ 381469 h 1701544"/>
                <a:gd name="connsiteX22" fmla="*/ 1438900 w 10575647"/>
                <a:gd name="connsiteY22" fmla="*/ 1036061 h 1701544"/>
                <a:gd name="connsiteX23" fmla="*/ 1090234 w 10575647"/>
                <a:gd name="connsiteY23" fmla="*/ 1690649 h 1701544"/>
                <a:gd name="connsiteX24" fmla="*/ 1306185 w 10575647"/>
                <a:gd name="connsiteY24" fmla="*/ 1690649 h 1701544"/>
                <a:gd name="connsiteX25" fmla="*/ 2581808 w 10575647"/>
                <a:gd name="connsiteY25" fmla="*/ 828654 h 1701544"/>
                <a:gd name="connsiteX26" fmla="*/ 2317883 w 10575647"/>
                <a:gd name="connsiteY26" fmla="*/ 1129505 h 1701544"/>
                <a:gd name="connsiteX27" fmla="*/ 2065011 w 10575647"/>
                <a:gd name="connsiteY27" fmla="*/ 832338 h 1701544"/>
                <a:gd name="connsiteX28" fmla="*/ 2327068 w 10575647"/>
                <a:gd name="connsiteY28" fmla="*/ 525990 h 1701544"/>
                <a:gd name="connsiteX29" fmla="*/ 2581808 w 10575647"/>
                <a:gd name="connsiteY29" fmla="*/ 828654 h 1701544"/>
                <a:gd name="connsiteX30" fmla="*/ 2581808 w 10575647"/>
                <a:gd name="connsiteY30" fmla="*/ 1271563 h 1701544"/>
                <a:gd name="connsiteX31" fmla="*/ 2762608 w 10575647"/>
                <a:gd name="connsiteY31" fmla="*/ 1271563 h 1701544"/>
                <a:gd name="connsiteX32" fmla="*/ 2762608 w 10575647"/>
                <a:gd name="connsiteY32" fmla="*/ 0 h 1701544"/>
                <a:gd name="connsiteX33" fmla="*/ 2581808 w 10575647"/>
                <a:gd name="connsiteY33" fmla="*/ 0 h 1701544"/>
                <a:gd name="connsiteX34" fmla="*/ 2581808 w 10575647"/>
                <a:gd name="connsiteY34" fmla="*/ 476356 h 1701544"/>
                <a:gd name="connsiteX35" fmla="*/ 2297581 w 10575647"/>
                <a:gd name="connsiteY35" fmla="*/ 359885 h 1701544"/>
                <a:gd name="connsiteX36" fmla="*/ 1876785 w 10575647"/>
                <a:gd name="connsiteY36" fmla="*/ 830470 h 1701544"/>
                <a:gd name="connsiteX37" fmla="*/ 2297581 w 10575647"/>
                <a:gd name="connsiteY37" fmla="*/ 1291865 h 1701544"/>
                <a:gd name="connsiteX38" fmla="*/ 2581808 w 10575647"/>
                <a:gd name="connsiteY38" fmla="*/ 1163217 h 1701544"/>
                <a:gd name="connsiteX39" fmla="*/ 2581808 w 10575647"/>
                <a:gd name="connsiteY39" fmla="*/ 1271563 h 1701544"/>
                <a:gd name="connsiteX40" fmla="*/ 3437445 w 10575647"/>
                <a:gd name="connsiteY40" fmla="*/ 542393 h 1701544"/>
                <a:gd name="connsiteX41" fmla="*/ 3460310 w 10575647"/>
                <a:gd name="connsiteY41" fmla="*/ 545331 h 1701544"/>
                <a:gd name="connsiteX42" fmla="*/ 3460310 w 10575647"/>
                <a:gd name="connsiteY42" fmla="*/ 359885 h 1701544"/>
                <a:gd name="connsiteX43" fmla="*/ 3406830 w 10575647"/>
                <a:gd name="connsiteY43" fmla="*/ 359885 h 1701544"/>
                <a:gd name="connsiteX44" fmla="*/ 3231965 w 10575647"/>
                <a:gd name="connsiteY44" fmla="*/ 415877 h 1701544"/>
                <a:gd name="connsiteX45" fmla="*/ 3187194 w 10575647"/>
                <a:gd name="connsiteY45" fmla="*/ 462091 h 1701544"/>
                <a:gd name="connsiteX46" fmla="*/ 3187194 w 10575647"/>
                <a:gd name="connsiteY46" fmla="*/ 380187 h 1701544"/>
                <a:gd name="connsiteX47" fmla="*/ 3006395 w 10575647"/>
                <a:gd name="connsiteY47" fmla="*/ 380187 h 1701544"/>
                <a:gd name="connsiteX48" fmla="*/ 3006395 w 10575647"/>
                <a:gd name="connsiteY48" fmla="*/ 1271563 h 1701544"/>
                <a:gd name="connsiteX49" fmla="*/ 3187194 w 10575647"/>
                <a:gd name="connsiteY49" fmla="*/ 1271563 h 1701544"/>
                <a:gd name="connsiteX50" fmla="*/ 3187194 w 10575647"/>
                <a:gd name="connsiteY50" fmla="*/ 819411 h 1701544"/>
                <a:gd name="connsiteX51" fmla="*/ 3233517 w 10575647"/>
                <a:gd name="connsiteY51" fmla="*/ 629638 h 1701544"/>
                <a:gd name="connsiteX52" fmla="*/ 3401277 w 10575647"/>
                <a:gd name="connsiteY52" fmla="*/ 540683 h 1701544"/>
                <a:gd name="connsiteX53" fmla="*/ 3437445 w 10575647"/>
                <a:gd name="connsiteY53" fmla="*/ 542393 h 1701544"/>
                <a:gd name="connsiteX54" fmla="*/ 4250980 w 10575647"/>
                <a:gd name="connsiteY54" fmla="*/ 826838 h 1701544"/>
                <a:gd name="connsiteX55" fmla="*/ 3983364 w 10575647"/>
                <a:gd name="connsiteY55" fmla="*/ 1122077 h 1701544"/>
                <a:gd name="connsiteX56" fmla="*/ 3713875 w 10575647"/>
                <a:gd name="connsiteY56" fmla="*/ 826838 h 1701544"/>
                <a:gd name="connsiteX57" fmla="*/ 3985180 w 10575647"/>
                <a:gd name="connsiteY57" fmla="*/ 529677 h 1701544"/>
                <a:gd name="connsiteX58" fmla="*/ 4250980 w 10575647"/>
                <a:gd name="connsiteY58" fmla="*/ 826838 h 1701544"/>
                <a:gd name="connsiteX59" fmla="*/ 4435464 w 10575647"/>
                <a:gd name="connsiteY59" fmla="*/ 828654 h 1701544"/>
                <a:gd name="connsiteX60" fmla="*/ 3985180 w 10575647"/>
                <a:gd name="connsiteY60" fmla="*/ 359885 h 1701544"/>
                <a:gd name="connsiteX61" fmla="*/ 3529338 w 10575647"/>
                <a:gd name="connsiteY61" fmla="*/ 824916 h 1701544"/>
                <a:gd name="connsiteX62" fmla="*/ 3979622 w 10575647"/>
                <a:gd name="connsiteY62" fmla="*/ 1291865 h 1701544"/>
                <a:gd name="connsiteX63" fmla="*/ 4435464 w 10575647"/>
                <a:gd name="connsiteY63" fmla="*/ 828654 h 1701544"/>
                <a:gd name="connsiteX64" fmla="*/ 5261608 w 10575647"/>
                <a:gd name="connsiteY64" fmla="*/ 828654 h 1701544"/>
                <a:gd name="connsiteX65" fmla="*/ 5205508 w 10575647"/>
                <a:gd name="connsiteY65" fmla="*/ 1025854 h 1701544"/>
                <a:gd name="connsiteX66" fmla="*/ 5005052 w 10575647"/>
                <a:gd name="connsiteY66" fmla="*/ 1122077 h 1701544"/>
                <a:gd name="connsiteX67" fmla="*/ 4746675 w 10575647"/>
                <a:gd name="connsiteY67" fmla="*/ 823153 h 1701544"/>
                <a:gd name="connsiteX68" fmla="*/ 5008683 w 10575647"/>
                <a:gd name="connsiteY68" fmla="*/ 529677 h 1701544"/>
                <a:gd name="connsiteX69" fmla="*/ 5200378 w 10575647"/>
                <a:gd name="connsiteY69" fmla="*/ 617081 h 1701544"/>
                <a:gd name="connsiteX70" fmla="*/ 5261608 w 10575647"/>
                <a:gd name="connsiteY70" fmla="*/ 828654 h 1701544"/>
                <a:gd name="connsiteX71" fmla="*/ 5327264 w 10575647"/>
                <a:gd name="connsiteY71" fmla="*/ 1583314 h 1701544"/>
                <a:gd name="connsiteX72" fmla="*/ 5446113 w 10575647"/>
                <a:gd name="connsiteY72" fmla="*/ 1256819 h 1701544"/>
                <a:gd name="connsiteX73" fmla="*/ 5446113 w 10575647"/>
                <a:gd name="connsiteY73" fmla="*/ 380187 h 1701544"/>
                <a:gd name="connsiteX74" fmla="*/ 5265239 w 10575647"/>
                <a:gd name="connsiteY74" fmla="*/ 380187 h 1701544"/>
                <a:gd name="connsiteX75" fmla="*/ 5265239 w 10575647"/>
                <a:gd name="connsiteY75" fmla="*/ 488537 h 1701544"/>
                <a:gd name="connsiteX76" fmla="*/ 4982875 w 10575647"/>
                <a:gd name="connsiteY76" fmla="*/ 359885 h 1701544"/>
                <a:gd name="connsiteX77" fmla="*/ 4699394 w 10575647"/>
                <a:gd name="connsiteY77" fmla="*/ 465190 h 1701544"/>
                <a:gd name="connsiteX78" fmla="*/ 4558400 w 10575647"/>
                <a:gd name="connsiteY78" fmla="*/ 828654 h 1701544"/>
                <a:gd name="connsiteX79" fmla="*/ 4971816 w 10575647"/>
                <a:gd name="connsiteY79" fmla="*/ 1291865 h 1701544"/>
                <a:gd name="connsiteX80" fmla="*/ 5265239 w 10575647"/>
                <a:gd name="connsiteY80" fmla="*/ 1150553 h 1701544"/>
                <a:gd name="connsiteX81" fmla="*/ 5265239 w 10575647"/>
                <a:gd name="connsiteY81" fmla="*/ 1267931 h 1701544"/>
                <a:gd name="connsiteX82" fmla="*/ 5206095 w 10575647"/>
                <a:gd name="connsiteY82" fmla="*/ 1457116 h 1701544"/>
                <a:gd name="connsiteX83" fmla="*/ 4999546 w 10575647"/>
                <a:gd name="connsiteY83" fmla="*/ 1533625 h 1701544"/>
                <a:gd name="connsiteX84" fmla="*/ 4811695 w 10575647"/>
                <a:gd name="connsiteY84" fmla="*/ 1487409 h 1701544"/>
                <a:gd name="connsiteX85" fmla="*/ 4733588 w 10575647"/>
                <a:gd name="connsiteY85" fmla="*/ 1416300 h 1701544"/>
                <a:gd name="connsiteX86" fmla="*/ 4719215 w 10575647"/>
                <a:gd name="connsiteY86" fmla="*/ 1401339 h 1701544"/>
                <a:gd name="connsiteX87" fmla="*/ 4595103 w 10575647"/>
                <a:gd name="connsiteY87" fmla="*/ 1525451 h 1701544"/>
                <a:gd name="connsiteX88" fmla="*/ 4607819 w 10575647"/>
                <a:gd name="connsiteY88" fmla="*/ 1539824 h 1701544"/>
                <a:gd name="connsiteX89" fmla="*/ 4999546 w 10575647"/>
                <a:gd name="connsiteY89" fmla="*/ 1701544 h 1701544"/>
                <a:gd name="connsiteX90" fmla="*/ 5327264 w 10575647"/>
                <a:gd name="connsiteY90" fmla="*/ 1583314 h 1701544"/>
                <a:gd name="connsiteX91" fmla="*/ 6317923 w 10575647"/>
                <a:gd name="connsiteY91" fmla="*/ 747497 h 1701544"/>
                <a:gd name="connsiteX92" fmla="*/ 5805203 w 10575647"/>
                <a:gd name="connsiteY92" fmla="*/ 747497 h 1701544"/>
                <a:gd name="connsiteX93" fmla="*/ 5845913 w 10575647"/>
                <a:gd name="connsiteY93" fmla="*/ 635144 h 1701544"/>
                <a:gd name="connsiteX94" fmla="*/ 6057989 w 10575647"/>
                <a:gd name="connsiteY94" fmla="*/ 525990 h 1701544"/>
                <a:gd name="connsiteX95" fmla="*/ 6275730 w 10575647"/>
                <a:gd name="connsiteY95" fmla="*/ 633487 h 1701544"/>
                <a:gd name="connsiteX96" fmla="*/ 6317923 w 10575647"/>
                <a:gd name="connsiteY96" fmla="*/ 747497 h 1701544"/>
                <a:gd name="connsiteX97" fmla="*/ 6508188 w 10575647"/>
                <a:gd name="connsiteY97" fmla="*/ 872890 h 1701544"/>
                <a:gd name="connsiteX98" fmla="*/ 6510094 w 10575647"/>
                <a:gd name="connsiteY98" fmla="*/ 815779 h 1701544"/>
                <a:gd name="connsiteX99" fmla="*/ 6057989 w 10575647"/>
                <a:gd name="connsiteY99" fmla="*/ 359885 h 1701544"/>
                <a:gd name="connsiteX100" fmla="*/ 5609538 w 10575647"/>
                <a:gd name="connsiteY100" fmla="*/ 828654 h 1701544"/>
                <a:gd name="connsiteX101" fmla="*/ 6063495 w 10575647"/>
                <a:gd name="connsiteY101" fmla="*/ 1291865 h 1701544"/>
                <a:gd name="connsiteX102" fmla="*/ 6460066 w 10575647"/>
                <a:gd name="connsiteY102" fmla="*/ 1051710 h 1701544"/>
                <a:gd name="connsiteX103" fmla="*/ 6469966 w 10575647"/>
                <a:gd name="connsiteY103" fmla="*/ 1031572 h 1701544"/>
                <a:gd name="connsiteX104" fmla="*/ 6308923 w 10575647"/>
                <a:gd name="connsiteY104" fmla="*/ 971517 h 1701544"/>
                <a:gd name="connsiteX105" fmla="*/ 6300559 w 10575647"/>
                <a:gd name="connsiteY105" fmla="*/ 986689 h 1701544"/>
                <a:gd name="connsiteX106" fmla="*/ 6063495 w 10575647"/>
                <a:gd name="connsiteY106" fmla="*/ 1122077 h 1701544"/>
                <a:gd name="connsiteX107" fmla="*/ 5850784 w 10575647"/>
                <a:gd name="connsiteY107" fmla="*/ 1013832 h 1701544"/>
                <a:gd name="connsiteX108" fmla="*/ 5802132 w 10575647"/>
                <a:gd name="connsiteY108" fmla="*/ 891377 h 1701544"/>
                <a:gd name="connsiteX109" fmla="*/ 6506547 w 10575647"/>
                <a:gd name="connsiteY109" fmla="*/ 891377 h 1701544"/>
                <a:gd name="connsiteX110" fmla="*/ 6508188 w 10575647"/>
                <a:gd name="connsiteY110" fmla="*/ 872890 h 1701544"/>
                <a:gd name="connsiteX111" fmla="*/ 7205139 w 10575647"/>
                <a:gd name="connsiteY111" fmla="*/ 1271563 h 1701544"/>
                <a:gd name="connsiteX112" fmla="*/ 7385928 w 10575647"/>
                <a:gd name="connsiteY112" fmla="*/ 1271563 h 1701544"/>
                <a:gd name="connsiteX113" fmla="*/ 7385928 w 10575647"/>
                <a:gd name="connsiteY113" fmla="*/ 677294 h 1701544"/>
                <a:gd name="connsiteX114" fmla="*/ 7307154 w 10575647"/>
                <a:gd name="connsiteY114" fmla="*/ 435163 h 1701544"/>
                <a:gd name="connsiteX115" fmla="*/ 7096189 w 10575647"/>
                <a:gd name="connsiteY115" fmla="*/ 359885 h 1701544"/>
                <a:gd name="connsiteX116" fmla="*/ 6863625 w 10575647"/>
                <a:gd name="connsiteY116" fmla="*/ 463694 h 1701544"/>
                <a:gd name="connsiteX117" fmla="*/ 6863625 w 10575647"/>
                <a:gd name="connsiteY117" fmla="*/ 380187 h 1701544"/>
                <a:gd name="connsiteX118" fmla="*/ 6682836 w 10575647"/>
                <a:gd name="connsiteY118" fmla="*/ 380187 h 1701544"/>
                <a:gd name="connsiteX119" fmla="*/ 6682836 w 10575647"/>
                <a:gd name="connsiteY119" fmla="*/ 1271563 h 1701544"/>
                <a:gd name="connsiteX120" fmla="*/ 6863625 w 10575647"/>
                <a:gd name="connsiteY120" fmla="*/ 1271563 h 1701544"/>
                <a:gd name="connsiteX121" fmla="*/ 6863625 w 10575647"/>
                <a:gd name="connsiteY121" fmla="*/ 732701 h 1701544"/>
                <a:gd name="connsiteX122" fmla="*/ 6913971 w 10575647"/>
                <a:gd name="connsiteY122" fmla="*/ 591066 h 1701544"/>
                <a:gd name="connsiteX123" fmla="*/ 7061143 w 10575647"/>
                <a:gd name="connsiteY123" fmla="*/ 525990 h 1701544"/>
                <a:gd name="connsiteX124" fmla="*/ 7177769 w 10575647"/>
                <a:gd name="connsiteY124" fmla="*/ 575089 h 1701544"/>
                <a:gd name="connsiteX125" fmla="*/ 7205139 w 10575647"/>
                <a:gd name="connsiteY125" fmla="*/ 708709 h 1701544"/>
                <a:gd name="connsiteX126" fmla="*/ 7205139 w 10575647"/>
                <a:gd name="connsiteY126" fmla="*/ 1271563 h 1701544"/>
                <a:gd name="connsiteX127" fmla="*/ 7822309 w 10575647"/>
                <a:gd name="connsiteY127" fmla="*/ 162418 h 1701544"/>
                <a:gd name="connsiteX128" fmla="*/ 7713412 w 10575647"/>
                <a:gd name="connsiteY128" fmla="*/ 49847 h 1701544"/>
                <a:gd name="connsiteX129" fmla="*/ 7602662 w 10575647"/>
                <a:gd name="connsiteY129" fmla="*/ 160549 h 1701544"/>
                <a:gd name="connsiteX130" fmla="*/ 7711560 w 10575647"/>
                <a:gd name="connsiteY130" fmla="*/ 271303 h 1701544"/>
                <a:gd name="connsiteX131" fmla="*/ 7822309 w 10575647"/>
                <a:gd name="connsiteY131" fmla="*/ 162418 h 1701544"/>
                <a:gd name="connsiteX132" fmla="*/ 8704760 w 10575647"/>
                <a:gd name="connsiteY132" fmla="*/ 826838 h 1701544"/>
                <a:gd name="connsiteX133" fmla="*/ 8437150 w 10575647"/>
                <a:gd name="connsiteY133" fmla="*/ 1122077 h 1701544"/>
                <a:gd name="connsiteX134" fmla="*/ 8167740 w 10575647"/>
                <a:gd name="connsiteY134" fmla="*/ 826838 h 1701544"/>
                <a:gd name="connsiteX135" fmla="*/ 8439003 w 10575647"/>
                <a:gd name="connsiteY135" fmla="*/ 529677 h 1701544"/>
                <a:gd name="connsiteX136" fmla="*/ 8704760 w 10575647"/>
                <a:gd name="connsiteY136" fmla="*/ 826838 h 1701544"/>
                <a:gd name="connsiteX137" fmla="*/ 8889307 w 10575647"/>
                <a:gd name="connsiteY137" fmla="*/ 828654 h 1701544"/>
                <a:gd name="connsiteX138" fmla="*/ 8439003 w 10575647"/>
                <a:gd name="connsiteY138" fmla="*/ 359885 h 1701544"/>
                <a:gd name="connsiteX139" fmla="*/ 7983193 w 10575647"/>
                <a:gd name="connsiteY139" fmla="*/ 824916 h 1701544"/>
                <a:gd name="connsiteX140" fmla="*/ 8433444 w 10575647"/>
                <a:gd name="connsiteY140" fmla="*/ 1291865 h 1701544"/>
                <a:gd name="connsiteX141" fmla="*/ 8889307 w 10575647"/>
                <a:gd name="connsiteY141" fmla="*/ 828654 h 1701544"/>
                <a:gd name="connsiteX142" fmla="*/ 9658150 w 10575647"/>
                <a:gd name="connsiteY142" fmla="*/ 1197940 h 1701544"/>
                <a:gd name="connsiteX143" fmla="*/ 9749630 w 10575647"/>
                <a:gd name="connsiteY143" fmla="*/ 944968 h 1701544"/>
                <a:gd name="connsiteX144" fmla="*/ 9749630 w 10575647"/>
                <a:gd name="connsiteY144" fmla="*/ 380187 h 1701544"/>
                <a:gd name="connsiteX145" fmla="*/ 9566988 w 10575647"/>
                <a:gd name="connsiteY145" fmla="*/ 380187 h 1701544"/>
                <a:gd name="connsiteX146" fmla="*/ 9566988 w 10575647"/>
                <a:gd name="connsiteY146" fmla="*/ 944968 h 1701544"/>
                <a:gd name="connsiteX147" fmla="*/ 9535012 w 10575647"/>
                <a:gd name="connsiteY147" fmla="*/ 1068222 h 1701544"/>
                <a:gd name="connsiteX148" fmla="*/ 9399010 w 10575647"/>
                <a:gd name="connsiteY148" fmla="*/ 1125815 h 1701544"/>
                <a:gd name="connsiteX149" fmla="*/ 9229233 w 10575647"/>
                <a:gd name="connsiteY149" fmla="*/ 941225 h 1701544"/>
                <a:gd name="connsiteX150" fmla="*/ 9229233 w 10575647"/>
                <a:gd name="connsiteY150" fmla="*/ 380187 h 1701544"/>
                <a:gd name="connsiteX151" fmla="*/ 9048391 w 10575647"/>
                <a:gd name="connsiteY151" fmla="*/ 380187 h 1701544"/>
                <a:gd name="connsiteX152" fmla="*/ 9048391 w 10575647"/>
                <a:gd name="connsiteY152" fmla="*/ 944968 h 1701544"/>
                <a:gd name="connsiteX153" fmla="*/ 9139659 w 10575647"/>
                <a:gd name="connsiteY153" fmla="*/ 1195965 h 1701544"/>
                <a:gd name="connsiteX154" fmla="*/ 9399010 w 10575647"/>
                <a:gd name="connsiteY154" fmla="*/ 1291865 h 1701544"/>
                <a:gd name="connsiteX155" fmla="*/ 9658150 w 10575647"/>
                <a:gd name="connsiteY155" fmla="*/ 1197945 h 1701544"/>
                <a:gd name="connsiteX156" fmla="*/ 10385594 w 10575647"/>
                <a:gd name="connsiteY156" fmla="*/ 653307 h 1701544"/>
                <a:gd name="connsiteX157" fmla="*/ 10567335 w 10575647"/>
                <a:gd name="connsiteY157" fmla="*/ 653307 h 1701544"/>
                <a:gd name="connsiteX158" fmla="*/ 10566383 w 10575647"/>
                <a:gd name="connsiteY158" fmla="*/ 632041 h 1701544"/>
                <a:gd name="connsiteX159" fmla="*/ 10249009 w 10575647"/>
                <a:gd name="connsiteY159" fmla="*/ 359885 h 1701544"/>
                <a:gd name="connsiteX160" fmla="*/ 9929730 w 10575647"/>
                <a:gd name="connsiteY160" fmla="*/ 627446 h 1701544"/>
                <a:gd name="connsiteX161" fmla="*/ 10212587 w 10575647"/>
                <a:gd name="connsiteY161" fmla="*/ 903611 h 1701544"/>
                <a:gd name="connsiteX162" fmla="*/ 10391099 w 10575647"/>
                <a:gd name="connsiteY162" fmla="*/ 1031625 h 1701544"/>
                <a:gd name="connsiteX163" fmla="*/ 10252715 w 10575647"/>
                <a:gd name="connsiteY163" fmla="*/ 1136874 h 1701544"/>
                <a:gd name="connsiteX164" fmla="*/ 10093843 w 10575647"/>
                <a:gd name="connsiteY164" fmla="*/ 1007579 h 1701544"/>
                <a:gd name="connsiteX165" fmla="*/ 10092096 w 10575647"/>
                <a:gd name="connsiteY165" fmla="*/ 989257 h 1701544"/>
                <a:gd name="connsiteX166" fmla="*/ 9913054 w 10575647"/>
                <a:gd name="connsiteY166" fmla="*/ 989257 h 1701544"/>
                <a:gd name="connsiteX167" fmla="*/ 9915066 w 10575647"/>
                <a:gd name="connsiteY167" fmla="*/ 1011216 h 1701544"/>
                <a:gd name="connsiteX168" fmla="*/ 10252715 w 10575647"/>
                <a:gd name="connsiteY168" fmla="*/ 1291865 h 1701544"/>
                <a:gd name="connsiteX169" fmla="*/ 10575647 w 10575647"/>
                <a:gd name="connsiteY169" fmla="*/ 1024303 h 1701544"/>
                <a:gd name="connsiteX170" fmla="*/ 10501426 w 10575647"/>
                <a:gd name="connsiteY170" fmla="*/ 843879 h 1701544"/>
                <a:gd name="connsiteX171" fmla="*/ 10285750 w 10575647"/>
                <a:gd name="connsiteY171" fmla="*/ 740769 h 1701544"/>
                <a:gd name="connsiteX172" fmla="*/ 10110519 w 10575647"/>
                <a:gd name="connsiteY172" fmla="*/ 616440 h 1701544"/>
                <a:gd name="connsiteX173" fmla="*/ 10243398 w 10575647"/>
                <a:gd name="connsiteY173" fmla="*/ 514877 h 1701544"/>
                <a:gd name="connsiteX174" fmla="*/ 10385594 w 10575647"/>
                <a:gd name="connsiteY174" fmla="*/ 623762 h 1701544"/>
                <a:gd name="connsiteX175" fmla="*/ 10385594 w 10575647"/>
                <a:gd name="connsiteY175" fmla="*/ 653307 h 170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10575647" h="1701544">
                  <a:moveTo>
                    <a:pt x="7802033" y="380187"/>
                  </a:moveTo>
                  <a:lnTo>
                    <a:pt x="7621138" y="380187"/>
                  </a:lnTo>
                  <a:lnTo>
                    <a:pt x="7621138" y="1271563"/>
                  </a:lnTo>
                  <a:lnTo>
                    <a:pt x="7802033" y="1271563"/>
                  </a:lnTo>
                  <a:lnTo>
                    <a:pt x="7802033" y="380187"/>
                  </a:lnTo>
                  <a:close/>
                  <a:moveTo>
                    <a:pt x="706522" y="1271563"/>
                  </a:moveTo>
                  <a:lnTo>
                    <a:pt x="902065" y="1271563"/>
                  </a:lnTo>
                  <a:lnTo>
                    <a:pt x="902065" y="0"/>
                  </a:lnTo>
                  <a:lnTo>
                    <a:pt x="706522" y="0"/>
                  </a:lnTo>
                  <a:lnTo>
                    <a:pt x="706522" y="553717"/>
                  </a:lnTo>
                  <a:lnTo>
                    <a:pt x="195543" y="553717"/>
                  </a:lnTo>
                  <a:lnTo>
                    <a:pt x="195543" y="0"/>
                  </a:lnTo>
                  <a:lnTo>
                    <a:pt x="0" y="0"/>
                  </a:lnTo>
                  <a:lnTo>
                    <a:pt x="0" y="1271563"/>
                  </a:lnTo>
                  <a:lnTo>
                    <a:pt x="195543" y="1271563"/>
                  </a:lnTo>
                  <a:lnTo>
                    <a:pt x="195543" y="727142"/>
                  </a:lnTo>
                  <a:lnTo>
                    <a:pt x="706522" y="727142"/>
                  </a:lnTo>
                  <a:lnTo>
                    <a:pt x="706522" y="1271563"/>
                  </a:lnTo>
                  <a:close/>
                  <a:moveTo>
                    <a:pt x="1306185" y="1690649"/>
                  </a:moveTo>
                  <a:lnTo>
                    <a:pt x="1654904" y="1036061"/>
                  </a:lnTo>
                  <a:lnTo>
                    <a:pt x="1306185" y="381469"/>
                  </a:lnTo>
                  <a:lnTo>
                    <a:pt x="1090234" y="381469"/>
                  </a:lnTo>
                  <a:lnTo>
                    <a:pt x="1438900" y="1036061"/>
                  </a:lnTo>
                  <a:lnTo>
                    <a:pt x="1090234" y="1690649"/>
                  </a:lnTo>
                  <a:lnTo>
                    <a:pt x="1306185" y="1690649"/>
                  </a:lnTo>
                  <a:close/>
                  <a:moveTo>
                    <a:pt x="2581808" y="828654"/>
                  </a:moveTo>
                  <a:cubicBezTo>
                    <a:pt x="2581808" y="1002989"/>
                    <a:pt x="2470789" y="1129505"/>
                    <a:pt x="2317883" y="1129505"/>
                  </a:cubicBezTo>
                  <a:cubicBezTo>
                    <a:pt x="2168980" y="1129505"/>
                    <a:pt x="2065011" y="1007262"/>
                    <a:pt x="2065011" y="832338"/>
                  </a:cubicBezTo>
                  <a:cubicBezTo>
                    <a:pt x="2065011" y="649088"/>
                    <a:pt x="2170314" y="525990"/>
                    <a:pt x="2327068" y="525990"/>
                  </a:cubicBezTo>
                  <a:cubicBezTo>
                    <a:pt x="2479444" y="525990"/>
                    <a:pt x="2581808" y="647590"/>
                    <a:pt x="2581808" y="828654"/>
                  </a:cubicBezTo>
                  <a:moveTo>
                    <a:pt x="2581808" y="1271563"/>
                  </a:moveTo>
                  <a:lnTo>
                    <a:pt x="2762608" y="1271563"/>
                  </a:lnTo>
                  <a:lnTo>
                    <a:pt x="2762608" y="0"/>
                  </a:lnTo>
                  <a:lnTo>
                    <a:pt x="2581808" y="0"/>
                  </a:lnTo>
                  <a:lnTo>
                    <a:pt x="2581808" y="476356"/>
                  </a:lnTo>
                  <a:cubicBezTo>
                    <a:pt x="2503431" y="397017"/>
                    <a:pt x="2412449" y="359885"/>
                    <a:pt x="2297581" y="359885"/>
                  </a:cubicBezTo>
                  <a:cubicBezTo>
                    <a:pt x="2057690" y="359885"/>
                    <a:pt x="1876785" y="562214"/>
                    <a:pt x="1876785" y="830470"/>
                  </a:cubicBezTo>
                  <a:cubicBezTo>
                    <a:pt x="1876785" y="1102145"/>
                    <a:pt x="2049839" y="1291865"/>
                    <a:pt x="2297581" y="1291865"/>
                  </a:cubicBezTo>
                  <a:cubicBezTo>
                    <a:pt x="2414371" y="1291865"/>
                    <a:pt x="2503061" y="1251959"/>
                    <a:pt x="2581808" y="1163217"/>
                  </a:cubicBezTo>
                  <a:lnTo>
                    <a:pt x="2581808" y="1271563"/>
                  </a:lnTo>
                  <a:close/>
                  <a:moveTo>
                    <a:pt x="3437445" y="542393"/>
                  </a:moveTo>
                  <a:lnTo>
                    <a:pt x="3460310" y="545331"/>
                  </a:lnTo>
                  <a:lnTo>
                    <a:pt x="3460310" y="359885"/>
                  </a:lnTo>
                  <a:lnTo>
                    <a:pt x="3406830" y="359885"/>
                  </a:lnTo>
                  <a:cubicBezTo>
                    <a:pt x="3341169" y="359885"/>
                    <a:pt x="3277430" y="380294"/>
                    <a:pt x="3231965" y="415877"/>
                  </a:cubicBezTo>
                  <a:cubicBezTo>
                    <a:pt x="3213690" y="430035"/>
                    <a:pt x="3199693" y="444353"/>
                    <a:pt x="3187194" y="462091"/>
                  </a:cubicBezTo>
                  <a:lnTo>
                    <a:pt x="3187194" y="380187"/>
                  </a:lnTo>
                  <a:lnTo>
                    <a:pt x="3006395" y="380187"/>
                  </a:lnTo>
                  <a:lnTo>
                    <a:pt x="3006395" y="1271563"/>
                  </a:lnTo>
                  <a:lnTo>
                    <a:pt x="3187194" y="1271563"/>
                  </a:lnTo>
                  <a:lnTo>
                    <a:pt x="3187194" y="819411"/>
                  </a:lnTo>
                  <a:cubicBezTo>
                    <a:pt x="3187194" y="727783"/>
                    <a:pt x="3198894" y="679915"/>
                    <a:pt x="3233517" y="629638"/>
                  </a:cubicBezTo>
                  <a:cubicBezTo>
                    <a:pt x="3272300" y="572310"/>
                    <a:pt x="3331926" y="540683"/>
                    <a:pt x="3401277" y="540683"/>
                  </a:cubicBezTo>
                  <a:cubicBezTo>
                    <a:pt x="3410356" y="540683"/>
                    <a:pt x="3423983" y="540683"/>
                    <a:pt x="3437445" y="542393"/>
                  </a:cubicBezTo>
                  <a:moveTo>
                    <a:pt x="4250980" y="826838"/>
                  </a:moveTo>
                  <a:cubicBezTo>
                    <a:pt x="4250980" y="1000692"/>
                    <a:pt x="4140918" y="1122077"/>
                    <a:pt x="3983364" y="1122077"/>
                  </a:cubicBezTo>
                  <a:cubicBezTo>
                    <a:pt x="3822174" y="1122077"/>
                    <a:pt x="3713875" y="1003466"/>
                    <a:pt x="3713875" y="826838"/>
                  </a:cubicBezTo>
                  <a:cubicBezTo>
                    <a:pt x="3713875" y="649088"/>
                    <a:pt x="3822920" y="529677"/>
                    <a:pt x="3985180" y="529677"/>
                  </a:cubicBezTo>
                  <a:cubicBezTo>
                    <a:pt x="4144179" y="529677"/>
                    <a:pt x="4250980" y="649088"/>
                    <a:pt x="4250980" y="826838"/>
                  </a:cubicBezTo>
                  <a:moveTo>
                    <a:pt x="4435464" y="828654"/>
                  </a:moveTo>
                  <a:cubicBezTo>
                    <a:pt x="4435464" y="557084"/>
                    <a:pt x="4246120" y="359885"/>
                    <a:pt x="3985180" y="359885"/>
                  </a:cubicBezTo>
                  <a:cubicBezTo>
                    <a:pt x="3716818" y="359885"/>
                    <a:pt x="3529338" y="551155"/>
                    <a:pt x="3529338" y="824916"/>
                  </a:cubicBezTo>
                  <a:cubicBezTo>
                    <a:pt x="3529338" y="1099848"/>
                    <a:pt x="3714521" y="1291865"/>
                    <a:pt x="3979622" y="1291865"/>
                  </a:cubicBezTo>
                  <a:cubicBezTo>
                    <a:pt x="4235272" y="1291865"/>
                    <a:pt x="4435464" y="1088418"/>
                    <a:pt x="4435464" y="828654"/>
                  </a:cubicBezTo>
                  <a:moveTo>
                    <a:pt x="5261608" y="828654"/>
                  </a:moveTo>
                  <a:cubicBezTo>
                    <a:pt x="5261608" y="909382"/>
                    <a:pt x="5239596" y="986748"/>
                    <a:pt x="5205508" y="1025854"/>
                  </a:cubicBezTo>
                  <a:cubicBezTo>
                    <a:pt x="5153150" y="1087026"/>
                    <a:pt x="5080062" y="1122077"/>
                    <a:pt x="5005052" y="1122077"/>
                  </a:cubicBezTo>
                  <a:cubicBezTo>
                    <a:pt x="4855296" y="1122077"/>
                    <a:pt x="4746675" y="996361"/>
                    <a:pt x="4746675" y="823153"/>
                  </a:cubicBezTo>
                  <a:cubicBezTo>
                    <a:pt x="4746675" y="650316"/>
                    <a:pt x="4854386" y="529677"/>
                    <a:pt x="5008683" y="529677"/>
                  </a:cubicBezTo>
                  <a:cubicBezTo>
                    <a:pt x="5078193" y="529677"/>
                    <a:pt x="5151652" y="563177"/>
                    <a:pt x="5200378" y="617081"/>
                  </a:cubicBezTo>
                  <a:cubicBezTo>
                    <a:pt x="5246112" y="667892"/>
                    <a:pt x="5261608" y="721266"/>
                    <a:pt x="5261608" y="828654"/>
                  </a:cubicBezTo>
                  <a:moveTo>
                    <a:pt x="5327264" y="1583314"/>
                  </a:moveTo>
                  <a:cubicBezTo>
                    <a:pt x="5409426" y="1504990"/>
                    <a:pt x="5446113" y="1404277"/>
                    <a:pt x="5446113" y="1256819"/>
                  </a:cubicBezTo>
                  <a:lnTo>
                    <a:pt x="5446113" y="380187"/>
                  </a:lnTo>
                  <a:lnTo>
                    <a:pt x="5265239" y="380187"/>
                  </a:lnTo>
                  <a:lnTo>
                    <a:pt x="5265239" y="488537"/>
                  </a:lnTo>
                  <a:cubicBezTo>
                    <a:pt x="5186005" y="398673"/>
                    <a:pt x="5100153" y="359885"/>
                    <a:pt x="4982875" y="359885"/>
                  </a:cubicBezTo>
                  <a:cubicBezTo>
                    <a:pt x="4866567" y="359885"/>
                    <a:pt x="4771201" y="395361"/>
                    <a:pt x="4699394" y="465190"/>
                  </a:cubicBezTo>
                  <a:cubicBezTo>
                    <a:pt x="4611080" y="549710"/>
                    <a:pt x="4558400" y="685574"/>
                    <a:pt x="4558400" y="828654"/>
                  </a:cubicBezTo>
                  <a:cubicBezTo>
                    <a:pt x="4558400" y="1092743"/>
                    <a:pt x="4736097" y="1291865"/>
                    <a:pt x="4971816" y="1291865"/>
                  </a:cubicBezTo>
                  <a:cubicBezTo>
                    <a:pt x="5092032" y="1291865"/>
                    <a:pt x="5185952" y="1246830"/>
                    <a:pt x="5265239" y="1150553"/>
                  </a:cubicBezTo>
                  <a:lnTo>
                    <a:pt x="5265239" y="1267931"/>
                  </a:lnTo>
                  <a:cubicBezTo>
                    <a:pt x="5265239" y="1350745"/>
                    <a:pt x="5245313" y="1414431"/>
                    <a:pt x="5206095" y="1457116"/>
                  </a:cubicBezTo>
                  <a:cubicBezTo>
                    <a:pt x="5162288" y="1504291"/>
                    <a:pt x="5083159" y="1533625"/>
                    <a:pt x="4999546" y="1533625"/>
                  </a:cubicBezTo>
                  <a:cubicBezTo>
                    <a:pt x="4932122" y="1533625"/>
                    <a:pt x="4856471" y="1514979"/>
                    <a:pt x="4811695" y="1487409"/>
                  </a:cubicBezTo>
                  <a:cubicBezTo>
                    <a:pt x="4788777" y="1471596"/>
                    <a:pt x="4771254" y="1455624"/>
                    <a:pt x="4733588" y="1416300"/>
                  </a:cubicBezTo>
                  <a:lnTo>
                    <a:pt x="4719215" y="1401339"/>
                  </a:lnTo>
                  <a:lnTo>
                    <a:pt x="4595103" y="1525451"/>
                  </a:lnTo>
                  <a:lnTo>
                    <a:pt x="4607819" y="1539824"/>
                  </a:lnTo>
                  <a:cubicBezTo>
                    <a:pt x="4703719" y="1647106"/>
                    <a:pt x="4835528" y="1701544"/>
                    <a:pt x="4999546" y="1701544"/>
                  </a:cubicBezTo>
                  <a:cubicBezTo>
                    <a:pt x="5134664" y="1701544"/>
                    <a:pt x="5247981" y="1660675"/>
                    <a:pt x="5327264" y="1583314"/>
                  </a:cubicBezTo>
                  <a:moveTo>
                    <a:pt x="6317923" y="747497"/>
                  </a:moveTo>
                  <a:lnTo>
                    <a:pt x="5805203" y="747497"/>
                  </a:lnTo>
                  <a:cubicBezTo>
                    <a:pt x="5814785" y="696051"/>
                    <a:pt x="5825267" y="667627"/>
                    <a:pt x="5845913" y="635144"/>
                  </a:cubicBezTo>
                  <a:cubicBezTo>
                    <a:pt x="5892024" y="566756"/>
                    <a:pt x="5971327" y="525990"/>
                    <a:pt x="6057989" y="525990"/>
                  </a:cubicBezTo>
                  <a:cubicBezTo>
                    <a:pt x="6144228" y="525990"/>
                    <a:pt x="6225702" y="566274"/>
                    <a:pt x="6275730" y="633487"/>
                  </a:cubicBezTo>
                  <a:cubicBezTo>
                    <a:pt x="6300453" y="669067"/>
                    <a:pt x="6312047" y="699841"/>
                    <a:pt x="6317923" y="747497"/>
                  </a:cubicBezTo>
                  <a:moveTo>
                    <a:pt x="6508188" y="872890"/>
                  </a:moveTo>
                  <a:cubicBezTo>
                    <a:pt x="6510094" y="851683"/>
                    <a:pt x="6510094" y="827426"/>
                    <a:pt x="6510094" y="815779"/>
                  </a:cubicBezTo>
                  <a:cubicBezTo>
                    <a:pt x="6510094" y="555909"/>
                    <a:pt x="6315700" y="359885"/>
                    <a:pt x="6057989" y="359885"/>
                  </a:cubicBezTo>
                  <a:cubicBezTo>
                    <a:pt x="5798109" y="359885"/>
                    <a:pt x="5609538" y="557084"/>
                    <a:pt x="5609538" y="828654"/>
                  </a:cubicBezTo>
                  <a:cubicBezTo>
                    <a:pt x="5609538" y="1097074"/>
                    <a:pt x="5800491" y="1291865"/>
                    <a:pt x="6063495" y="1291865"/>
                  </a:cubicBezTo>
                  <a:cubicBezTo>
                    <a:pt x="6235020" y="1291865"/>
                    <a:pt x="6386956" y="1199867"/>
                    <a:pt x="6460066" y="1051710"/>
                  </a:cubicBezTo>
                  <a:lnTo>
                    <a:pt x="6469966" y="1031572"/>
                  </a:lnTo>
                  <a:lnTo>
                    <a:pt x="6308923" y="971517"/>
                  </a:lnTo>
                  <a:lnTo>
                    <a:pt x="6300559" y="986689"/>
                  </a:lnTo>
                  <a:cubicBezTo>
                    <a:pt x="6254237" y="1068968"/>
                    <a:pt x="6161169" y="1122077"/>
                    <a:pt x="6063495" y="1122077"/>
                  </a:cubicBezTo>
                  <a:cubicBezTo>
                    <a:pt x="5977415" y="1122077"/>
                    <a:pt x="5901923" y="1083664"/>
                    <a:pt x="5850784" y="1013832"/>
                  </a:cubicBezTo>
                  <a:cubicBezTo>
                    <a:pt x="5821932" y="975900"/>
                    <a:pt x="5809438" y="945021"/>
                    <a:pt x="5802132" y="891377"/>
                  </a:cubicBezTo>
                  <a:lnTo>
                    <a:pt x="6506547" y="891377"/>
                  </a:lnTo>
                  <a:lnTo>
                    <a:pt x="6508188" y="872890"/>
                  </a:lnTo>
                  <a:close/>
                  <a:moveTo>
                    <a:pt x="7205139" y="1271563"/>
                  </a:moveTo>
                  <a:lnTo>
                    <a:pt x="7385928" y="1271563"/>
                  </a:lnTo>
                  <a:lnTo>
                    <a:pt x="7385928" y="677294"/>
                  </a:lnTo>
                  <a:cubicBezTo>
                    <a:pt x="7385928" y="554734"/>
                    <a:pt x="7365387" y="491422"/>
                    <a:pt x="7307154" y="435163"/>
                  </a:cubicBezTo>
                  <a:cubicBezTo>
                    <a:pt x="7252520" y="386599"/>
                    <a:pt x="7177557" y="359885"/>
                    <a:pt x="7096189" y="359885"/>
                  </a:cubicBezTo>
                  <a:cubicBezTo>
                    <a:pt x="7000739" y="359885"/>
                    <a:pt x="6929853" y="391193"/>
                    <a:pt x="6863625" y="463694"/>
                  </a:cubicBezTo>
                  <a:lnTo>
                    <a:pt x="6863625" y="380187"/>
                  </a:lnTo>
                  <a:lnTo>
                    <a:pt x="6682836" y="380187"/>
                  </a:lnTo>
                  <a:lnTo>
                    <a:pt x="6682836" y="1271563"/>
                  </a:lnTo>
                  <a:lnTo>
                    <a:pt x="6863625" y="1271563"/>
                  </a:lnTo>
                  <a:lnTo>
                    <a:pt x="6863625" y="732701"/>
                  </a:lnTo>
                  <a:cubicBezTo>
                    <a:pt x="6863625" y="667839"/>
                    <a:pt x="6876278" y="632147"/>
                    <a:pt x="6913971" y="591066"/>
                  </a:cubicBezTo>
                  <a:cubicBezTo>
                    <a:pt x="6951505" y="548481"/>
                    <a:pt x="7002433" y="525990"/>
                    <a:pt x="7061143" y="525990"/>
                  </a:cubicBezTo>
                  <a:cubicBezTo>
                    <a:pt x="7110748" y="525990"/>
                    <a:pt x="7155428" y="544744"/>
                    <a:pt x="7177769" y="575089"/>
                  </a:cubicBezTo>
                  <a:cubicBezTo>
                    <a:pt x="7197410" y="601215"/>
                    <a:pt x="7205139" y="638722"/>
                    <a:pt x="7205139" y="708709"/>
                  </a:cubicBezTo>
                  <a:lnTo>
                    <a:pt x="7205139" y="1271563"/>
                  </a:lnTo>
                  <a:close/>
                  <a:moveTo>
                    <a:pt x="7822309" y="162418"/>
                  </a:moveTo>
                  <a:cubicBezTo>
                    <a:pt x="7822309" y="99268"/>
                    <a:pt x="7774452" y="49847"/>
                    <a:pt x="7713412" y="49847"/>
                  </a:cubicBezTo>
                  <a:cubicBezTo>
                    <a:pt x="7650255" y="49847"/>
                    <a:pt x="7602662" y="97451"/>
                    <a:pt x="7602662" y="160549"/>
                  </a:cubicBezTo>
                  <a:cubicBezTo>
                    <a:pt x="7602662" y="223699"/>
                    <a:pt x="7649514" y="271303"/>
                    <a:pt x="7711560" y="271303"/>
                  </a:cubicBezTo>
                  <a:cubicBezTo>
                    <a:pt x="7773711" y="271303"/>
                    <a:pt x="7822309" y="223432"/>
                    <a:pt x="7822309" y="162418"/>
                  </a:cubicBezTo>
                  <a:moveTo>
                    <a:pt x="8704760" y="826838"/>
                  </a:moveTo>
                  <a:cubicBezTo>
                    <a:pt x="8704760" y="1000692"/>
                    <a:pt x="8594751" y="1122077"/>
                    <a:pt x="8437150" y="1122077"/>
                  </a:cubicBezTo>
                  <a:cubicBezTo>
                    <a:pt x="8276002" y="1122077"/>
                    <a:pt x="8167740" y="1003466"/>
                    <a:pt x="8167740" y="826838"/>
                  </a:cubicBezTo>
                  <a:cubicBezTo>
                    <a:pt x="8167740" y="649088"/>
                    <a:pt x="8276743" y="529677"/>
                    <a:pt x="8439003" y="529677"/>
                  </a:cubicBezTo>
                  <a:cubicBezTo>
                    <a:pt x="8597980" y="529677"/>
                    <a:pt x="8704760" y="649088"/>
                    <a:pt x="8704760" y="826838"/>
                  </a:cubicBezTo>
                  <a:moveTo>
                    <a:pt x="8889307" y="828654"/>
                  </a:moveTo>
                  <a:cubicBezTo>
                    <a:pt x="8889307" y="557084"/>
                    <a:pt x="8699942" y="359885"/>
                    <a:pt x="8439003" y="359885"/>
                  </a:cubicBezTo>
                  <a:cubicBezTo>
                    <a:pt x="8170652" y="359885"/>
                    <a:pt x="7983193" y="551155"/>
                    <a:pt x="7983193" y="824916"/>
                  </a:cubicBezTo>
                  <a:cubicBezTo>
                    <a:pt x="7983193" y="1099848"/>
                    <a:pt x="8168375" y="1291865"/>
                    <a:pt x="8433444" y="1291865"/>
                  </a:cubicBezTo>
                  <a:cubicBezTo>
                    <a:pt x="8689089" y="1291865"/>
                    <a:pt x="8889307" y="1088418"/>
                    <a:pt x="8889307" y="828654"/>
                  </a:cubicBezTo>
                  <a:moveTo>
                    <a:pt x="9658150" y="1197940"/>
                  </a:moveTo>
                  <a:cubicBezTo>
                    <a:pt x="9724854" y="1137144"/>
                    <a:pt x="9749630" y="1068539"/>
                    <a:pt x="9749630" y="944968"/>
                  </a:cubicBezTo>
                  <a:lnTo>
                    <a:pt x="9749630" y="380187"/>
                  </a:lnTo>
                  <a:lnTo>
                    <a:pt x="9566988" y="380187"/>
                  </a:lnTo>
                  <a:lnTo>
                    <a:pt x="9566988" y="944968"/>
                  </a:lnTo>
                  <a:cubicBezTo>
                    <a:pt x="9566988" y="1008437"/>
                    <a:pt x="9558835" y="1039587"/>
                    <a:pt x="9535012" y="1068222"/>
                  </a:cubicBezTo>
                  <a:cubicBezTo>
                    <a:pt x="9503831" y="1104284"/>
                    <a:pt x="9453009" y="1125815"/>
                    <a:pt x="9399010" y="1125815"/>
                  </a:cubicBezTo>
                  <a:cubicBezTo>
                    <a:pt x="9299060" y="1125815"/>
                    <a:pt x="9229233" y="1049947"/>
                    <a:pt x="9229233" y="941225"/>
                  </a:cubicBezTo>
                  <a:lnTo>
                    <a:pt x="9229233" y="380187"/>
                  </a:lnTo>
                  <a:lnTo>
                    <a:pt x="9048391" y="380187"/>
                  </a:lnTo>
                  <a:lnTo>
                    <a:pt x="9048391" y="944968"/>
                  </a:lnTo>
                  <a:cubicBezTo>
                    <a:pt x="9048391" y="1054330"/>
                    <a:pt x="9078249" y="1136392"/>
                    <a:pt x="9139659" y="1195965"/>
                  </a:cubicBezTo>
                  <a:cubicBezTo>
                    <a:pt x="9204563" y="1256925"/>
                    <a:pt x="9299113" y="1291865"/>
                    <a:pt x="9399010" y="1291865"/>
                  </a:cubicBezTo>
                  <a:cubicBezTo>
                    <a:pt x="9499701" y="1291865"/>
                    <a:pt x="9591763" y="1258529"/>
                    <a:pt x="9658150" y="1197945"/>
                  </a:cubicBezTo>
                  <a:moveTo>
                    <a:pt x="10385594" y="653307"/>
                  </a:moveTo>
                  <a:lnTo>
                    <a:pt x="10567335" y="653307"/>
                  </a:lnTo>
                  <a:lnTo>
                    <a:pt x="10566383" y="632041"/>
                  </a:lnTo>
                  <a:cubicBezTo>
                    <a:pt x="10558442" y="459099"/>
                    <a:pt x="10442768" y="359885"/>
                    <a:pt x="10249009" y="359885"/>
                  </a:cubicBezTo>
                  <a:cubicBezTo>
                    <a:pt x="10058003" y="359885"/>
                    <a:pt x="9929730" y="467434"/>
                    <a:pt x="9929730" y="627446"/>
                  </a:cubicBezTo>
                  <a:cubicBezTo>
                    <a:pt x="9929730" y="765666"/>
                    <a:pt x="10016922" y="850825"/>
                    <a:pt x="10212587" y="903611"/>
                  </a:cubicBezTo>
                  <a:cubicBezTo>
                    <a:pt x="10347689" y="937858"/>
                    <a:pt x="10391099" y="968955"/>
                    <a:pt x="10391099" y="1031625"/>
                  </a:cubicBezTo>
                  <a:cubicBezTo>
                    <a:pt x="10391099" y="1095576"/>
                    <a:pt x="10336730" y="1136874"/>
                    <a:pt x="10252715" y="1136874"/>
                  </a:cubicBezTo>
                  <a:cubicBezTo>
                    <a:pt x="10155517" y="1136874"/>
                    <a:pt x="10102102" y="1093384"/>
                    <a:pt x="10093843" y="1007579"/>
                  </a:cubicBezTo>
                  <a:lnTo>
                    <a:pt x="10092096" y="989257"/>
                  </a:lnTo>
                  <a:lnTo>
                    <a:pt x="9913054" y="989257"/>
                  </a:lnTo>
                  <a:lnTo>
                    <a:pt x="9915066" y="1011216"/>
                  </a:lnTo>
                  <a:cubicBezTo>
                    <a:pt x="9930789" y="1194843"/>
                    <a:pt x="10047626" y="1291865"/>
                    <a:pt x="10252715" y="1291865"/>
                  </a:cubicBezTo>
                  <a:cubicBezTo>
                    <a:pt x="10445839" y="1291865"/>
                    <a:pt x="10575647" y="1184371"/>
                    <a:pt x="10575647" y="1024303"/>
                  </a:cubicBezTo>
                  <a:cubicBezTo>
                    <a:pt x="10575647" y="956667"/>
                    <a:pt x="10548542" y="890948"/>
                    <a:pt x="10501426" y="843879"/>
                  </a:cubicBezTo>
                  <a:cubicBezTo>
                    <a:pt x="10457485" y="799913"/>
                    <a:pt x="10397028" y="770955"/>
                    <a:pt x="10285750" y="740769"/>
                  </a:cubicBezTo>
                  <a:cubicBezTo>
                    <a:pt x="10125660" y="696474"/>
                    <a:pt x="10110519" y="671471"/>
                    <a:pt x="10110519" y="616440"/>
                  </a:cubicBezTo>
                  <a:cubicBezTo>
                    <a:pt x="10110519" y="553823"/>
                    <a:pt x="10161447" y="514877"/>
                    <a:pt x="10243398" y="514877"/>
                  </a:cubicBezTo>
                  <a:cubicBezTo>
                    <a:pt x="10329795" y="514877"/>
                    <a:pt x="10385594" y="557672"/>
                    <a:pt x="10385594" y="623762"/>
                  </a:cubicBezTo>
                  <a:lnTo>
                    <a:pt x="10385594" y="653307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</p:grp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4B64477F-55E2-8773-B84C-7947357097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CAAB5A71-1CA4-3B48-F7AF-FD9873D27F6B}"/>
              </a:ext>
            </a:extLst>
          </p:cNvPr>
          <p:cNvGrpSpPr/>
          <p:nvPr userDrawn="1"/>
        </p:nvGrpSpPr>
        <p:grpSpPr>
          <a:xfrm rot="5400000">
            <a:off x="-3617983" y="3323777"/>
            <a:ext cx="6854690" cy="213756"/>
            <a:chOff x="-1" y="-286346"/>
            <a:chExt cx="5820565" cy="181508"/>
          </a:xfrm>
        </p:grpSpPr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9AA18767-79EF-5D20-433C-A494FBE5E8C8}"/>
                </a:ext>
              </a:extLst>
            </p:cNvPr>
            <p:cNvGrpSpPr/>
            <p:nvPr userDrawn="1"/>
          </p:nvGrpSpPr>
          <p:grpSpPr>
            <a:xfrm rot="16200000">
              <a:off x="363007" y="-649354"/>
              <a:ext cx="181503" cy="907520"/>
              <a:chOff x="1319213" y="-1663170"/>
              <a:chExt cx="181503" cy="907520"/>
            </a:xfrm>
          </p:grpSpPr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01424A0E-7550-560A-9C76-C879E808735D}"/>
                  </a:ext>
                </a:extLst>
              </p:cNvPr>
              <p:cNvSpPr/>
              <p:nvPr/>
            </p:nvSpPr>
            <p:spPr>
              <a:xfrm>
                <a:off x="1319213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44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5BE8E2F6-0A3E-3FF4-C1DE-A2A29540D9AF}"/>
                  </a:ext>
                </a:extLst>
              </p:cNvPr>
              <p:cNvSpPr/>
              <p:nvPr/>
            </p:nvSpPr>
            <p:spPr>
              <a:xfrm>
                <a:off x="1319213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69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BF698A20-0F92-DFD1-CAC9-26ECD671719B}"/>
                  </a:ext>
                </a:extLst>
              </p:cNvPr>
              <p:cNvSpPr/>
              <p:nvPr/>
            </p:nvSpPr>
            <p:spPr>
              <a:xfrm>
                <a:off x="1319213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FE8F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EA661C56-AB3E-9FBC-4C14-BD155669F85C}"/>
                  </a:ext>
                </a:extLst>
              </p:cNvPr>
              <p:cNvSpPr/>
              <p:nvPr/>
            </p:nvSpPr>
            <p:spPr>
              <a:xfrm>
                <a:off x="1319213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B4B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5A458892-5875-4474-EF9D-8A6AAE8E23D9}"/>
                  </a:ext>
                </a:extLst>
              </p:cNvPr>
              <p:cNvSpPr/>
              <p:nvPr/>
            </p:nvSpPr>
            <p:spPr>
              <a:xfrm>
                <a:off x="1319213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D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A3F1A042-7477-B676-96E6-1DFF30F5C7FA}"/>
                </a:ext>
              </a:extLst>
            </p:cNvPr>
            <p:cNvGrpSpPr/>
            <p:nvPr userDrawn="1"/>
          </p:nvGrpSpPr>
          <p:grpSpPr>
            <a:xfrm rot="16200000">
              <a:off x="1345616" y="-649354"/>
              <a:ext cx="181503" cy="907520"/>
              <a:chOff x="1319213" y="-664912"/>
              <a:chExt cx="181503" cy="907520"/>
            </a:xfrm>
          </p:grpSpPr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456C14DF-A2CF-0648-0689-04AE67607895}"/>
                  </a:ext>
                </a:extLst>
              </p:cNvPr>
              <p:cNvSpPr/>
              <p:nvPr/>
            </p:nvSpPr>
            <p:spPr>
              <a:xfrm>
                <a:off x="1319213" y="-66491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6400A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C0CA86E8-B93E-4A68-2FB6-3E675227A75D}"/>
                  </a:ext>
                </a:extLst>
              </p:cNvPr>
              <p:cNvSpPr/>
              <p:nvPr/>
            </p:nvSpPr>
            <p:spPr>
              <a:xfrm>
                <a:off x="1319213" y="-483404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33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F167F88C-7D60-9905-5958-3B22B829A048}"/>
                  </a:ext>
                </a:extLst>
              </p:cNvPr>
              <p:cNvSpPr/>
              <p:nvPr/>
            </p:nvSpPr>
            <p:spPr>
              <a:xfrm>
                <a:off x="1319213" y="-30189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266C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F2675FCB-BD71-2A20-5EAE-2972C02E4DCE}"/>
                  </a:ext>
                </a:extLst>
              </p:cNvPr>
              <p:cNvSpPr/>
              <p:nvPr/>
            </p:nvSpPr>
            <p:spPr>
              <a:xfrm>
                <a:off x="1319213" y="-120387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199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0030B586-C72D-1AF6-C404-45E26E039FCC}"/>
                  </a:ext>
                </a:extLst>
              </p:cNvPr>
              <p:cNvSpPr/>
              <p:nvPr/>
            </p:nvSpPr>
            <p:spPr>
              <a:xfrm>
                <a:off x="1319213" y="6110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0CC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5AB96A7A-4DD3-8BBA-8F6F-F98F9F66B3F7}"/>
                </a:ext>
              </a:extLst>
            </p:cNvPr>
            <p:cNvGrpSpPr/>
            <p:nvPr userDrawn="1"/>
          </p:nvGrpSpPr>
          <p:grpSpPr>
            <a:xfrm rot="16200000">
              <a:off x="2328223" y="-649352"/>
              <a:ext cx="181508" cy="907520"/>
              <a:chOff x="1682219" y="-1663170"/>
              <a:chExt cx="181508" cy="907520"/>
            </a:xfrm>
          </p:grpSpPr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F1267710-831A-BA3D-27B4-A5DDF08F2C5A}"/>
                  </a:ext>
                </a:extLst>
              </p:cNvPr>
              <p:cNvSpPr/>
              <p:nvPr/>
            </p:nvSpPr>
            <p:spPr>
              <a:xfrm>
                <a:off x="1682219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CC8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559774FB-994C-BF30-67AE-986A965203C4}"/>
                  </a:ext>
                </a:extLst>
              </p:cNvPr>
              <p:cNvSpPr/>
              <p:nvPr/>
            </p:nvSpPr>
            <p:spPr>
              <a:xfrm>
                <a:off x="1682224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3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D013D697-342A-D793-358E-6DF6218CD498}"/>
                  </a:ext>
                </a:extLst>
              </p:cNvPr>
              <p:cNvSpPr/>
              <p:nvPr/>
            </p:nvSpPr>
            <p:spPr>
              <a:xfrm>
                <a:off x="1682224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ADE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48C17B14-70B0-85C2-1312-2601C298CCF7}"/>
                  </a:ext>
                </a:extLst>
              </p:cNvPr>
              <p:cNvSpPr/>
              <p:nvPr/>
            </p:nvSpPr>
            <p:spPr>
              <a:xfrm>
                <a:off x="1682224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E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571D6915-E3E8-5B41-C01D-8B9ED57FA073}"/>
                  </a:ext>
                </a:extLst>
              </p:cNvPr>
              <p:cNvSpPr/>
              <p:nvPr/>
            </p:nvSpPr>
            <p:spPr>
              <a:xfrm>
                <a:off x="1682219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8F4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FEB6E333-6AD3-938D-4616-ECB0C52F5062}"/>
                </a:ext>
              </a:extLst>
            </p:cNvPr>
            <p:cNvGrpSpPr/>
            <p:nvPr userDrawn="1"/>
          </p:nvGrpSpPr>
          <p:grpSpPr>
            <a:xfrm rot="16200000">
              <a:off x="5276052" y="-649354"/>
              <a:ext cx="181503" cy="907520"/>
              <a:chOff x="2226738" y="-1663170"/>
              <a:chExt cx="181503" cy="907520"/>
            </a:xfrm>
          </p:grpSpPr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9B684744-CCE9-7286-F1F3-E9180592E15A}"/>
                  </a:ext>
                </a:extLst>
              </p:cNvPr>
              <p:cNvSpPr/>
              <p:nvPr/>
            </p:nvSpPr>
            <p:spPr>
              <a:xfrm>
                <a:off x="2226738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6A1FF202-FD6C-0AD2-FABE-31C5BA4D16C9}"/>
                  </a:ext>
                </a:extLst>
              </p:cNvPr>
              <p:cNvSpPr/>
              <p:nvPr/>
            </p:nvSpPr>
            <p:spPr>
              <a:xfrm>
                <a:off x="2226738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5757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EC76043A-EC10-4F4B-766D-B2206596624B}"/>
                  </a:ext>
                </a:extLst>
              </p:cNvPr>
              <p:cNvSpPr/>
              <p:nvPr/>
            </p:nvSpPr>
            <p:spPr>
              <a:xfrm>
                <a:off x="2226738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8787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7E3862FD-E6C5-AB18-3FE0-AC3AA8E6E13F}"/>
                  </a:ext>
                </a:extLst>
              </p:cNvPr>
              <p:cNvSpPr/>
              <p:nvPr/>
            </p:nvSpPr>
            <p:spPr>
              <a:xfrm>
                <a:off x="2226738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2B2B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90DC9435-1090-AC23-B88E-F77D4E47FA18}"/>
                  </a:ext>
                </a:extLst>
              </p:cNvPr>
              <p:cNvSpPr/>
              <p:nvPr/>
            </p:nvSpPr>
            <p:spPr>
              <a:xfrm>
                <a:off x="2226738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DA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07CA7204-F40C-3A20-114F-A5E7F5F131CD}"/>
                </a:ext>
              </a:extLst>
            </p:cNvPr>
            <p:cNvGrpSpPr/>
            <p:nvPr userDrawn="1"/>
          </p:nvGrpSpPr>
          <p:grpSpPr>
            <a:xfrm rot="16200000">
              <a:off x="3310834" y="-649354"/>
              <a:ext cx="181503" cy="907520"/>
              <a:chOff x="1863727" y="-1663170"/>
              <a:chExt cx="181503" cy="907520"/>
            </a:xfrm>
          </p:grpSpPr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555DC7D4-727C-49AE-A6DF-988F589CDDEF}"/>
                  </a:ext>
                </a:extLst>
              </p:cNvPr>
              <p:cNvSpPr/>
              <p:nvPr/>
            </p:nvSpPr>
            <p:spPr>
              <a:xfrm>
                <a:off x="1863727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2A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DD356D35-D9BE-5A36-BB32-27486F223270}"/>
                  </a:ext>
                </a:extLst>
              </p:cNvPr>
              <p:cNvSpPr/>
              <p:nvPr/>
            </p:nvSpPr>
            <p:spPr>
              <a:xfrm>
                <a:off x="1863727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5DB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1ABC38F5-2A2F-B0FA-168A-4FFC9A18F160}"/>
                  </a:ext>
                </a:extLst>
              </p:cNvPr>
              <p:cNvSpPr/>
              <p:nvPr/>
            </p:nvSpPr>
            <p:spPr>
              <a:xfrm>
                <a:off x="1863727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8E4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67F4852C-5C8E-1D79-48BE-7989A639540F}"/>
                  </a:ext>
                </a:extLst>
              </p:cNvPr>
              <p:cNvSpPr/>
              <p:nvPr/>
            </p:nvSpPr>
            <p:spPr>
              <a:xfrm>
                <a:off x="1863727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ED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8457C8A1-388E-9FDD-076A-951257833787}"/>
                  </a:ext>
                </a:extLst>
              </p:cNvPr>
              <p:cNvSpPr/>
              <p:nvPr/>
            </p:nvSpPr>
            <p:spPr>
              <a:xfrm>
                <a:off x="1863727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DF6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B845059F-A18A-B1FC-EA28-16FED47EEF2C}"/>
                </a:ext>
              </a:extLst>
            </p:cNvPr>
            <p:cNvGrpSpPr/>
            <p:nvPr userDrawn="1"/>
          </p:nvGrpSpPr>
          <p:grpSpPr>
            <a:xfrm rot="16200000">
              <a:off x="4293441" y="-649352"/>
              <a:ext cx="181508" cy="907520"/>
              <a:chOff x="2045230" y="-1663170"/>
              <a:chExt cx="181508" cy="907520"/>
            </a:xfrm>
          </p:grpSpPr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7FBF356A-B766-ABF9-C92B-202207950A83}"/>
                  </a:ext>
                </a:extLst>
              </p:cNvPr>
              <p:cNvSpPr/>
              <p:nvPr/>
            </p:nvSpPr>
            <p:spPr>
              <a:xfrm>
                <a:off x="2045230" y="-937158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9F7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E32B5C42-8C84-4A3D-4C44-DFEE6666E3B6}"/>
                  </a:ext>
                </a:extLst>
              </p:cNvPr>
              <p:cNvSpPr/>
              <p:nvPr/>
            </p:nvSpPr>
            <p:spPr>
              <a:xfrm>
                <a:off x="2045230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FED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DFA09D33-242C-E77A-5117-11FA037856AC}"/>
                  </a:ext>
                </a:extLst>
              </p:cNvPr>
              <p:cNvSpPr/>
              <p:nvPr/>
            </p:nvSpPr>
            <p:spPr>
              <a:xfrm>
                <a:off x="2045230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5E3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46C2F973-4266-D2AB-7725-D08395E06C09}"/>
                  </a:ext>
                </a:extLst>
              </p:cNvPr>
              <p:cNvSpPr/>
              <p:nvPr/>
            </p:nvSpPr>
            <p:spPr>
              <a:xfrm>
                <a:off x="2045230" y="-1663170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CFC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518127E0-960A-4B80-2AF7-93B2704FFBED}"/>
                  </a:ext>
                </a:extLst>
              </p:cNvPr>
              <p:cNvSpPr/>
              <p:nvPr/>
            </p:nvSpPr>
            <p:spPr>
              <a:xfrm>
                <a:off x="2045230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BD9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5022645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(sand) and Content 3/4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73236799-8186-158A-F3A4-9E2D432B77EB}"/>
              </a:ext>
            </a:extLst>
          </p:cNvPr>
          <p:cNvSpPr/>
          <p:nvPr userDrawn="1"/>
        </p:nvSpPr>
        <p:spPr>
          <a:xfrm>
            <a:off x="9156700" y="0"/>
            <a:ext cx="30353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72650" y="843892"/>
            <a:ext cx="1760536" cy="551245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4B64477F-55E2-8773-B84C-7947357097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0F1F225A-2E74-0E08-C53E-A496B0369157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0415668" y="503483"/>
            <a:ext cx="1289916" cy="180000"/>
            <a:chOff x="-161925" y="-1630732"/>
            <a:chExt cx="12193587" cy="1701544"/>
          </a:xfrm>
          <a:solidFill>
            <a:schemeClr val="accent2"/>
          </a:solidFill>
        </p:grpSpPr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EE65654F-9969-AD79-FBE2-E2D551DA737E}"/>
                </a:ext>
              </a:extLst>
            </p:cNvPr>
            <p:cNvSpPr/>
            <p:nvPr/>
          </p:nvSpPr>
          <p:spPr bwMode="gray">
            <a:xfrm>
              <a:off x="10774928" y="-1247713"/>
              <a:ext cx="1256734" cy="356304"/>
            </a:xfrm>
            <a:custGeom>
              <a:avLst/>
              <a:gdLst>
                <a:gd name="connsiteX0" fmla="*/ 1226823 w 1256734"/>
                <a:gd name="connsiteY0" fmla="*/ 269166 h 356304"/>
                <a:gd name="connsiteX1" fmla="*/ 1133491 w 1256734"/>
                <a:gd name="connsiteY1" fmla="*/ 316610 h 356304"/>
                <a:gd name="connsiteX2" fmla="*/ 1010248 w 1256734"/>
                <a:gd name="connsiteY2" fmla="*/ 178448 h 356304"/>
                <a:gd name="connsiteX3" fmla="*/ 1131426 w 1256734"/>
                <a:gd name="connsiteY3" fmla="*/ 39696 h 356304"/>
                <a:gd name="connsiteX4" fmla="*/ 1226823 w 1256734"/>
                <a:gd name="connsiteY4" fmla="*/ 86659 h 356304"/>
                <a:gd name="connsiteX5" fmla="*/ 1256735 w 1256734"/>
                <a:gd name="connsiteY5" fmla="*/ 58823 h 356304"/>
                <a:gd name="connsiteX6" fmla="*/ 1216553 w 1256734"/>
                <a:gd name="connsiteY6" fmla="*/ 23241 h 356304"/>
                <a:gd name="connsiteX7" fmla="*/ 1130420 w 1256734"/>
                <a:gd name="connsiteY7" fmla="*/ 0 h 356304"/>
                <a:gd name="connsiteX8" fmla="*/ 965885 w 1256734"/>
                <a:gd name="connsiteY8" fmla="*/ 178448 h 356304"/>
                <a:gd name="connsiteX9" fmla="*/ 1011783 w 1256734"/>
                <a:gd name="connsiteY9" fmla="*/ 305763 h 356304"/>
                <a:gd name="connsiteX10" fmla="*/ 1129892 w 1256734"/>
                <a:gd name="connsiteY10" fmla="*/ 356305 h 356304"/>
                <a:gd name="connsiteX11" fmla="*/ 1255676 w 1256734"/>
                <a:gd name="connsiteY11" fmla="*/ 298071 h 356304"/>
                <a:gd name="connsiteX12" fmla="*/ 1226823 w 1256734"/>
                <a:gd name="connsiteY12" fmla="*/ 269166 h 356304"/>
                <a:gd name="connsiteX13" fmla="*/ 679216 w 1256734"/>
                <a:gd name="connsiteY13" fmla="*/ 197999 h 356304"/>
                <a:gd name="connsiteX14" fmla="*/ 846824 w 1256734"/>
                <a:gd name="connsiteY14" fmla="*/ 197999 h 356304"/>
                <a:gd name="connsiteX15" fmla="*/ 846824 w 1256734"/>
                <a:gd name="connsiteY15" fmla="*/ 350105 h 356304"/>
                <a:gd name="connsiteX16" fmla="*/ 890075 w 1256734"/>
                <a:gd name="connsiteY16" fmla="*/ 350105 h 356304"/>
                <a:gd name="connsiteX17" fmla="*/ 890075 w 1256734"/>
                <a:gd name="connsiteY17" fmla="*/ 6198 h 356304"/>
                <a:gd name="connsiteX18" fmla="*/ 846824 w 1256734"/>
                <a:gd name="connsiteY18" fmla="*/ 6198 h 356304"/>
                <a:gd name="connsiteX19" fmla="*/ 846824 w 1256734"/>
                <a:gd name="connsiteY19" fmla="*/ 160920 h 356304"/>
                <a:gd name="connsiteX20" fmla="*/ 679216 w 1256734"/>
                <a:gd name="connsiteY20" fmla="*/ 160920 h 356304"/>
                <a:gd name="connsiteX21" fmla="*/ 679216 w 1256734"/>
                <a:gd name="connsiteY21" fmla="*/ 6198 h 356304"/>
                <a:gd name="connsiteX22" fmla="*/ 635912 w 1256734"/>
                <a:gd name="connsiteY22" fmla="*/ 6198 h 356304"/>
                <a:gd name="connsiteX23" fmla="*/ 635912 w 1256734"/>
                <a:gd name="connsiteY23" fmla="*/ 350105 h 356304"/>
                <a:gd name="connsiteX24" fmla="*/ 679216 w 1256734"/>
                <a:gd name="connsiteY24" fmla="*/ 350105 h 356304"/>
                <a:gd name="connsiteX25" fmla="*/ 679216 w 1256734"/>
                <a:gd name="connsiteY25" fmla="*/ 197999 h 356304"/>
                <a:gd name="connsiteX26" fmla="*/ 392018 w 1256734"/>
                <a:gd name="connsiteY26" fmla="*/ 40230 h 356304"/>
                <a:gd name="connsiteX27" fmla="*/ 476563 w 1256734"/>
                <a:gd name="connsiteY27" fmla="*/ 75813 h 356304"/>
                <a:gd name="connsiteX28" fmla="*/ 515792 w 1256734"/>
                <a:gd name="connsiteY28" fmla="*/ 181011 h 356304"/>
                <a:gd name="connsiteX29" fmla="*/ 482758 w 1256734"/>
                <a:gd name="connsiteY29" fmla="*/ 275365 h 356304"/>
                <a:gd name="connsiteX30" fmla="*/ 390960 w 1256734"/>
                <a:gd name="connsiteY30" fmla="*/ 316610 h 356304"/>
                <a:gd name="connsiteX31" fmla="*/ 267239 w 1256734"/>
                <a:gd name="connsiteY31" fmla="*/ 178448 h 356304"/>
                <a:gd name="connsiteX32" fmla="*/ 392018 w 1256734"/>
                <a:gd name="connsiteY32" fmla="*/ 40230 h 356304"/>
                <a:gd name="connsiteX33" fmla="*/ 393077 w 1256734"/>
                <a:gd name="connsiteY33" fmla="*/ 0 h 356304"/>
                <a:gd name="connsiteX34" fmla="*/ 222876 w 1256734"/>
                <a:gd name="connsiteY34" fmla="*/ 179994 h 356304"/>
                <a:gd name="connsiteX35" fmla="*/ 258982 w 1256734"/>
                <a:gd name="connsiteY35" fmla="*/ 291872 h 356304"/>
                <a:gd name="connsiteX36" fmla="*/ 392018 w 1256734"/>
                <a:gd name="connsiteY36" fmla="*/ 356305 h 356304"/>
                <a:gd name="connsiteX37" fmla="*/ 501868 w 1256734"/>
                <a:gd name="connsiteY37" fmla="*/ 315059 h 356304"/>
                <a:gd name="connsiteX38" fmla="*/ 560155 w 1256734"/>
                <a:gd name="connsiteY38" fmla="*/ 181545 h 356304"/>
                <a:gd name="connsiteX39" fmla="*/ 519921 w 1256734"/>
                <a:gd name="connsiteY39" fmla="*/ 59304 h 356304"/>
                <a:gd name="connsiteX40" fmla="*/ 393077 w 1256734"/>
                <a:gd name="connsiteY40" fmla="*/ 0 h 356304"/>
                <a:gd name="connsiteX41" fmla="*/ 43306 w 1256734"/>
                <a:gd name="connsiteY41" fmla="*/ 310946 h 356304"/>
                <a:gd name="connsiteX42" fmla="*/ 43306 w 1256734"/>
                <a:gd name="connsiteY42" fmla="*/ 6198 h 356304"/>
                <a:gd name="connsiteX43" fmla="*/ 0 w 1256734"/>
                <a:gd name="connsiteY43" fmla="*/ 6198 h 356304"/>
                <a:gd name="connsiteX44" fmla="*/ 0 w 1256734"/>
                <a:gd name="connsiteY44" fmla="*/ 350105 h 356304"/>
                <a:gd name="connsiteX45" fmla="*/ 194237 w 1256734"/>
                <a:gd name="connsiteY45" fmla="*/ 350105 h 356304"/>
                <a:gd name="connsiteX46" fmla="*/ 194237 w 1256734"/>
                <a:gd name="connsiteY46" fmla="*/ 310946 h 356304"/>
                <a:gd name="connsiteX47" fmla="*/ 43306 w 1256734"/>
                <a:gd name="connsiteY47" fmla="*/ 310946 h 35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256734" h="356304">
                  <a:moveTo>
                    <a:pt x="1226823" y="269166"/>
                  </a:moveTo>
                  <a:cubicBezTo>
                    <a:pt x="1200037" y="301650"/>
                    <a:pt x="1171131" y="316610"/>
                    <a:pt x="1133491" y="316610"/>
                  </a:cubicBezTo>
                  <a:cubicBezTo>
                    <a:pt x="1062341" y="316610"/>
                    <a:pt x="1010248" y="258371"/>
                    <a:pt x="1010248" y="178448"/>
                  </a:cubicBezTo>
                  <a:cubicBezTo>
                    <a:pt x="1010248" y="97985"/>
                    <a:pt x="1061334" y="39696"/>
                    <a:pt x="1131426" y="39696"/>
                  </a:cubicBezTo>
                  <a:cubicBezTo>
                    <a:pt x="1168008" y="39696"/>
                    <a:pt x="1193313" y="52092"/>
                    <a:pt x="1226823" y="86659"/>
                  </a:cubicBezTo>
                  <a:lnTo>
                    <a:pt x="1256735" y="58823"/>
                  </a:lnTo>
                  <a:cubicBezTo>
                    <a:pt x="1239742" y="40230"/>
                    <a:pt x="1230424" y="32003"/>
                    <a:pt x="1216553" y="23241"/>
                  </a:cubicBezTo>
                  <a:cubicBezTo>
                    <a:pt x="1191725" y="8281"/>
                    <a:pt x="1161338" y="0"/>
                    <a:pt x="1130420" y="0"/>
                  </a:cubicBezTo>
                  <a:cubicBezTo>
                    <a:pt x="1035500" y="0"/>
                    <a:pt x="965885" y="75279"/>
                    <a:pt x="965885" y="178448"/>
                  </a:cubicBezTo>
                  <a:cubicBezTo>
                    <a:pt x="965885" y="226369"/>
                    <a:pt x="982931" y="273279"/>
                    <a:pt x="1011783" y="305763"/>
                  </a:cubicBezTo>
                  <a:cubicBezTo>
                    <a:pt x="1041165" y="338782"/>
                    <a:pt x="1081928" y="356305"/>
                    <a:pt x="1129892" y="356305"/>
                  </a:cubicBezTo>
                  <a:cubicBezTo>
                    <a:pt x="1182990" y="356305"/>
                    <a:pt x="1221107" y="338782"/>
                    <a:pt x="1255676" y="298071"/>
                  </a:cubicBezTo>
                  <a:lnTo>
                    <a:pt x="1226823" y="269166"/>
                  </a:lnTo>
                  <a:close/>
                  <a:moveTo>
                    <a:pt x="679216" y="197999"/>
                  </a:moveTo>
                  <a:lnTo>
                    <a:pt x="846824" y="197999"/>
                  </a:lnTo>
                  <a:lnTo>
                    <a:pt x="846824" y="350105"/>
                  </a:lnTo>
                  <a:lnTo>
                    <a:pt x="890075" y="350105"/>
                  </a:lnTo>
                  <a:lnTo>
                    <a:pt x="890075" y="6198"/>
                  </a:lnTo>
                  <a:lnTo>
                    <a:pt x="846824" y="6198"/>
                  </a:lnTo>
                  <a:lnTo>
                    <a:pt x="846824" y="160920"/>
                  </a:lnTo>
                  <a:lnTo>
                    <a:pt x="679216" y="160920"/>
                  </a:lnTo>
                  <a:lnTo>
                    <a:pt x="679216" y="6198"/>
                  </a:lnTo>
                  <a:lnTo>
                    <a:pt x="635912" y="6198"/>
                  </a:lnTo>
                  <a:lnTo>
                    <a:pt x="635912" y="350105"/>
                  </a:lnTo>
                  <a:lnTo>
                    <a:pt x="679216" y="350105"/>
                  </a:lnTo>
                  <a:lnTo>
                    <a:pt x="679216" y="197999"/>
                  </a:lnTo>
                  <a:close/>
                  <a:moveTo>
                    <a:pt x="392018" y="40230"/>
                  </a:moveTo>
                  <a:cubicBezTo>
                    <a:pt x="422459" y="40230"/>
                    <a:pt x="453904" y="53641"/>
                    <a:pt x="476563" y="75813"/>
                  </a:cubicBezTo>
                  <a:cubicBezTo>
                    <a:pt x="503404" y="101618"/>
                    <a:pt x="515792" y="135117"/>
                    <a:pt x="515792" y="181011"/>
                  </a:cubicBezTo>
                  <a:cubicBezTo>
                    <a:pt x="515792" y="216057"/>
                    <a:pt x="502874" y="253189"/>
                    <a:pt x="482758" y="275365"/>
                  </a:cubicBezTo>
                  <a:cubicBezTo>
                    <a:pt x="459569" y="301650"/>
                    <a:pt x="425530" y="316610"/>
                    <a:pt x="390960" y="316610"/>
                  </a:cubicBezTo>
                  <a:cubicBezTo>
                    <a:pt x="319809" y="316610"/>
                    <a:pt x="267239" y="258371"/>
                    <a:pt x="267239" y="178448"/>
                  </a:cubicBezTo>
                  <a:cubicBezTo>
                    <a:pt x="267239" y="99000"/>
                    <a:pt x="320338" y="40230"/>
                    <a:pt x="392018" y="40230"/>
                  </a:cubicBezTo>
                  <a:moveTo>
                    <a:pt x="393077" y="0"/>
                  </a:moveTo>
                  <a:cubicBezTo>
                    <a:pt x="295615" y="0"/>
                    <a:pt x="222876" y="77362"/>
                    <a:pt x="222876" y="179994"/>
                  </a:cubicBezTo>
                  <a:cubicBezTo>
                    <a:pt x="222876" y="223273"/>
                    <a:pt x="235318" y="261956"/>
                    <a:pt x="258982" y="291872"/>
                  </a:cubicBezTo>
                  <a:cubicBezTo>
                    <a:pt x="290957" y="332101"/>
                    <a:pt x="340985" y="356305"/>
                    <a:pt x="392018" y="356305"/>
                  </a:cubicBezTo>
                  <a:cubicBezTo>
                    <a:pt x="431723" y="356305"/>
                    <a:pt x="470899" y="341879"/>
                    <a:pt x="501868" y="315059"/>
                  </a:cubicBezTo>
                  <a:cubicBezTo>
                    <a:pt x="539509" y="283110"/>
                    <a:pt x="560155" y="235131"/>
                    <a:pt x="560155" y="181545"/>
                  </a:cubicBezTo>
                  <a:cubicBezTo>
                    <a:pt x="560155" y="129935"/>
                    <a:pt x="547715" y="91788"/>
                    <a:pt x="519921" y="59304"/>
                  </a:cubicBezTo>
                  <a:cubicBezTo>
                    <a:pt x="486886" y="21691"/>
                    <a:pt x="440988" y="0"/>
                    <a:pt x="393077" y="0"/>
                  </a:cubicBezTo>
                  <a:moveTo>
                    <a:pt x="43306" y="310946"/>
                  </a:moveTo>
                  <a:lnTo>
                    <a:pt x="43306" y="6198"/>
                  </a:lnTo>
                  <a:lnTo>
                    <a:pt x="0" y="6198"/>
                  </a:lnTo>
                  <a:lnTo>
                    <a:pt x="0" y="350105"/>
                  </a:lnTo>
                  <a:lnTo>
                    <a:pt x="194237" y="350105"/>
                  </a:lnTo>
                  <a:lnTo>
                    <a:pt x="194237" y="310946"/>
                  </a:lnTo>
                  <a:lnTo>
                    <a:pt x="43306" y="310946"/>
                  </a:lnTo>
                  <a:close/>
                </a:path>
              </a:pathLst>
            </a:custGeom>
            <a:solidFill>
              <a:schemeClr val="accent2"/>
            </a:solidFill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C2241B4A-E89A-4CF1-F5BC-86C2FB7853D9}"/>
                </a:ext>
              </a:extLst>
            </p:cNvPr>
            <p:cNvSpPr/>
            <p:nvPr/>
          </p:nvSpPr>
          <p:spPr bwMode="gray">
            <a:xfrm>
              <a:off x="-161925" y="-1630732"/>
              <a:ext cx="10575647" cy="1701544"/>
            </a:xfrm>
            <a:custGeom>
              <a:avLst/>
              <a:gdLst>
                <a:gd name="connsiteX0" fmla="*/ 7802033 w 10575647"/>
                <a:gd name="connsiteY0" fmla="*/ 380187 h 1701544"/>
                <a:gd name="connsiteX1" fmla="*/ 7621138 w 10575647"/>
                <a:gd name="connsiteY1" fmla="*/ 380187 h 1701544"/>
                <a:gd name="connsiteX2" fmla="*/ 7621138 w 10575647"/>
                <a:gd name="connsiteY2" fmla="*/ 1271563 h 1701544"/>
                <a:gd name="connsiteX3" fmla="*/ 7802033 w 10575647"/>
                <a:gd name="connsiteY3" fmla="*/ 1271563 h 1701544"/>
                <a:gd name="connsiteX4" fmla="*/ 7802033 w 10575647"/>
                <a:gd name="connsiteY4" fmla="*/ 380187 h 1701544"/>
                <a:gd name="connsiteX5" fmla="*/ 706522 w 10575647"/>
                <a:gd name="connsiteY5" fmla="*/ 1271563 h 1701544"/>
                <a:gd name="connsiteX6" fmla="*/ 902065 w 10575647"/>
                <a:gd name="connsiteY6" fmla="*/ 1271563 h 1701544"/>
                <a:gd name="connsiteX7" fmla="*/ 902065 w 10575647"/>
                <a:gd name="connsiteY7" fmla="*/ 0 h 1701544"/>
                <a:gd name="connsiteX8" fmla="*/ 706522 w 10575647"/>
                <a:gd name="connsiteY8" fmla="*/ 0 h 1701544"/>
                <a:gd name="connsiteX9" fmla="*/ 706522 w 10575647"/>
                <a:gd name="connsiteY9" fmla="*/ 553717 h 1701544"/>
                <a:gd name="connsiteX10" fmla="*/ 195543 w 10575647"/>
                <a:gd name="connsiteY10" fmla="*/ 553717 h 1701544"/>
                <a:gd name="connsiteX11" fmla="*/ 195543 w 10575647"/>
                <a:gd name="connsiteY11" fmla="*/ 0 h 1701544"/>
                <a:gd name="connsiteX12" fmla="*/ 0 w 10575647"/>
                <a:gd name="connsiteY12" fmla="*/ 0 h 1701544"/>
                <a:gd name="connsiteX13" fmla="*/ 0 w 10575647"/>
                <a:gd name="connsiteY13" fmla="*/ 1271563 h 1701544"/>
                <a:gd name="connsiteX14" fmla="*/ 195543 w 10575647"/>
                <a:gd name="connsiteY14" fmla="*/ 1271563 h 1701544"/>
                <a:gd name="connsiteX15" fmla="*/ 195543 w 10575647"/>
                <a:gd name="connsiteY15" fmla="*/ 727142 h 1701544"/>
                <a:gd name="connsiteX16" fmla="*/ 706522 w 10575647"/>
                <a:gd name="connsiteY16" fmla="*/ 727142 h 1701544"/>
                <a:gd name="connsiteX17" fmla="*/ 706522 w 10575647"/>
                <a:gd name="connsiteY17" fmla="*/ 1271563 h 1701544"/>
                <a:gd name="connsiteX18" fmla="*/ 1306185 w 10575647"/>
                <a:gd name="connsiteY18" fmla="*/ 1690649 h 1701544"/>
                <a:gd name="connsiteX19" fmla="*/ 1654904 w 10575647"/>
                <a:gd name="connsiteY19" fmla="*/ 1036061 h 1701544"/>
                <a:gd name="connsiteX20" fmla="*/ 1306185 w 10575647"/>
                <a:gd name="connsiteY20" fmla="*/ 381469 h 1701544"/>
                <a:gd name="connsiteX21" fmla="*/ 1090234 w 10575647"/>
                <a:gd name="connsiteY21" fmla="*/ 381469 h 1701544"/>
                <a:gd name="connsiteX22" fmla="*/ 1438900 w 10575647"/>
                <a:gd name="connsiteY22" fmla="*/ 1036061 h 1701544"/>
                <a:gd name="connsiteX23" fmla="*/ 1090234 w 10575647"/>
                <a:gd name="connsiteY23" fmla="*/ 1690649 h 1701544"/>
                <a:gd name="connsiteX24" fmla="*/ 1306185 w 10575647"/>
                <a:gd name="connsiteY24" fmla="*/ 1690649 h 1701544"/>
                <a:gd name="connsiteX25" fmla="*/ 2581808 w 10575647"/>
                <a:gd name="connsiteY25" fmla="*/ 828654 h 1701544"/>
                <a:gd name="connsiteX26" fmla="*/ 2317883 w 10575647"/>
                <a:gd name="connsiteY26" fmla="*/ 1129505 h 1701544"/>
                <a:gd name="connsiteX27" fmla="*/ 2065011 w 10575647"/>
                <a:gd name="connsiteY27" fmla="*/ 832338 h 1701544"/>
                <a:gd name="connsiteX28" fmla="*/ 2327068 w 10575647"/>
                <a:gd name="connsiteY28" fmla="*/ 525990 h 1701544"/>
                <a:gd name="connsiteX29" fmla="*/ 2581808 w 10575647"/>
                <a:gd name="connsiteY29" fmla="*/ 828654 h 1701544"/>
                <a:gd name="connsiteX30" fmla="*/ 2581808 w 10575647"/>
                <a:gd name="connsiteY30" fmla="*/ 1271563 h 1701544"/>
                <a:gd name="connsiteX31" fmla="*/ 2762608 w 10575647"/>
                <a:gd name="connsiteY31" fmla="*/ 1271563 h 1701544"/>
                <a:gd name="connsiteX32" fmla="*/ 2762608 w 10575647"/>
                <a:gd name="connsiteY32" fmla="*/ 0 h 1701544"/>
                <a:gd name="connsiteX33" fmla="*/ 2581808 w 10575647"/>
                <a:gd name="connsiteY33" fmla="*/ 0 h 1701544"/>
                <a:gd name="connsiteX34" fmla="*/ 2581808 w 10575647"/>
                <a:gd name="connsiteY34" fmla="*/ 476356 h 1701544"/>
                <a:gd name="connsiteX35" fmla="*/ 2297581 w 10575647"/>
                <a:gd name="connsiteY35" fmla="*/ 359885 h 1701544"/>
                <a:gd name="connsiteX36" fmla="*/ 1876785 w 10575647"/>
                <a:gd name="connsiteY36" fmla="*/ 830470 h 1701544"/>
                <a:gd name="connsiteX37" fmla="*/ 2297581 w 10575647"/>
                <a:gd name="connsiteY37" fmla="*/ 1291865 h 1701544"/>
                <a:gd name="connsiteX38" fmla="*/ 2581808 w 10575647"/>
                <a:gd name="connsiteY38" fmla="*/ 1163217 h 1701544"/>
                <a:gd name="connsiteX39" fmla="*/ 2581808 w 10575647"/>
                <a:gd name="connsiteY39" fmla="*/ 1271563 h 1701544"/>
                <a:gd name="connsiteX40" fmla="*/ 3437445 w 10575647"/>
                <a:gd name="connsiteY40" fmla="*/ 542393 h 1701544"/>
                <a:gd name="connsiteX41" fmla="*/ 3460310 w 10575647"/>
                <a:gd name="connsiteY41" fmla="*/ 545331 h 1701544"/>
                <a:gd name="connsiteX42" fmla="*/ 3460310 w 10575647"/>
                <a:gd name="connsiteY42" fmla="*/ 359885 h 1701544"/>
                <a:gd name="connsiteX43" fmla="*/ 3406830 w 10575647"/>
                <a:gd name="connsiteY43" fmla="*/ 359885 h 1701544"/>
                <a:gd name="connsiteX44" fmla="*/ 3231965 w 10575647"/>
                <a:gd name="connsiteY44" fmla="*/ 415877 h 1701544"/>
                <a:gd name="connsiteX45" fmla="*/ 3187194 w 10575647"/>
                <a:gd name="connsiteY45" fmla="*/ 462091 h 1701544"/>
                <a:gd name="connsiteX46" fmla="*/ 3187194 w 10575647"/>
                <a:gd name="connsiteY46" fmla="*/ 380187 h 1701544"/>
                <a:gd name="connsiteX47" fmla="*/ 3006395 w 10575647"/>
                <a:gd name="connsiteY47" fmla="*/ 380187 h 1701544"/>
                <a:gd name="connsiteX48" fmla="*/ 3006395 w 10575647"/>
                <a:gd name="connsiteY48" fmla="*/ 1271563 h 1701544"/>
                <a:gd name="connsiteX49" fmla="*/ 3187194 w 10575647"/>
                <a:gd name="connsiteY49" fmla="*/ 1271563 h 1701544"/>
                <a:gd name="connsiteX50" fmla="*/ 3187194 w 10575647"/>
                <a:gd name="connsiteY50" fmla="*/ 819411 h 1701544"/>
                <a:gd name="connsiteX51" fmla="*/ 3233517 w 10575647"/>
                <a:gd name="connsiteY51" fmla="*/ 629638 h 1701544"/>
                <a:gd name="connsiteX52" fmla="*/ 3401277 w 10575647"/>
                <a:gd name="connsiteY52" fmla="*/ 540683 h 1701544"/>
                <a:gd name="connsiteX53" fmla="*/ 3437445 w 10575647"/>
                <a:gd name="connsiteY53" fmla="*/ 542393 h 1701544"/>
                <a:gd name="connsiteX54" fmla="*/ 4250980 w 10575647"/>
                <a:gd name="connsiteY54" fmla="*/ 826838 h 1701544"/>
                <a:gd name="connsiteX55" fmla="*/ 3983364 w 10575647"/>
                <a:gd name="connsiteY55" fmla="*/ 1122077 h 1701544"/>
                <a:gd name="connsiteX56" fmla="*/ 3713875 w 10575647"/>
                <a:gd name="connsiteY56" fmla="*/ 826838 h 1701544"/>
                <a:gd name="connsiteX57" fmla="*/ 3985180 w 10575647"/>
                <a:gd name="connsiteY57" fmla="*/ 529677 h 1701544"/>
                <a:gd name="connsiteX58" fmla="*/ 4250980 w 10575647"/>
                <a:gd name="connsiteY58" fmla="*/ 826838 h 1701544"/>
                <a:gd name="connsiteX59" fmla="*/ 4435464 w 10575647"/>
                <a:gd name="connsiteY59" fmla="*/ 828654 h 1701544"/>
                <a:gd name="connsiteX60" fmla="*/ 3985180 w 10575647"/>
                <a:gd name="connsiteY60" fmla="*/ 359885 h 1701544"/>
                <a:gd name="connsiteX61" fmla="*/ 3529338 w 10575647"/>
                <a:gd name="connsiteY61" fmla="*/ 824916 h 1701544"/>
                <a:gd name="connsiteX62" fmla="*/ 3979622 w 10575647"/>
                <a:gd name="connsiteY62" fmla="*/ 1291865 h 1701544"/>
                <a:gd name="connsiteX63" fmla="*/ 4435464 w 10575647"/>
                <a:gd name="connsiteY63" fmla="*/ 828654 h 1701544"/>
                <a:gd name="connsiteX64" fmla="*/ 5261608 w 10575647"/>
                <a:gd name="connsiteY64" fmla="*/ 828654 h 1701544"/>
                <a:gd name="connsiteX65" fmla="*/ 5205508 w 10575647"/>
                <a:gd name="connsiteY65" fmla="*/ 1025854 h 1701544"/>
                <a:gd name="connsiteX66" fmla="*/ 5005052 w 10575647"/>
                <a:gd name="connsiteY66" fmla="*/ 1122077 h 1701544"/>
                <a:gd name="connsiteX67" fmla="*/ 4746675 w 10575647"/>
                <a:gd name="connsiteY67" fmla="*/ 823153 h 1701544"/>
                <a:gd name="connsiteX68" fmla="*/ 5008683 w 10575647"/>
                <a:gd name="connsiteY68" fmla="*/ 529677 h 1701544"/>
                <a:gd name="connsiteX69" fmla="*/ 5200378 w 10575647"/>
                <a:gd name="connsiteY69" fmla="*/ 617081 h 1701544"/>
                <a:gd name="connsiteX70" fmla="*/ 5261608 w 10575647"/>
                <a:gd name="connsiteY70" fmla="*/ 828654 h 1701544"/>
                <a:gd name="connsiteX71" fmla="*/ 5327264 w 10575647"/>
                <a:gd name="connsiteY71" fmla="*/ 1583314 h 1701544"/>
                <a:gd name="connsiteX72" fmla="*/ 5446113 w 10575647"/>
                <a:gd name="connsiteY72" fmla="*/ 1256819 h 1701544"/>
                <a:gd name="connsiteX73" fmla="*/ 5446113 w 10575647"/>
                <a:gd name="connsiteY73" fmla="*/ 380187 h 1701544"/>
                <a:gd name="connsiteX74" fmla="*/ 5265239 w 10575647"/>
                <a:gd name="connsiteY74" fmla="*/ 380187 h 1701544"/>
                <a:gd name="connsiteX75" fmla="*/ 5265239 w 10575647"/>
                <a:gd name="connsiteY75" fmla="*/ 488537 h 1701544"/>
                <a:gd name="connsiteX76" fmla="*/ 4982875 w 10575647"/>
                <a:gd name="connsiteY76" fmla="*/ 359885 h 1701544"/>
                <a:gd name="connsiteX77" fmla="*/ 4699394 w 10575647"/>
                <a:gd name="connsiteY77" fmla="*/ 465190 h 1701544"/>
                <a:gd name="connsiteX78" fmla="*/ 4558400 w 10575647"/>
                <a:gd name="connsiteY78" fmla="*/ 828654 h 1701544"/>
                <a:gd name="connsiteX79" fmla="*/ 4971816 w 10575647"/>
                <a:gd name="connsiteY79" fmla="*/ 1291865 h 1701544"/>
                <a:gd name="connsiteX80" fmla="*/ 5265239 w 10575647"/>
                <a:gd name="connsiteY80" fmla="*/ 1150553 h 1701544"/>
                <a:gd name="connsiteX81" fmla="*/ 5265239 w 10575647"/>
                <a:gd name="connsiteY81" fmla="*/ 1267931 h 1701544"/>
                <a:gd name="connsiteX82" fmla="*/ 5206095 w 10575647"/>
                <a:gd name="connsiteY82" fmla="*/ 1457116 h 1701544"/>
                <a:gd name="connsiteX83" fmla="*/ 4999546 w 10575647"/>
                <a:gd name="connsiteY83" fmla="*/ 1533625 h 1701544"/>
                <a:gd name="connsiteX84" fmla="*/ 4811695 w 10575647"/>
                <a:gd name="connsiteY84" fmla="*/ 1487409 h 1701544"/>
                <a:gd name="connsiteX85" fmla="*/ 4733588 w 10575647"/>
                <a:gd name="connsiteY85" fmla="*/ 1416300 h 1701544"/>
                <a:gd name="connsiteX86" fmla="*/ 4719215 w 10575647"/>
                <a:gd name="connsiteY86" fmla="*/ 1401339 h 1701544"/>
                <a:gd name="connsiteX87" fmla="*/ 4595103 w 10575647"/>
                <a:gd name="connsiteY87" fmla="*/ 1525451 h 1701544"/>
                <a:gd name="connsiteX88" fmla="*/ 4607819 w 10575647"/>
                <a:gd name="connsiteY88" fmla="*/ 1539824 h 1701544"/>
                <a:gd name="connsiteX89" fmla="*/ 4999546 w 10575647"/>
                <a:gd name="connsiteY89" fmla="*/ 1701544 h 1701544"/>
                <a:gd name="connsiteX90" fmla="*/ 5327264 w 10575647"/>
                <a:gd name="connsiteY90" fmla="*/ 1583314 h 1701544"/>
                <a:gd name="connsiteX91" fmla="*/ 6317923 w 10575647"/>
                <a:gd name="connsiteY91" fmla="*/ 747497 h 1701544"/>
                <a:gd name="connsiteX92" fmla="*/ 5805203 w 10575647"/>
                <a:gd name="connsiteY92" fmla="*/ 747497 h 1701544"/>
                <a:gd name="connsiteX93" fmla="*/ 5845913 w 10575647"/>
                <a:gd name="connsiteY93" fmla="*/ 635144 h 1701544"/>
                <a:gd name="connsiteX94" fmla="*/ 6057989 w 10575647"/>
                <a:gd name="connsiteY94" fmla="*/ 525990 h 1701544"/>
                <a:gd name="connsiteX95" fmla="*/ 6275730 w 10575647"/>
                <a:gd name="connsiteY95" fmla="*/ 633487 h 1701544"/>
                <a:gd name="connsiteX96" fmla="*/ 6317923 w 10575647"/>
                <a:gd name="connsiteY96" fmla="*/ 747497 h 1701544"/>
                <a:gd name="connsiteX97" fmla="*/ 6508188 w 10575647"/>
                <a:gd name="connsiteY97" fmla="*/ 872890 h 1701544"/>
                <a:gd name="connsiteX98" fmla="*/ 6510094 w 10575647"/>
                <a:gd name="connsiteY98" fmla="*/ 815779 h 1701544"/>
                <a:gd name="connsiteX99" fmla="*/ 6057989 w 10575647"/>
                <a:gd name="connsiteY99" fmla="*/ 359885 h 1701544"/>
                <a:gd name="connsiteX100" fmla="*/ 5609538 w 10575647"/>
                <a:gd name="connsiteY100" fmla="*/ 828654 h 1701544"/>
                <a:gd name="connsiteX101" fmla="*/ 6063495 w 10575647"/>
                <a:gd name="connsiteY101" fmla="*/ 1291865 h 1701544"/>
                <a:gd name="connsiteX102" fmla="*/ 6460066 w 10575647"/>
                <a:gd name="connsiteY102" fmla="*/ 1051710 h 1701544"/>
                <a:gd name="connsiteX103" fmla="*/ 6469966 w 10575647"/>
                <a:gd name="connsiteY103" fmla="*/ 1031572 h 1701544"/>
                <a:gd name="connsiteX104" fmla="*/ 6308923 w 10575647"/>
                <a:gd name="connsiteY104" fmla="*/ 971517 h 1701544"/>
                <a:gd name="connsiteX105" fmla="*/ 6300559 w 10575647"/>
                <a:gd name="connsiteY105" fmla="*/ 986689 h 1701544"/>
                <a:gd name="connsiteX106" fmla="*/ 6063495 w 10575647"/>
                <a:gd name="connsiteY106" fmla="*/ 1122077 h 1701544"/>
                <a:gd name="connsiteX107" fmla="*/ 5850784 w 10575647"/>
                <a:gd name="connsiteY107" fmla="*/ 1013832 h 1701544"/>
                <a:gd name="connsiteX108" fmla="*/ 5802132 w 10575647"/>
                <a:gd name="connsiteY108" fmla="*/ 891377 h 1701544"/>
                <a:gd name="connsiteX109" fmla="*/ 6506547 w 10575647"/>
                <a:gd name="connsiteY109" fmla="*/ 891377 h 1701544"/>
                <a:gd name="connsiteX110" fmla="*/ 6508188 w 10575647"/>
                <a:gd name="connsiteY110" fmla="*/ 872890 h 1701544"/>
                <a:gd name="connsiteX111" fmla="*/ 7205139 w 10575647"/>
                <a:gd name="connsiteY111" fmla="*/ 1271563 h 1701544"/>
                <a:gd name="connsiteX112" fmla="*/ 7385928 w 10575647"/>
                <a:gd name="connsiteY112" fmla="*/ 1271563 h 1701544"/>
                <a:gd name="connsiteX113" fmla="*/ 7385928 w 10575647"/>
                <a:gd name="connsiteY113" fmla="*/ 677294 h 1701544"/>
                <a:gd name="connsiteX114" fmla="*/ 7307154 w 10575647"/>
                <a:gd name="connsiteY114" fmla="*/ 435163 h 1701544"/>
                <a:gd name="connsiteX115" fmla="*/ 7096189 w 10575647"/>
                <a:gd name="connsiteY115" fmla="*/ 359885 h 1701544"/>
                <a:gd name="connsiteX116" fmla="*/ 6863625 w 10575647"/>
                <a:gd name="connsiteY116" fmla="*/ 463694 h 1701544"/>
                <a:gd name="connsiteX117" fmla="*/ 6863625 w 10575647"/>
                <a:gd name="connsiteY117" fmla="*/ 380187 h 1701544"/>
                <a:gd name="connsiteX118" fmla="*/ 6682836 w 10575647"/>
                <a:gd name="connsiteY118" fmla="*/ 380187 h 1701544"/>
                <a:gd name="connsiteX119" fmla="*/ 6682836 w 10575647"/>
                <a:gd name="connsiteY119" fmla="*/ 1271563 h 1701544"/>
                <a:gd name="connsiteX120" fmla="*/ 6863625 w 10575647"/>
                <a:gd name="connsiteY120" fmla="*/ 1271563 h 1701544"/>
                <a:gd name="connsiteX121" fmla="*/ 6863625 w 10575647"/>
                <a:gd name="connsiteY121" fmla="*/ 732701 h 1701544"/>
                <a:gd name="connsiteX122" fmla="*/ 6913971 w 10575647"/>
                <a:gd name="connsiteY122" fmla="*/ 591066 h 1701544"/>
                <a:gd name="connsiteX123" fmla="*/ 7061143 w 10575647"/>
                <a:gd name="connsiteY123" fmla="*/ 525990 h 1701544"/>
                <a:gd name="connsiteX124" fmla="*/ 7177769 w 10575647"/>
                <a:gd name="connsiteY124" fmla="*/ 575089 h 1701544"/>
                <a:gd name="connsiteX125" fmla="*/ 7205139 w 10575647"/>
                <a:gd name="connsiteY125" fmla="*/ 708709 h 1701544"/>
                <a:gd name="connsiteX126" fmla="*/ 7205139 w 10575647"/>
                <a:gd name="connsiteY126" fmla="*/ 1271563 h 1701544"/>
                <a:gd name="connsiteX127" fmla="*/ 7822309 w 10575647"/>
                <a:gd name="connsiteY127" fmla="*/ 162418 h 1701544"/>
                <a:gd name="connsiteX128" fmla="*/ 7713412 w 10575647"/>
                <a:gd name="connsiteY128" fmla="*/ 49847 h 1701544"/>
                <a:gd name="connsiteX129" fmla="*/ 7602662 w 10575647"/>
                <a:gd name="connsiteY129" fmla="*/ 160549 h 1701544"/>
                <a:gd name="connsiteX130" fmla="*/ 7711560 w 10575647"/>
                <a:gd name="connsiteY130" fmla="*/ 271303 h 1701544"/>
                <a:gd name="connsiteX131" fmla="*/ 7822309 w 10575647"/>
                <a:gd name="connsiteY131" fmla="*/ 162418 h 1701544"/>
                <a:gd name="connsiteX132" fmla="*/ 8704760 w 10575647"/>
                <a:gd name="connsiteY132" fmla="*/ 826838 h 1701544"/>
                <a:gd name="connsiteX133" fmla="*/ 8437150 w 10575647"/>
                <a:gd name="connsiteY133" fmla="*/ 1122077 h 1701544"/>
                <a:gd name="connsiteX134" fmla="*/ 8167740 w 10575647"/>
                <a:gd name="connsiteY134" fmla="*/ 826838 h 1701544"/>
                <a:gd name="connsiteX135" fmla="*/ 8439003 w 10575647"/>
                <a:gd name="connsiteY135" fmla="*/ 529677 h 1701544"/>
                <a:gd name="connsiteX136" fmla="*/ 8704760 w 10575647"/>
                <a:gd name="connsiteY136" fmla="*/ 826838 h 1701544"/>
                <a:gd name="connsiteX137" fmla="*/ 8889307 w 10575647"/>
                <a:gd name="connsiteY137" fmla="*/ 828654 h 1701544"/>
                <a:gd name="connsiteX138" fmla="*/ 8439003 w 10575647"/>
                <a:gd name="connsiteY138" fmla="*/ 359885 h 1701544"/>
                <a:gd name="connsiteX139" fmla="*/ 7983193 w 10575647"/>
                <a:gd name="connsiteY139" fmla="*/ 824916 h 1701544"/>
                <a:gd name="connsiteX140" fmla="*/ 8433444 w 10575647"/>
                <a:gd name="connsiteY140" fmla="*/ 1291865 h 1701544"/>
                <a:gd name="connsiteX141" fmla="*/ 8889307 w 10575647"/>
                <a:gd name="connsiteY141" fmla="*/ 828654 h 1701544"/>
                <a:gd name="connsiteX142" fmla="*/ 9658150 w 10575647"/>
                <a:gd name="connsiteY142" fmla="*/ 1197940 h 1701544"/>
                <a:gd name="connsiteX143" fmla="*/ 9749630 w 10575647"/>
                <a:gd name="connsiteY143" fmla="*/ 944968 h 1701544"/>
                <a:gd name="connsiteX144" fmla="*/ 9749630 w 10575647"/>
                <a:gd name="connsiteY144" fmla="*/ 380187 h 1701544"/>
                <a:gd name="connsiteX145" fmla="*/ 9566988 w 10575647"/>
                <a:gd name="connsiteY145" fmla="*/ 380187 h 1701544"/>
                <a:gd name="connsiteX146" fmla="*/ 9566988 w 10575647"/>
                <a:gd name="connsiteY146" fmla="*/ 944968 h 1701544"/>
                <a:gd name="connsiteX147" fmla="*/ 9535012 w 10575647"/>
                <a:gd name="connsiteY147" fmla="*/ 1068222 h 1701544"/>
                <a:gd name="connsiteX148" fmla="*/ 9399010 w 10575647"/>
                <a:gd name="connsiteY148" fmla="*/ 1125815 h 1701544"/>
                <a:gd name="connsiteX149" fmla="*/ 9229233 w 10575647"/>
                <a:gd name="connsiteY149" fmla="*/ 941225 h 1701544"/>
                <a:gd name="connsiteX150" fmla="*/ 9229233 w 10575647"/>
                <a:gd name="connsiteY150" fmla="*/ 380187 h 1701544"/>
                <a:gd name="connsiteX151" fmla="*/ 9048391 w 10575647"/>
                <a:gd name="connsiteY151" fmla="*/ 380187 h 1701544"/>
                <a:gd name="connsiteX152" fmla="*/ 9048391 w 10575647"/>
                <a:gd name="connsiteY152" fmla="*/ 944968 h 1701544"/>
                <a:gd name="connsiteX153" fmla="*/ 9139659 w 10575647"/>
                <a:gd name="connsiteY153" fmla="*/ 1195965 h 1701544"/>
                <a:gd name="connsiteX154" fmla="*/ 9399010 w 10575647"/>
                <a:gd name="connsiteY154" fmla="*/ 1291865 h 1701544"/>
                <a:gd name="connsiteX155" fmla="*/ 9658150 w 10575647"/>
                <a:gd name="connsiteY155" fmla="*/ 1197945 h 1701544"/>
                <a:gd name="connsiteX156" fmla="*/ 10385594 w 10575647"/>
                <a:gd name="connsiteY156" fmla="*/ 653307 h 1701544"/>
                <a:gd name="connsiteX157" fmla="*/ 10567335 w 10575647"/>
                <a:gd name="connsiteY157" fmla="*/ 653307 h 1701544"/>
                <a:gd name="connsiteX158" fmla="*/ 10566383 w 10575647"/>
                <a:gd name="connsiteY158" fmla="*/ 632041 h 1701544"/>
                <a:gd name="connsiteX159" fmla="*/ 10249009 w 10575647"/>
                <a:gd name="connsiteY159" fmla="*/ 359885 h 1701544"/>
                <a:gd name="connsiteX160" fmla="*/ 9929730 w 10575647"/>
                <a:gd name="connsiteY160" fmla="*/ 627446 h 1701544"/>
                <a:gd name="connsiteX161" fmla="*/ 10212587 w 10575647"/>
                <a:gd name="connsiteY161" fmla="*/ 903611 h 1701544"/>
                <a:gd name="connsiteX162" fmla="*/ 10391099 w 10575647"/>
                <a:gd name="connsiteY162" fmla="*/ 1031625 h 1701544"/>
                <a:gd name="connsiteX163" fmla="*/ 10252715 w 10575647"/>
                <a:gd name="connsiteY163" fmla="*/ 1136874 h 1701544"/>
                <a:gd name="connsiteX164" fmla="*/ 10093843 w 10575647"/>
                <a:gd name="connsiteY164" fmla="*/ 1007579 h 1701544"/>
                <a:gd name="connsiteX165" fmla="*/ 10092096 w 10575647"/>
                <a:gd name="connsiteY165" fmla="*/ 989257 h 1701544"/>
                <a:gd name="connsiteX166" fmla="*/ 9913054 w 10575647"/>
                <a:gd name="connsiteY166" fmla="*/ 989257 h 1701544"/>
                <a:gd name="connsiteX167" fmla="*/ 9915066 w 10575647"/>
                <a:gd name="connsiteY167" fmla="*/ 1011216 h 1701544"/>
                <a:gd name="connsiteX168" fmla="*/ 10252715 w 10575647"/>
                <a:gd name="connsiteY168" fmla="*/ 1291865 h 1701544"/>
                <a:gd name="connsiteX169" fmla="*/ 10575647 w 10575647"/>
                <a:gd name="connsiteY169" fmla="*/ 1024303 h 1701544"/>
                <a:gd name="connsiteX170" fmla="*/ 10501426 w 10575647"/>
                <a:gd name="connsiteY170" fmla="*/ 843879 h 1701544"/>
                <a:gd name="connsiteX171" fmla="*/ 10285750 w 10575647"/>
                <a:gd name="connsiteY171" fmla="*/ 740769 h 1701544"/>
                <a:gd name="connsiteX172" fmla="*/ 10110519 w 10575647"/>
                <a:gd name="connsiteY172" fmla="*/ 616440 h 1701544"/>
                <a:gd name="connsiteX173" fmla="*/ 10243398 w 10575647"/>
                <a:gd name="connsiteY173" fmla="*/ 514877 h 1701544"/>
                <a:gd name="connsiteX174" fmla="*/ 10385594 w 10575647"/>
                <a:gd name="connsiteY174" fmla="*/ 623762 h 1701544"/>
                <a:gd name="connsiteX175" fmla="*/ 10385594 w 10575647"/>
                <a:gd name="connsiteY175" fmla="*/ 653307 h 170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10575647" h="1701544">
                  <a:moveTo>
                    <a:pt x="7802033" y="380187"/>
                  </a:moveTo>
                  <a:lnTo>
                    <a:pt x="7621138" y="380187"/>
                  </a:lnTo>
                  <a:lnTo>
                    <a:pt x="7621138" y="1271563"/>
                  </a:lnTo>
                  <a:lnTo>
                    <a:pt x="7802033" y="1271563"/>
                  </a:lnTo>
                  <a:lnTo>
                    <a:pt x="7802033" y="380187"/>
                  </a:lnTo>
                  <a:close/>
                  <a:moveTo>
                    <a:pt x="706522" y="1271563"/>
                  </a:moveTo>
                  <a:lnTo>
                    <a:pt x="902065" y="1271563"/>
                  </a:lnTo>
                  <a:lnTo>
                    <a:pt x="902065" y="0"/>
                  </a:lnTo>
                  <a:lnTo>
                    <a:pt x="706522" y="0"/>
                  </a:lnTo>
                  <a:lnTo>
                    <a:pt x="706522" y="553717"/>
                  </a:lnTo>
                  <a:lnTo>
                    <a:pt x="195543" y="553717"/>
                  </a:lnTo>
                  <a:lnTo>
                    <a:pt x="195543" y="0"/>
                  </a:lnTo>
                  <a:lnTo>
                    <a:pt x="0" y="0"/>
                  </a:lnTo>
                  <a:lnTo>
                    <a:pt x="0" y="1271563"/>
                  </a:lnTo>
                  <a:lnTo>
                    <a:pt x="195543" y="1271563"/>
                  </a:lnTo>
                  <a:lnTo>
                    <a:pt x="195543" y="727142"/>
                  </a:lnTo>
                  <a:lnTo>
                    <a:pt x="706522" y="727142"/>
                  </a:lnTo>
                  <a:lnTo>
                    <a:pt x="706522" y="1271563"/>
                  </a:lnTo>
                  <a:close/>
                  <a:moveTo>
                    <a:pt x="1306185" y="1690649"/>
                  </a:moveTo>
                  <a:lnTo>
                    <a:pt x="1654904" y="1036061"/>
                  </a:lnTo>
                  <a:lnTo>
                    <a:pt x="1306185" y="381469"/>
                  </a:lnTo>
                  <a:lnTo>
                    <a:pt x="1090234" y="381469"/>
                  </a:lnTo>
                  <a:lnTo>
                    <a:pt x="1438900" y="1036061"/>
                  </a:lnTo>
                  <a:lnTo>
                    <a:pt x="1090234" y="1690649"/>
                  </a:lnTo>
                  <a:lnTo>
                    <a:pt x="1306185" y="1690649"/>
                  </a:lnTo>
                  <a:close/>
                  <a:moveTo>
                    <a:pt x="2581808" y="828654"/>
                  </a:moveTo>
                  <a:cubicBezTo>
                    <a:pt x="2581808" y="1002989"/>
                    <a:pt x="2470789" y="1129505"/>
                    <a:pt x="2317883" y="1129505"/>
                  </a:cubicBezTo>
                  <a:cubicBezTo>
                    <a:pt x="2168980" y="1129505"/>
                    <a:pt x="2065011" y="1007262"/>
                    <a:pt x="2065011" y="832338"/>
                  </a:cubicBezTo>
                  <a:cubicBezTo>
                    <a:pt x="2065011" y="649088"/>
                    <a:pt x="2170314" y="525990"/>
                    <a:pt x="2327068" y="525990"/>
                  </a:cubicBezTo>
                  <a:cubicBezTo>
                    <a:pt x="2479444" y="525990"/>
                    <a:pt x="2581808" y="647590"/>
                    <a:pt x="2581808" y="828654"/>
                  </a:cubicBezTo>
                  <a:moveTo>
                    <a:pt x="2581808" y="1271563"/>
                  </a:moveTo>
                  <a:lnTo>
                    <a:pt x="2762608" y="1271563"/>
                  </a:lnTo>
                  <a:lnTo>
                    <a:pt x="2762608" y="0"/>
                  </a:lnTo>
                  <a:lnTo>
                    <a:pt x="2581808" y="0"/>
                  </a:lnTo>
                  <a:lnTo>
                    <a:pt x="2581808" y="476356"/>
                  </a:lnTo>
                  <a:cubicBezTo>
                    <a:pt x="2503431" y="397017"/>
                    <a:pt x="2412449" y="359885"/>
                    <a:pt x="2297581" y="359885"/>
                  </a:cubicBezTo>
                  <a:cubicBezTo>
                    <a:pt x="2057690" y="359885"/>
                    <a:pt x="1876785" y="562214"/>
                    <a:pt x="1876785" y="830470"/>
                  </a:cubicBezTo>
                  <a:cubicBezTo>
                    <a:pt x="1876785" y="1102145"/>
                    <a:pt x="2049839" y="1291865"/>
                    <a:pt x="2297581" y="1291865"/>
                  </a:cubicBezTo>
                  <a:cubicBezTo>
                    <a:pt x="2414371" y="1291865"/>
                    <a:pt x="2503061" y="1251959"/>
                    <a:pt x="2581808" y="1163217"/>
                  </a:cubicBezTo>
                  <a:lnTo>
                    <a:pt x="2581808" y="1271563"/>
                  </a:lnTo>
                  <a:close/>
                  <a:moveTo>
                    <a:pt x="3437445" y="542393"/>
                  </a:moveTo>
                  <a:lnTo>
                    <a:pt x="3460310" y="545331"/>
                  </a:lnTo>
                  <a:lnTo>
                    <a:pt x="3460310" y="359885"/>
                  </a:lnTo>
                  <a:lnTo>
                    <a:pt x="3406830" y="359885"/>
                  </a:lnTo>
                  <a:cubicBezTo>
                    <a:pt x="3341169" y="359885"/>
                    <a:pt x="3277430" y="380294"/>
                    <a:pt x="3231965" y="415877"/>
                  </a:cubicBezTo>
                  <a:cubicBezTo>
                    <a:pt x="3213690" y="430035"/>
                    <a:pt x="3199693" y="444353"/>
                    <a:pt x="3187194" y="462091"/>
                  </a:cubicBezTo>
                  <a:lnTo>
                    <a:pt x="3187194" y="380187"/>
                  </a:lnTo>
                  <a:lnTo>
                    <a:pt x="3006395" y="380187"/>
                  </a:lnTo>
                  <a:lnTo>
                    <a:pt x="3006395" y="1271563"/>
                  </a:lnTo>
                  <a:lnTo>
                    <a:pt x="3187194" y="1271563"/>
                  </a:lnTo>
                  <a:lnTo>
                    <a:pt x="3187194" y="819411"/>
                  </a:lnTo>
                  <a:cubicBezTo>
                    <a:pt x="3187194" y="727783"/>
                    <a:pt x="3198894" y="679915"/>
                    <a:pt x="3233517" y="629638"/>
                  </a:cubicBezTo>
                  <a:cubicBezTo>
                    <a:pt x="3272300" y="572310"/>
                    <a:pt x="3331926" y="540683"/>
                    <a:pt x="3401277" y="540683"/>
                  </a:cubicBezTo>
                  <a:cubicBezTo>
                    <a:pt x="3410356" y="540683"/>
                    <a:pt x="3423983" y="540683"/>
                    <a:pt x="3437445" y="542393"/>
                  </a:cubicBezTo>
                  <a:moveTo>
                    <a:pt x="4250980" y="826838"/>
                  </a:moveTo>
                  <a:cubicBezTo>
                    <a:pt x="4250980" y="1000692"/>
                    <a:pt x="4140918" y="1122077"/>
                    <a:pt x="3983364" y="1122077"/>
                  </a:cubicBezTo>
                  <a:cubicBezTo>
                    <a:pt x="3822174" y="1122077"/>
                    <a:pt x="3713875" y="1003466"/>
                    <a:pt x="3713875" y="826838"/>
                  </a:cubicBezTo>
                  <a:cubicBezTo>
                    <a:pt x="3713875" y="649088"/>
                    <a:pt x="3822920" y="529677"/>
                    <a:pt x="3985180" y="529677"/>
                  </a:cubicBezTo>
                  <a:cubicBezTo>
                    <a:pt x="4144179" y="529677"/>
                    <a:pt x="4250980" y="649088"/>
                    <a:pt x="4250980" y="826838"/>
                  </a:cubicBezTo>
                  <a:moveTo>
                    <a:pt x="4435464" y="828654"/>
                  </a:moveTo>
                  <a:cubicBezTo>
                    <a:pt x="4435464" y="557084"/>
                    <a:pt x="4246120" y="359885"/>
                    <a:pt x="3985180" y="359885"/>
                  </a:cubicBezTo>
                  <a:cubicBezTo>
                    <a:pt x="3716818" y="359885"/>
                    <a:pt x="3529338" y="551155"/>
                    <a:pt x="3529338" y="824916"/>
                  </a:cubicBezTo>
                  <a:cubicBezTo>
                    <a:pt x="3529338" y="1099848"/>
                    <a:pt x="3714521" y="1291865"/>
                    <a:pt x="3979622" y="1291865"/>
                  </a:cubicBezTo>
                  <a:cubicBezTo>
                    <a:pt x="4235272" y="1291865"/>
                    <a:pt x="4435464" y="1088418"/>
                    <a:pt x="4435464" y="828654"/>
                  </a:cubicBezTo>
                  <a:moveTo>
                    <a:pt x="5261608" y="828654"/>
                  </a:moveTo>
                  <a:cubicBezTo>
                    <a:pt x="5261608" y="909382"/>
                    <a:pt x="5239596" y="986748"/>
                    <a:pt x="5205508" y="1025854"/>
                  </a:cubicBezTo>
                  <a:cubicBezTo>
                    <a:pt x="5153150" y="1087026"/>
                    <a:pt x="5080062" y="1122077"/>
                    <a:pt x="5005052" y="1122077"/>
                  </a:cubicBezTo>
                  <a:cubicBezTo>
                    <a:pt x="4855296" y="1122077"/>
                    <a:pt x="4746675" y="996361"/>
                    <a:pt x="4746675" y="823153"/>
                  </a:cubicBezTo>
                  <a:cubicBezTo>
                    <a:pt x="4746675" y="650316"/>
                    <a:pt x="4854386" y="529677"/>
                    <a:pt x="5008683" y="529677"/>
                  </a:cubicBezTo>
                  <a:cubicBezTo>
                    <a:pt x="5078193" y="529677"/>
                    <a:pt x="5151652" y="563177"/>
                    <a:pt x="5200378" y="617081"/>
                  </a:cubicBezTo>
                  <a:cubicBezTo>
                    <a:pt x="5246112" y="667892"/>
                    <a:pt x="5261608" y="721266"/>
                    <a:pt x="5261608" y="828654"/>
                  </a:cubicBezTo>
                  <a:moveTo>
                    <a:pt x="5327264" y="1583314"/>
                  </a:moveTo>
                  <a:cubicBezTo>
                    <a:pt x="5409426" y="1504990"/>
                    <a:pt x="5446113" y="1404277"/>
                    <a:pt x="5446113" y="1256819"/>
                  </a:cubicBezTo>
                  <a:lnTo>
                    <a:pt x="5446113" y="380187"/>
                  </a:lnTo>
                  <a:lnTo>
                    <a:pt x="5265239" y="380187"/>
                  </a:lnTo>
                  <a:lnTo>
                    <a:pt x="5265239" y="488537"/>
                  </a:lnTo>
                  <a:cubicBezTo>
                    <a:pt x="5186005" y="398673"/>
                    <a:pt x="5100153" y="359885"/>
                    <a:pt x="4982875" y="359885"/>
                  </a:cubicBezTo>
                  <a:cubicBezTo>
                    <a:pt x="4866567" y="359885"/>
                    <a:pt x="4771201" y="395361"/>
                    <a:pt x="4699394" y="465190"/>
                  </a:cubicBezTo>
                  <a:cubicBezTo>
                    <a:pt x="4611080" y="549710"/>
                    <a:pt x="4558400" y="685574"/>
                    <a:pt x="4558400" y="828654"/>
                  </a:cubicBezTo>
                  <a:cubicBezTo>
                    <a:pt x="4558400" y="1092743"/>
                    <a:pt x="4736097" y="1291865"/>
                    <a:pt x="4971816" y="1291865"/>
                  </a:cubicBezTo>
                  <a:cubicBezTo>
                    <a:pt x="5092032" y="1291865"/>
                    <a:pt x="5185952" y="1246830"/>
                    <a:pt x="5265239" y="1150553"/>
                  </a:cubicBezTo>
                  <a:lnTo>
                    <a:pt x="5265239" y="1267931"/>
                  </a:lnTo>
                  <a:cubicBezTo>
                    <a:pt x="5265239" y="1350745"/>
                    <a:pt x="5245313" y="1414431"/>
                    <a:pt x="5206095" y="1457116"/>
                  </a:cubicBezTo>
                  <a:cubicBezTo>
                    <a:pt x="5162288" y="1504291"/>
                    <a:pt x="5083159" y="1533625"/>
                    <a:pt x="4999546" y="1533625"/>
                  </a:cubicBezTo>
                  <a:cubicBezTo>
                    <a:pt x="4932122" y="1533625"/>
                    <a:pt x="4856471" y="1514979"/>
                    <a:pt x="4811695" y="1487409"/>
                  </a:cubicBezTo>
                  <a:cubicBezTo>
                    <a:pt x="4788777" y="1471596"/>
                    <a:pt x="4771254" y="1455624"/>
                    <a:pt x="4733588" y="1416300"/>
                  </a:cubicBezTo>
                  <a:lnTo>
                    <a:pt x="4719215" y="1401339"/>
                  </a:lnTo>
                  <a:lnTo>
                    <a:pt x="4595103" y="1525451"/>
                  </a:lnTo>
                  <a:lnTo>
                    <a:pt x="4607819" y="1539824"/>
                  </a:lnTo>
                  <a:cubicBezTo>
                    <a:pt x="4703719" y="1647106"/>
                    <a:pt x="4835528" y="1701544"/>
                    <a:pt x="4999546" y="1701544"/>
                  </a:cubicBezTo>
                  <a:cubicBezTo>
                    <a:pt x="5134664" y="1701544"/>
                    <a:pt x="5247981" y="1660675"/>
                    <a:pt x="5327264" y="1583314"/>
                  </a:cubicBezTo>
                  <a:moveTo>
                    <a:pt x="6317923" y="747497"/>
                  </a:moveTo>
                  <a:lnTo>
                    <a:pt x="5805203" y="747497"/>
                  </a:lnTo>
                  <a:cubicBezTo>
                    <a:pt x="5814785" y="696051"/>
                    <a:pt x="5825267" y="667627"/>
                    <a:pt x="5845913" y="635144"/>
                  </a:cubicBezTo>
                  <a:cubicBezTo>
                    <a:pt x="5892024" y="566756"/>
                    <a:pt x="5971327" y="525990"/>
                    <a:pt x="6057989" y="525990"/>
                  </a:cubicBezTo>
                  <a:cubicBezTo>
                    <a:pt x="6144228" y="525990"/>
                    <a:pt x="6225702" y="566274"/>
                    <a:pt x="6275730" y="633487"/>
                  </a:cubicBezTo>
                  <a:cubicBezTo>
                    <a:pt x="6300453" y="669067"/>
                    <a:pt x="6312047" y="699841"/>
                    <a:pt x="6317923" y="747497"/>
                  </a:cubicBezTo>
                  <a:moveTo>
                    <a:pt x="6508188" y="872890"/>
                  </a:moveTo>
                  <a:cubicBezTo>
                    <a:pt x="6510094" y="851683"/>
                    <a:pt x="6510094" y="827426"/>
                    <a:pt x="6510094" y="815779"/>
                  </a:cubicBezTo>
                  <a:cubicBezTo>
                    <a:pt x="6510094" y="555909"/>
                    <a:pt x="6315700" y="359885"/>
                    <a:pt x="6057989" y="359885"/>
                  </a:cubicBezTo>
                  <a:cubicBezTo>
                    <a:pt x="5798109" y="359885"/>
                    <a:pt x="5609538" y="557084"/>
                    <a:pt x="5609538" y="828654"/>
                  </a:cubicBezTo>
                  <a:cubicBezTo>
                    <a:pt x="5609538" y="1097074"/>
                    <a:pt x="5800491" y="1291865"/>
                    <a:pt x="6063495" y="1291865"/>
                  </a:cubicBezTo>
                  <a:cubicBezTo>
                    <a:pt x="6235020" y="1291865"/>
                    <a:pt x="6386956" y="1199867"/>
                    <a:pt x="6460066" y="1051710"/>
                  </a:cubicBezTo>
                  <a:lnTo>
                    <a:pt x="6469966" y="1031572"/>
                  </a:lnTo>
                  <a:lnTo>
                    <a:pt x="6308923" y="971517"/>
                  </a:lnTo>
                  <a:lnTo>
                    <a:pt x="6300559" y="986689"/>
                  </a:lnTo>
                  <a:cubicBezTo>
                    <a:pt x="6254237" y="1068968"/>
                    <a:pt x="6161169" y="1122077"/>
                    <a:pt x="6063495" y="1122077"/>
                  </a:cubicBezTo>
                  <a:cubicBezTo>
                    <a:pt x="5977415" y="1122077"/>
                    <a:pt x="5901923" y="1083664"/>
                    <a:pt x="5850784" y="1013832"/>
                  </a:cubicBezTo>
                  <a:cubicBezTo>
                    <a:pt x="5821932" y="975900"/>
                    <a:pt x="5809438" y="945021"/>
                    <a:pt x="5802132" y="891377"/>
                  </a:cubicBezTo>
                  <a:lnTo>
                    <a:pt x="6506547" y="891377"/>
                  </a:lnTo>
                  <a:lnTo>
                    <a:pt x="6508188" y="872890"/>
                  </a:lnTo>
                  <a:close/>
                  <a:moveTo>
                    <a:pt x="7205139" y="1271563"/>
                  </a:moveTo>
                  <a:lnTo>
                    <a:pt x="7385928" y="1271563"/>
                  </a:lnTo>
                  <a:lnTo>
                    <a:pt x="7385928" y="677294"/>
                  </a:lnTo>
                  <a:cubicBezTo>
                    <a:pt x="7385928" y="554734"/>
                    <a:pt x="7365387" y="491422"/>
                    <a:pt x="7307154" y="435163"/>
                  </a:cubicBezTo>
                  <a:cubicBezTo>
                    <a:pt x="7252520" y="386599"/>
                    <a:pt x="7177557" y="359885"/>
                    <a:pt x="7096189" y="359885"/>
                  </a:cubicBezTo>
                  <a:cubicBezTo>
                    <a:pt x="7000739" y="359885"/>
                    <a:pt x="6929853" y="391193"/>
                    <a:pt x="6863625" y="463694"/>
                  </a:cubicBezTo>
                  <a:lnTo>
                    <a:pt x="6863625" y="380187"/>
                  </a:lnTo>
                  <a:lnTo>
                    <a:pt x="6682836" y="380187"/>
                  </a:lnTo>
                  <a:lnTo>
                    <a:pt x="6682836" y="1271563"/>
                  </a:lnTo>
                  <a:lnTo>
                    <a:pt x="6863625" y="1271563"/>
                  </a:lnTo>
                  <a:lnTo>
                    <a:pt x="6863625" y="732701"/>
                  </a:lnTo>
                  <a:cubicBezTo>
                    <a:pt x="6863625" y="667839"/>
                    <a:pt x="6876278" y="632147"/>
                    <a:pt x="6913971" y="591066"/>
                  </a:cubicBezTo>
                  <a:cubicBezTo>
                    <a:pt x="6951505" y="548481"/>
                    <a:pt x="7002433" y="525990"/>
                    <a:pt x="7061143" y="525990"/>
                  </a:cubicBezTo>
                  <a:cubicBezTo>
                    <a:pt x="7110748" y="525990"/>
                    <a:pt x="7155428" y="544744"/>
                    <a:pt x="7177769" y="575089"/>
                  </a:cubicBezTo>
                  <a:cubicBezTo>
                    <a:pt x="7197410" y="601215"/>
                    <a:pt x="7205139" y="638722"/>
                    <a:pt x="7205139" y="708709"/>
                  </a:cubicBezTo>
                  <a:lnTo>
                    <a:pt x="7205139" y="1271563"/>
                  </a:lnTo>
                  <a:close/>
                  <a:moveTo>
                    <a:pt x="7822309" y="162418"/>
                  </a:moveTo>
                  <a:cubicBezTo>
                    <a:pt x="7822309" y="99268"/>
                    <a:pt x="7774452" y="49847"/>
                    <a:pt x="7713412" y="49847"/>
                  </a:cubicBezTo>
                  <a:cubicBezTo>
                    <a:pt x="7650255" y="49847"/>
                    <a:pt x="7602662" y="97451"/>
                    <a:pt x="7602662" y="160549"/>
                  </a:cubicBezTo>
                  <a:cubicBezTo>
                    <a:pt x="7602662" y="223699"/>
                    <a:pt x="7649514" y="271303"/>
                    <a:pt x="7711560" y="271303"/>
                  </a:cubicBezTo>
                  <a:cubicBezTo>
                    <a:pt x="7773711" y="271303"/>
                    <a:pt x="7822309" y="223432"/>
                    <a:pt x="7822309" y="162418"/>
                  </a:cubicBezTo>
                  <a:moveTo>
                    <a:pt x="8704760" y="826838"/>
                  </a:moveTo>
                  <a:cubicBezTo>
                    <a:pt x="8704760" y="1000692"/>
                    <a:pt x="8594751" y="1122077"/>
                    <a:pt x="8437150" y="1122077"/>
                  </a:cubicBezTo>
                  <a:cubicBezTo>
                    <a:pt x="8276002" y="1122077"/>
                    <a:pt x="8167740" y="1003466"/>
                    <a:pt x="8167740" y="826838"/>
                  </a:cubicBezTo>
                  <a:cubicBezTo>
                    <a:pt x="8167740" y="649088"/>
                    <a:pt x="8276743" y="529677"/>
                    <a:pt x="8439003" y="529677"/>
                  </a:cubicBezTo>
                  <a:cubicBezTo>
                    <a:pt x="8597980" y="529677"/>
                    <a:pt x="8704760" y="649088"/>
                    <a:pt x="8704760" y="826838"/>
                  </a:cubicBezTo>
                  <a:moveTo>
                    <a:pt x="8889307" y="828654"/>
                  </a:moveTo>
                  <a:cubicBezTo>
                    <a:pt x="8889307" y="557084"/>
                    <a:pt x="8699942" y="359885"/>
                    <a:pt x="8439003" y="359885"/>
                  </a:cubicBezTo>
                  <a:cubicBezTo>
                    <a:pt x="8170652" y="359885"/>
                    <a:pt x="7983193" y="551155"/>
                    <a:pt x="7983193" y="824916"/>
                  </a:cubicBezTo>
                  <a:cubicBezTo>
                    <a:pt x="7983193" y="1099848"/>
                    <a:pt x="8168375" y="1291865"/>
                    <a:pt x="8433444" y="1291865"/>
                  </a:cubicBezTo>
                  <a:cubicBezTo>
                    <a:pt x="8689089" y="1291865"/>
                    <a:pt x="8889307" y="1088418"/>
                    <a:pt x="8889307" y="828654"/>
                  </a:cubicBezTo>
                  <a:moveTo>
                    <a:pt x="9658150" y="1197940"/>
                  </a:moveTo>
                  <a:cubicBezTo>
                    <a:pt x="9724854" y="1137144"/>
                    <a:pt x="9749630" y="1068539"/>
                    <a:pt x="9749630" y="944968"/>
                  </a:cubicBezTo>
                  <a:lnTo>
                    <a:pt x="9749630" y="380187"/>
                  </a:lnTo>
                  <a:lnTo>
                    <a:pt x="9566988" y="380187"/>
                  </a:lnTo>
                  <a:lnTo>
                    <a:pt x="9566988" y="944968"/>
                  </a:lnTo>
                  <a:cubicBezTo>
                    <a:pt x="9566988" y="1008437"/>
                    <a:pt x="9558835" y="1039587"/>
                    <a:pt x="9535012" y="1068222"/>
                  </a:cubicBezTo>
                  <a:cubicBezTo>
                    <a:pt x="9503831" y="1104284"/>
                    <a:pt x="9453009" y="1125815"/>
                    <a:pt x="9399010" y="1125815"/>
                  </a:cubicBezTo>
                  <a:cubicBezTo>
                    <a:pt x="9299060" y="1125815"/>
                    <a:pt x="9229233" y="1049947"/>
                    <a:pt x="9229233" y="941225"/>
                  </a:cubicBezTo>
                  <a:lnTo>
                    <a:pt x="9229233" y="380187"/>
                  </a:lnTo>
                  <a:lnTo>
                    <a:pt x="9048391" y="380187"/>
                  </a:lnTo>
                  <a:lnTo>
                    <a:pt x="9048391" y="944968"/>
                  </a:lnTo>
                  <a:cubicBezTo>
                    <a:pt x="9048391" y="1054330"/>
                    <a:pt x="9078249" y="1136392"/>
                    <a:pt x="9139659" y="1195965"/>
                  </a:cubicBezTo>
                  <a:cubicBezTo>
                    <a:pt x="9204563" y="1256925"/>
                    <a:pt x="9299113" y="1291865"/>
                    <a:pt x="9399010" y="1291865"/>
                  </a:cubicBezTo>
                  <a:cubicBezTo>
                    <a:pt x="9499701" y="1291865"/>
                    <a:pt x="9591763" y="1258529"/>
                    <a:pt x="9658150" y="1197945"/>
                  </a:cubicBezTo>
                  <a:moveTo>
                    <a:pt x="10385594" y="653307"/>
                  </a:moveTo>
                  <a:lnTo>
                    <a:pt x="10567335" y="653307"/>
                  </a:lnTo>
                  <a:lnTo>
                    <a:pt x="10566383" y="632041"/>
                  </a:lnTo>
                  <a:cubicBezTo>
                    <a:pt x="10558442" y="459099"/>
                    <a:pt x="10442768" y="359885"/>
                    <a:pt x="10249009" y="359885"/>
                  </a:cubicBezTo>
                  <a:cubicBezTo>
                    <a:pt x="10058003" y="359885"/>
                    <a:pt x="9929730" y="467434"/>
                    <a:pt x="9929730" y="627446"/>
                  </a:cubicBezTo>
                  <a:cubicBezTo>
                    <a:pt x="9929730" y="765666"/>
                    <a:pt x="10016922" y="850825"/>
                    <a:pt x="10212587" y="903611"/>
                  </a:cubicBezTo>
                  <a:cubicBezTo>
                    <a:pt x="10347689" y="937858"/>
                    <a:pt x="10391099" y="968955"/>
                    <a:pt x="10391099" y="1031625"/>
                  </a:cubicBezTo>
                  <a:cubicBezTo>
                    <a:pt x="10391099" y="1095576"/>
                    <a:pt x="10336730" y="1136874"/>
                    <a:pt x="10252715" y="1136874"/>
                  </a:cubicBezTo>
                  <a:cubicBezTo>
                    <a:pt x="10155517" y="1136874"/>
                    <a:pt x="10102102" y="1093384"/>
                    <a:pt x="10093843" y="1007579"/>
                  </a:cubicBezTo>
                  <a:lnTo>
                    <a:pt x="10092096" y="989257"/>
                  </a:lnTo>
                  <a:lnTo>
                    <a:pt x="9913054" y="989257"/>
                  </a:lnTo>
                  <a:lnTo>
                    <a:pt x="9915066" y="1011216"/>
                  </a:lnTo>
                  <a:cubicBezTo>
                    <a:pt x="9930789" y="1194843"/>
                    <a:pt x="10047626" y="1291865"/>
                    <a:pt x="10252715" y="1291865"/>
                  </a:cubicBezTo>
                  <a:cubicBezTo>
                    <a:pt x="10445839" y="1291865"/>
                    <a:pt x="10575647" y="1184371"/>
                    <a:pt x="10575647" y="1024303"/>
                  </a:cubicBezTo>
                  <a:cubicBezTo>
                    <a:pt x="10575647" y="956667"/>
                    <a:pt x="10548542" y="890948"/>
                    <a:pt x="10501426" y="843879"/>
                  </a:cubicBezTo>
                  <a:cubicBezTo>
                    <a:pt x="10457485" y="799913"/>
                    <a:pt x="10397028" y="770955"/>
                    <a:pt x="10285750" y="740769"/>
                  </a:cubicBezTo>
                  <a:cubicBezTo>
                    <a:pt x="10125660" y="696474"/>
                    <a:pt x="10110519" y="671471"/>
                    <a:pt x="10110519" y="616440"/>
                  </a:cubicBezTo>
                  <a:cubicBezTo>
                    <a:pt x="10110519" y="553823"/>
                    <a:pt x="10161447" y="514877"/>
                    <a:pt x="10243398" y="514877"/>
                  </a:cubicBezTo>
                  <a:cubicBezTo>
                    <a:pt x="10329795" y="514877"/>
                    <a:pt x="10385594" y="557672"/>
                    <a:pt x="10385594" y="623762"/>
                  </a:cubicBezTo>
                  <a:lnTo>
                    <a:pt x="10385594" y="653307"/>
                  </a:ln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0277AE9E-702E-42BC-E879-62F297892586}"/>
              </a:ext>
            </a:extLst>
          </p:cNvPr>
          <p:cNvGrpSpPr/>
          <p:nvPr userDrawn="1"/>
        </p:nvGrpSpPr>
        <p:grpSpPr>
          <a:xfrm rot="5400000">
            <a:off x="-3617983" y="3323777"/>
            <a:ext cx="6854690" cy="213756"/>
            <a:chOff x="-1" y="-286346"/>
            <a:chExt cx="5820565" cy="181508"/>
          </a:xfrm>
        </p:grpSpPr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A3207691-E9FE-2B0A-1944-EC4FFFD2E729}"/>
                </a:ext>
              </a:extLst>
            </p:cNvPr>
            <p:cNvGrpSpPr/>
            <p:nvPr userDrawn="1"/>
          </p:nvGrpSpPr>
          <p:grpSpPr>
            <a:xfrm rot="16200000">
              <a:off x="363007" y="-649354"/>
              <a:ext cx="181503" cy="907520"/>
              <a:chOff x="1319213" y="-1663170"/>
              <a:chExt cx="181503" cy="907520"/>
            </a:xfrm>
          </p:grpSpPr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84A836F8-E2C3-8E79-D8DA-3BC5CA07F32A}"/>
                  </a:ext>
                </a:extLst>
              </p:cNvPr>
              <p:cNvSpPr/>
              <p:nvPr/>
            </p:nvSpPr>
            <p:spPr>
              <a:xfrm>
                <a:off x="1319213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44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DDA3FF45-F97D-9CA4-0058-F4692F4400B7}"/>
                  </a:ext>
                </a:extLst>
              </p:cNvPr>
              <p:cNvSpPr/>
              <p:nvPr/>
            </p:nvSpPr>
            <p:spPr>
              <a:xfrm>
                <a:off x="1319213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69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71486943-ECCF-5FAA-7852-82BA8DB7A722}"/>
                  </a:ext>
                </a:extLst>
              </p:cNvPr>
              <p:cNvSpPr/>
              <p:nvPr/>
            </p:nvSpPr>
            <p:spPr>
              <a:xfrm>
                <a:off x="1319213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FE8F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2B04B9E4-057A-E6B1-85B0-F78CBFB4D3A9}"/>
                  </a:ext>
                </a:extLst>
              </p:cNvPr>
              <p:cNvSpPr/>
              <p:nvPr/>
            </p:nvSpPr>
            <p:spPr>
              <a:xfrm>
                <a:off x="1319213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B4B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75A47BD8-51D5-D7D4-9144-F77E059272BE}"/>
                  </a:ext>
                </a:extLst>
              </p:cNvPr>
              <p:cNvSpPr/>
              <p:nvPr/>
            </p:nvSpPr>
            <p:spPr>
              <a:xfrm>
                <a:off x="1319213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D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5B16754D-223B-A5D9-FEAE-1A40C3E5A682}"/>
                </a:ext>
              </a:extLst>
            </p:cNvPr>
            <p:cNvGrpSpPr/>
            <p:nvPr userDrawn="1"/>
          </p:nvGrpSpPr>
          <p:grpSpPr>
            <a:xfrm rot="16200000">
              <a:off x="1345616" y="-649354"/>
              <a:ext cx="181503" cy="907520"/>
              <a:chOff x="1319213" y="-664912"/>
              <a:chExt cx="181503" cy="907520"/>
            </a:xfrm>
          </p:grpSpPr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E5E92C75-2F4A-C746-3D7B-76257EB2BAD4}"/>
                  </a:ext>
                </a:extLst>
              </p:cNvPr>
              <p:cNvSpPr/>
              <p:nvPr/>
            </p:nvSpPr>
            <p:spPr>
              <a:xfrm>
                <a:off x="1319213" y="-66491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6400A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D61BB36F-112B-2D4F-F58D-D221EB612BBC}"/>
                  </a:ext>
                </a:extLst>
              </p:cNvPr>
              <p:cNvSpPr/>
              <p:nvPr/>
            </p:nvSpPr>
            <p:spPr>
              <a:xfrm>
                <a:off x="1319213" y="-483404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33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F9F1B32E-D7A1-CD39-D87D-242FC13DFDD8}"/>
                  </a:ext>
                </a:extLst>
              </p:cNvPr>
              <p:cNvSpPr/>
              <p:nvPr/>
            </p:nvSpPr>
            <p:spPr>
              <a:xfrm>
                <a:off x="1319213" y="-30189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266C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DA1FE728-063D-DADB-EBBF-DAD903B9D8BE}"/>
                  </a:ext>
                </a:extLst>
              </p:cNvPr>
              <p:cNvSpPr/>
              <p:nvPr/>
            </p:nvSpPr>
            <p:spPr>
              <a:xfrm>
                <a:off x="1319213" y="-120387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199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4C7D5A60-32AE-1DB6-07B1-A0100240A52B}"/>
                  </a:ext>
                </a:extLst>
              </p:cNvPr>
              <p:cNvSpPr/>
              <p:nvPr/>
            </p:nvSpPr>
            <p:spPr>
              <a:xfrm>
                <a:off x="1319213" y="6110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0CC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B939F9E7-2211-81B8-25F8-3D92B9666310}"/>
                </a:ext>
              </a:extLst>
            </p:cNvPr>
            <p:cNvGrpSpPr/>
            <p:nvPr userDrawn="1"/>
          </p:nvGrpSpPr>
          <p:grpSpPr>
            <a:xfrm rot="16200000">
              <a:off x="2328223" y="-649352"/>
              <a:ext cx="181508" cy="907520"/>
              <a:chOff x="1682219" y="-1663170"/>
              <a:chExt cx="181508" cy="907520"/>
            </a:xfrm>
          </p:grpSpPr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04218380-6275-DCF4-63CF-3784DF410DCC}"/>
                  </a:ext>
                </a:extLst>
              </p:cNvPr>
              <p:cNvSpPr/>
              <p:nvPr/>
            </p:nvSpPr>
            <p:spPr>
              <a:xfrm>
                <a:off x="1682219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CC8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9193D051-25DF-0661-38E9-DB15FAEFD4CB}"/>
                  </a:ext>
                </a:extLst>
              </p:cNvPr>
              <p:cNvSpPr/>
              <p:nvPr/>
            </p:nvSpPr>
            <p:spPr>
              <a:xfrm>
                <a:off x="1682224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3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8D550062-713E-FD0E-2CC9-EA38EF018704}"/>
                  </a:ext>
                </a:extLst>
              </p:cNvPr>
              <p:cNvSpPr/>
              <p:nvPr/>
            </p:nvSpPr>
            <p:spPr>
              <a:xfrm>
                <a:off x="1682224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ADE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037B72FE-E70D-E650-C601-C905A5DB2190}"/>
                  </a:ext>
                </a:extLst>
              </p:cNvPr>
              <p:cNvSpPr/>
              <p:nvPr/>
            </p:nvSpPr>
            <p:spPr>
              <a:xfrm>
                <a:off x="1682224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E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B58142D5-5972-8F38-45D9-C60A768453CE}"/>
                  </a:ext>
                </a:extLst>
              </p:cNvPr>
              <p:cNvSpPr/>
              <p:nvPr/>
            </p:nvSpPr>
            <p:spPr>
              <a:xfrm>
                <a:off x="1682219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8F4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75BCFA3C-2870-9A97-D003-CDA6E97F1075}"/>
                </a:ext>
              </a:extLst>
            </p:cNvPr>
            <p:cNvGrpSpPr/>
            <p:nvPr userDrawn="1"/>
          </p:nvGrpSpPr>
          <p:grpSpPr>
            <a:xfrm rot="16200000">
              <a:off x="5276052" y="-649354"/>
              <a:ext cx="181503" cy="907520"/>
              <a:chOff x="2226738" y="-1663170"/>
              <a:chExt cx="181503" cy="907520"/>
            </a:xfrm>
          </p:grpSpPr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32D0D98E-08B6-CDE2-7017-7964282A40BF}"/>
                  </a:ext>
                </a:extLst>
              </p:cNvPr>
              <p:cNvSpPr/>
              <p:nvPr/>
            </p:nvSpPr>
            <p:spPr>
              <a:xfrm>
                <a:off x="2226738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EBCF89D1-5F26-6C7E-34F1-7563271FE318}"/>
                  </a:ext>
                </a:extLst>
              </p:cNvPr>
              <p:cNvSpPr/>
              <p:nvPr/>
            </p:nvSpPr>
            <p:spPr>
              <a:xfrm>
                <a:off x="2226738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5757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5A709D5E-3C50-8EF4-41AF-B1A81ED82A4F}"/>
                  </a:ext>
                </a:extLst>
              </p:cNvPr>
              <p:cNvSpPr/>
              <p:nvPr/>
            </p:nvSpPr>
            <p:spPr>
              <a:xfrm>
                <a:off x="2226738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8787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C0DEAEBC-280C-5AA7-B401-6DF6D6C264A3}"/>
                  </a:ext>
                </a:extLst>
              </p:cNvPr>
              <p:cNvSpPr/>
              <p:nvPr/>
            </p:nvSpPr>
            <p:spPr>
              <a:xfrm>
                <a:off x="2226738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2B2B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88BBDB87-2EC4-B176-B72F-D8E098984A52}"/>
                  </a:ext>
                </a:extLst>
              </p:cNvPr>
              <p:cNvSpPr/>
              <p:nvPr/>
            </p:nvSpPr>
            <p:spPr>
              <a:xfrm>
                <a:off x="2226738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DA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71545B78-E668-7618-45E8-8DBE12CA9844}"/>
                </a:ext>
              </a:extLst>
            </p:cNvPr>
            <p:cNvGrpSpPr/>
            <p:nvPr userDrawn="1"/>
          </p:nvGrpSpPr>
          <p:grpSpPr>
            <a:xfrm rot="16200000">
              <a:off x="3310834" y="-649354"/>
              <a:ext cx="181503" cy="907520"/>
              <a:chOff x="1863727" y="-1663170"/>
              <a:chExt cx="181503" cy="907520"/>
            </a:xfrm>
          </p:grpSpPr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D23FC64D-C075-B257-5C65-12A8AAB546EA}"/>
                  </a:ext>
                </a:extLst>
              </p:cNvPr>
              <p:cNvSpPr/>
              <p:nvPr/>
            </p:nvSpPr>
            <p:spPr>
              <a:xfrm>
                <a:off x="1863727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2A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2A54F238-7C9C-E1F7-298A-745F87A68F06}"/>
                  </a:ext>
                </a:extLst>
              </p:cNvPr>
              <p:cNvSpPr/>
              <p:nvPr/>
            </p:nvSpPr>
            <p:spPr>
              <a:xfrm>
                <a:off x="1863727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5DB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DF35EC8B-7E63-DA32-617F-3FEC58A1844C}"/>
                  </a:ext>
                </a:extLst>
              </p:cNvPr>
              <p:cNvSpPr/>
              <p:nvPr/>
            </p:nvSpPr>
            <p:spPr>
              <a:xfrm>
                <a:off x="1863727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8E4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C2F65496-5D2B-717A-C49F-B9C342788F6A}"/>
                  </a:ext>
                </a:extLst>
              </p:cNvPr>
              <p:cNvSpPr/>
              <p:nvPr/>
            </p:nvSpPr>
            <p:spPr>
              <a:xfrm>
                <a:off x="1863727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ED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766ACA27-1448-0167-97E0-D98A66636B87}"/>
                  </a:ext>
                </a:extLst>
              </p:cNvPr>
              <p:cNvSpPr/>
              <p:nvPr/>
            </p:nvSpPr>
            <p:spPr>
              <a:xfrm>
                <a:off x="1863727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DF6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1117ED06-D753-B5A1-DD8D-B35A33631D09}"/>
                </a:ext>
              </a:extLst>
            </p:cNvPr>
            <p:cNvGrpSpPr/>
            <p:nvPr userDrawn="1"/>
          </p:nvGrpSpPr>
          <p:grpSpPr>
            <a:xfrm rot="16200000">
              <a:off x="4293441" y="-649352"/>
              <a:ext cx="181508" cy="907520"/>
              <a:chOff x="2045230" y="-1663170"/>
              <a:chExt cx="181508" cy="907520"/>
            </a:xfrm>
          </p:grpSpPr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306D13C7-832E-28C6-0CDC-0CCE06990762}"/>
                  </a:ext>
                </a:extLst>
              </p:cNvPr>
              <p:cNvSpPr/>
              <p:nvPr/>
            </p:nvSpPr>
            <p:spPr>
              <a:xfrm>
                <a:off x="2045230" y="-937158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9F7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C1D496EF-A53A-BC32-CC88-8FAB8C5B277B}"/>
                  </a:ext>
                </a:extLst>
              </p:cNvPr>
              <p:cNvSpPr/>
              <p:nvPr/>
            </p:nvSpPr>
            <p:spPr>
              <a:xfrm>
                <a:off x="2045230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FED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DF9B062C-86B1-8B2E-C7D8-9B1CEA44E178}"/>
                  </a:ext>
                </a:extLst>
              </p:cNvPr>
              <p:cNvSpPr/>
              <p:nvPr/>
            </p:nvSpPr>
            <p:spPr>
              <a:xfrm>
                <a:off x="2045230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5E3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DEA05ED7-1757-CE11-8C70-59D450AF501B}"/>
                  </a:ext>
                </a:extLst>
              </p:cNvPr>
              <p:cNvSpPr/>
              <p:nvPr/>
            </p:nvSpPr>
            <p:spPr>
              <a:xfrm>
                <a:off x="2045230" y="-1663170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CFC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03F2F02D-F70E-01C7-ABF8-7F7727B846D8}"/>
                  </a:ext>
                </a:extLst>
              </p:cNvPr>
              <p:cNvSpPr/>
              <p:nvPr/>
            </p:nvSpPr>
            <p:spPr>
              <a:xfrm>
                <a:off x="2045230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BD9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5006344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(red) and Text 3/4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73236799-8186-158A-F3A4-9E2D432B77EB}"/>
              </a:ext>
            </a:extLst>
          </p:cNvPr>
          <p:cNvSpPr/>
          <p:nvPr userDrawn="1"/>
        </p:nvSpPr>
        <p:spPr>
          <a:xfrm>
            <a:off x="9156700" y="0"/>
            <a:ext cx="30353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72650" y="843891"/>
            <a:ext cx="1760536" cy="55106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964FA6FD-B18C-64CF-40CD-9C782D91C43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415668" y="503483"/>
            <a:ext cx="1289916" cy="180000"/>
            <a:chOff x="-161925" y="-1630732"/>
            <a:chExt cx="12193587" cy="1701544"/>
          </a:xfrm>
          <a:solidFill>
            <a:schemeClr val="bg1"/>
          </a:solidFill>
        </p:grpSpPr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0BAA8276-ECA1-E336-BCFB-04B3EC51B77A}"/>
                </a:ext>
              </a:extLst>
            </p:cNvPr>
            <p:cNvSpPr/>
            <p:nvPr/>
          </p:nvSpPr>
          <p:spPr>
            <a:xfrm>
              <a:off x="10774928" y="-1247713"/>
              <a:ext cx="1256734" cy="356304"/>
            </a:xfrm>
            <a:custGeom>
              <a:avLst/>
              <a:gdLst>
                <a:gd name="connsiteX0" fmla="*/ 1226823 w 1256734"/>
                <a:gd name="connsiteY0" fmla="*/ 269166 h 356304"/>
                <a:gd name="connsiteX1" fmla="*/ 1133491 w 1256734"/>
                <a:gd name="connsiteY1" fmla="*/ 316610 h 356304"/>
                <a:gd name="connsiteX2" fmla="*/ 1010248 w 1256734"/>
                <a:gd name="connsiteY2" fmla="*/ 178448 h 356304"/>
                <a:gd name="connsiteX3" fmla="*/ 1131426 w 1256734"/>
                <a:gd name="connsiteY3" fmla="*/ 39696 h 356304"/>
                <a:gd name="connsiteX4" fmla="*/ 1226823 w 1256734"/>
                <a:gd name="connsiteY4" fmla="*/ 86659 h 356304"/>
                <a:gd name="connsiteX5" fmla="*/ 1256735 w 1256734"/>
                <a:gd name="connsiteY5" fmla="*/ 58823 h 356304"/>
                <a:gd name="connsiteX6" fmla="*/ 1216553 w 1256734"/>
                <a:gd name="connsiteY6" fmla="*/ 23241 h 356304"/>
                <a:gd name="connsiteX7" fmla="*/ 1130420 w 1256734"/>
                <a:gd name="connsiteY7" fmla="*/ 0 h 356304"/>
                <a:gd name="connsiteX8" fmla="*/ 965885 w 1256734"/>
                <a:gd name="connsiteY8" fmla="*/ 178448 h 356304"/>
                <a:gd name="connsiteX9" fmla="*/ 1011783 w 1256734"/>
                <a:gd name="connsiteY9" fmla="*/ 305763 h 356304"/>
                <a:gd name="connsiteX10" fmla="*/ 1129892 w 1256734"/>
                <a:gd name="connsiteY10" fmla="*/ 356305 h 356304"/>
                <a:gd name="connsiteX11" fmla="*/ 1255676 w 1256734"/>
                <a:gd name="connsiteY11" fmla="*/ 298071 h 356304"/>
                <a:gd name="connsiteX12" fmla="*/ 1226823 w 1256734"/>
                <a:gd name="connsiteY12" fmla="*/ 269166 h 356304"/>
                <a:gd name="connsiteX13" fmla="*/ 679216 w 1256734"/>
                <a:gd name="connsiteY13" fmla="*/ 197999 h 356304"/>
                <a:gd name="connsiteX14" fmla="*/ 846824 w 1256734"/>
                <a:gd name="connsiteY14" fmla="*/ 197999 h 356304"/>
                <a:gd name="connsiteX15" fmla="*/ 846824 w 1256734"/>
                <a:gd name="connsiteY15" fmla="*/ 350105 h 356304"/>
                <a:gd name="connsiteX16" fmla="*/ 890075 w 1256734"/>
                <a:gd name="connsiteY16" fmla="*/ 350105 h 356304"/>
                <a:gd name="connsiteX17" fmla="*/ 890075 w 1256734"/>
                <a:gd name="connsiteY17" fmla="*/ 6198 h 356304"/>
                <a:gd name="connsiteX18" fmla="*/ 846824 w 1256734"/>
                <a:gd name="connsiteY18" fmla="*/ 6198 h 356304"/>
                <a:gd name="connsiteX19" fmla="*/ 846824 w 1256734"/>
                <a:gd name="connsiteY19" fmla="*/ 160920 h 356304"/>
                <a:gd name="connsiteX20" fmla="*/ 679216 w 1256734"/>
                <a:gd name="connsiteY20" fmla="*/ 160920 h 356304"/>
                <a:gd name="connsiteX21" fmla="*/ 679216 w 1256734"/>
                <a:gd name="connsiteY21" fmla="*/ 6198 h 356304"/>
                <a:gd name="connsiteX22" fmla="*/ 635912 w 1256734"/>
                <a:gd name="connsiteY22" fmla="*/ 6198 h 356304"/>
                <a:gd name="connsiteX23" fmla="*/ 635912 w 1256734"/>
                <a:gd name="connsiteY23" fmla="*/ 350105 h 356304"/>
                <a:gd name="connsiteX24" fmla="*/ 679216 w 1256734"/>
                <a:gd name="connsiteY24" fmla="*/ 350105 h 356304"/>
                <a:gd name="connsiteX25" fmla="*/ 679216 w 1256734"/>
                <a:gd name="connsiteY25" fmla="*/ 197999 h 356304"/>
                <a:gd name="connsiteX26" fmla="*/ 392018 w 1256734"/>
                <a:gd name="connsiteY26" fmla="*/ 40230 h 356304"/>
                <a:gd name="connsiteX27" fmla="*/ 476563 w 1256734"/>
                <a:gd name="connsiteY27" fmla="*/ 75813 h 356304"/>
                <a:gd name="connsiteX28" fmla="*/ 515792 w 1256734"/>
                <a:gd name="connsiteY28" fmla="*/ 181011 h 356304"/>
                <a:gd name="connsiteX29" fmla="*/ 482758 w 1256734"/>
                <a:gd name="connsiteY29" fmla="*/ 275365 h 356304"/>
                <a:gd name="connsiteX30" fmla="*/ 390960 w 1256734"/>
                <a:gd name="connsiteY30" fmla="*/ 316610 h 356304"/>
                <a:gd name="connsiteX31" fmla="*/ 267239 w 1256734"/>
                <a:gd name="connsiteY31" fmla="*/ 178448 h 356304"/>
                <a:gd name="connsiteX32" fmla="*/ 392018 w 1256734"/>
                <a:gd name="connsiteY32" fmla="*/ 40230 h 356304"/>
                <a:gd name="connsiteX33" fmla="*/ 393077 w 1256734"/>
                <a:gd name="connsiteY33" fmla="*/ 0 h 356304"/>
                <a:gd name="connsiteX34" fmla="*/ 222876 w 1256734"/>
                <a:gd name="connsiteY34" fmla="*/ 179994 h 356304"/>
                <a:gd name="connsiteX35" fmla="*/ 258982 w 1256734"/>
                <a:gd name="connsiteY35" fmla="*/ 291872 h 356304"/>
                <a:gd name="connsiteX36" fmla="*/ 392018 w 1256734"/>
                <a:gd name="connsiteY36" fmla="*/ 356305 h 356304"/>
                <a:gd name="connsiteX37" fmla="*/ 501868 w 1256734"/>
                <a:gd name="connsiteY37" fmla="*/ 315059 h 356304"/>
                <a:gd name="connsiteX38" fmla="*/ 560155 w 1256734"/>
                <a:gd name="connsiteY38" fmla="*/ 181545 h 356304"/>
                <a:gd name="connsiteX39" fmla="*/ 519921 w 1256734"/>
                <a:gd name="connsiteY39" fmla="*/ 59304 h 356304"/>
                <a:gd name="connsiteX40" fmla="*/ 393077 w 1256734"/>
                <a:gd name="connsiteY40" fmla="*/ 0 h 356304"/>
                <a:gd name="connsiteX41" fmla="*/ 43306 w 1256734"/>
                <a:gd name="connsiteY41" fmla="*/ 310946 h 356304"/>
                <a:gd name="connsiteX42" fmla="*/ 43306 w 1256734"/>
                <a:gd name="connsiteY42" fmla="*/ 6198 h 356304"/>
                <a:gd name="connsiteX43" fmla="*/ 0 w 1256734"/>
                <a:gd name="connsiteY43" fmla="*/ 6198 h 356304"/>
                <a:gd name="connsiteX44" fmla="*/ 0 w 1256734"/>
                <a:gd name="connsiteY44" fmla="*/ 350105 h 356304"/>
                <a:gd name="connsiteX45" fmla="*/ 194237 w 1256734"/>
                <a:gd name="connsiteY45" fmla="*/ 350105 h 356304"/>
                <a:gd name="connsiteX46" fmla="*/ 194237 w 1256734"/>
                <a:gd name="connsiteY46" fmla="*/ 310946 h 356304"/>
                <a:gd name="connsiteX47" fmla="*/ 43306 w 1256734"/>
                <a:gd name="connsiteY47" fmla="*/ 310946 h 35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256734" h="356304">
                  <a:moveTo>
                    <a:pt x="1226823" y="269166"/>
                  </a:moveTo>
                  <a:cubicBezTo>
                    <a:pt x="1200037" y="301650"/>
                    <a:pt x="1171131" y="316610"/>
                    <a:pt x="1133491" y="316610"/>
                  </a:cubicBezTo>
                  <a:cubicBezTo>
                    <a:pt x="1062341" y="316610"/>
                    <a:pt x="1010248" y="258371"/>
                    <a:pt x="1010248" y="178448"/>
                  </a:cubicBezTo>
                  <a:cubicBezTo>
                    <a:pt x="1010248" y="97985"/>
                    <a:pt x="1061334" y="39696"/>
                    <a:pt x="1131426" y="39696"/>
                  </a:cubicBezTo>
                  <a:cubicBezTo>
                    <a:pt x="1168008" y="39696"/>
                    <a:pt x="1193313" y="52092"/>
                    <a:pt x="1226823" y="86659"/>
                  </a:cubicBezTo>
                  <a:lnTo>
                    <a:pt x="1256735" y="58823"/>
                  </a:lnTo>
                  <a:cubicBezTo>
                    <a:pt x="1239742" y="40230"/>
                    <a:pt x="1230424" y="32003"/>
                    <a:pt x="1216553" y="23241"/>
                  </a:cubicBezTo>
                  <a:cubicBezTo>
                    <a:pt x="1191725" y="8281"/>
                    <a:pt x="1161338" y="0"/>
                    <a:pt x="1130420" y="0"/>
                  </a:cubicBezTo>
                  <a:cubicBezTo>
                    <a:pt x="1035500" y="0"/>
                    <a:pt x="965885" y="75279"/>
                    <a:pt x="965885" y="178448"/>
                  </a:cubicBezTo>
                  <a:cubicBezTo>
                    <a:pt x="965885" y="226369"/>
                    <a:pt x="982931" y="273279"/>
                    <a:pt x="1011783" y="305763"/>
                  </a:cubicBezTo>
                  <a:cubicBezTo>
                    <a:pt x="1041165" y="338782"/>
                    <a:pt x="1081928" y="356305"/>
                    <a:pt x="1129892" y="356305"/>
                  </a:cubicBezTo>
                  <a:cubicBezTo>
                    <a:pt x="1182990" y="356305"/>
                    <a:pt x="1221107" y="338782"/>
                    <a:pt x="1255676" y="298071"/>
                  </a:cubicBezTo>
                  <a:lnTo>
                    <a:pt x="1226823" y="269166"/>
                  </a:lnTo>
                  <a:close/>
                  <a:moveTo>
                    <a:pt x="679216" y="197999"/>
                  </a:moveTo>
                  <a:lnTo>
                    <a:pt x="846824" y="197999"/>
                  </a:lnTo>
                  <a:lnTo>
                    <a:pt x="846824" y="350105"/>
                  </a:lnTo>
                  <a:lnTo>
                    <a:pt x="890075" y="350105"/>
                  </a:lnTo>
                  <a:lnTo>
                    <a:pt x="890075" y="6198"/>
                  </a:lnTo>
                  <a:lnTo>
                    <a:pt x="846824" y="6198"/>
                  </a:lnTo>
                  <a:lnTo>
                    <a:pt x="846824" y="160920"/>
                  </a:lnTo>
                  <a:lnTo>
                    <a:pt x="679216" y="160920"/>
                  </a:lnTo>
                  <a:lnTo>
                    <a:pt x="679216" y="6198"/>
                  </a:lnTo>
                  <a:lnTo>
                    <a:pt x="635912" y="6198"/>
                  </a:lnTo>
                  <a:lnTo>
                    <a:pt x="635912" y="350105"/>
                  </a:lnTo>
                  <a:lnTo>
                    <a:pt x="679216" y="350105"/>
                  </a:lnTo>
                  <a:lnTo>
                    <a:pt x="679216" y="197999"/>
                  </a:lnTo>
                  <a:close/>
                  <a:moveTo>
                    <a:pt x="392018" y="40230"/>
                  </a:moveTo>
                  <a:cubicBezTo>
                    <a:pt x="422459" y="40230"/>
                    <a:pt x="453904" y="53641"/>
                    <a:pt x="476563" y="75813"/>
                  </a:cubicBezTo>
                  <a:cubicBezTo>
                    <a:pt x="503404" y="101618"/>
                    <a:pt x="515792" y="135117"/>
                    <a:pt x="515792" y="181011"/>
                  </a:cubicBezTo>
                  <a:cubicBezTo>
                    <a:pt x="515792" y="216057"/>
                    <a:pt x="502874" y="253189"/>
                    <a:pt x="482758" y="275365"/>
                  </a:cubicBezTo>
                  <a:cubicBezTo>
                    <a:pt x="459569" y="301650"/>
                    <a:pt x="425530" y="316610"/>
                    <a:pt x="390960" y="316610"/>
                  </a:cubicBezTo>
                  <a:cubicBezTo>
                    <a:pt x="319809" y="316610"/>
                    <a:pt x="267239" y="258371"/>
                    <a:pt x="267239" y="178448"/>
                  </a:cubicBezTo>
                  <a:cubicBezTo>
                    <a:pt x="267239" y="99000"/>
                    <a:pt x="320338" y="40230"/>
                    <a:pt x="392018" y="40230"/>
                  </a:cubicBezTo>
                  <a:moveTo>
                    <a:pt x="393077" y="0"/>
                  </a:moveTo>
                  <a:cubicBezTo>
                    <a:pt x="295615" y="0"/>
                    <a:pt x="222876" y="77362"/>
                    <a:pt x="222876" y="179994"/>
                  </a:cubicBezTo>
                  <a:cubicBezTo>
                    <a:pt x="222876" y="223273"/>
                    <a:pt x="235318" y="261956"/>
                    <a:pt x="258982" y="291872"/>
                  </a:cubicBezTo>
                  <a:cubicBezTo>
                    <a:pt x="290957" y="332101"/>
                    <a:pt x="340985" y="356305"/>
                    <a:pt x="392018" y="356305"/>
                  </a:cubicBezTo>
                  <a:cubicBezTo>
                    <a:pt x="431723" y="356305"/>
                    <a:pt x="470899" y="341879"/>
                    <a:pt x="501868" y="315059"/>
                  </a:cubicBezTo>
                  <a:cubicBezTo>
                    <a:pt x="539509" y="283110"/>
                    <a:pt x="560155" y="235131"/>
                    <a:pt x="560155" y="181545"/>
                  </a:cubicBezTo>
                  <a:cubicBezTo>
                    <a:pt x="560155" y="129935"/>
                    <a:pt x="547715" y="91788"/>
                    <a:pt x="519921" y="59304"/>
                  </a:cubicBezTo>
                  <a:cubicBezTo>
                    <a:pt x="486886" y="21691"/>
                    <a:pt x="440988" y="0"/>
                    <a:pt x="393077" y="0"/>
                  </a:cubicBezTo>
                  <a:moveTo>
                    <a:pt x="43306" y="310946"/>
                  </a:moveTo>
                  <a:lnTo>
                    <a:pt x="43306" y="6198"/>
                  </a:lnTo>
                  <a:lnTo>
                    <a:pt x="0" y="6198"/>
                  </a:lnTo>
                  <a:lnTo>
                    <a:pt x="0" y="350105"/>
                  </a:lnTo>
                  <a:lnTo>
                    <a:pt x="194237" y="350105"/>
                  </a:lnTo>
                  <a:lnTo>
                    <a:pt x="194237" y="310946"/>
                  </a:lnTo>
                  <a:lnTo>
                    <a:pt x="43306" y="310946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B77DA9CA-81E3-9C95-68A3-BFADB2CD7E3C}"/>
                </a:ext>
              </a:extLst>
            </p:cNvPr>
            <p:cNvSpPr/>
            <p:nvPr/>
          </p:nvSpPr>
          <p:spPr>
            <a:xfrm>
              <a:off x="-161925" y="-1630732"/>
              <a:ext cx="10575647" cy="1701544"/>
            </a:xfrm>
            <a:custGeom>
              <a:avLst/>
              <a:gdLst>
                <a:gd name="connsiteX0" fmla="*/ 7802033 w 10575647"/>
                <a:gd name="connsiteY0" fmla="*/ 380187 h 1701544"/>
                <a:gd name="connsiteX1" fmla="*/ 7621138 w 10575647"/>
                <a:gd name="connsiteY1" fmla="*/ 380187 h 1701544"/>
                <a:gd name="connsiteX2" fmla="*/ 7621138 w 10575647"/>
                <a:gd name="connsiteY2" fmla="*/ 1271563 h 1701544"/>
                <a:gd name="connsiteX3" fmla="*/ 7802033 w 10575647"/>
                <a:gd name="connsiteY3" fmla="*/ 1271563 h 1701544"/>
                <a:gd name="connsiteX4" fmla="*/ 7802033 w 10575647"/>
                <a:gd name="connsiteY4" fmla="*/ 380187 h 1701544"/>
                <a:gd name="connsiteX5" fmla="*/ 706522 w 10575647"/>
                <a:gd name="connsiteY5" fmla="*/ 1271563 h 1701544"/>
                <a:gd name="connsiteX6" fmla="*/ 902065 w 10575647"/>
                <a:gd name="connsiteY6" fmla="*/ 1271563 h 1701544"/>
                <a:gd name="connsiteX7" fmla="*/ 902065 w 10575647"/>
                <a:gd name="connsiteY7" fmla="*/ 0 h 1701544"/>
                <a:gd name="connsiteX8" fmla="*/ 706522 w 10575647"/>
                <a:gd name="connsiteY8" fmla="*/ 0 h 1701544"/>
                <a:gd name="connsiteX9" fmla="*/ 706522 w 10575647"/>
                <a:gd name="connsiteY9" fmla="*/ 553717 h 1701544"/>
                <a:gd name="connsiteX10" fmla="*/ 195543 w 10575647"/>
                <a:gd name="connsiteY10" fmla="*/ 553717 h 1701544"/>
                <a:gd name="connsiteX11" fmla="*/ 195543 w 10575647"/>
                <a:gd name="connsiteY11" fmla="*/ 0 h 1701544"/>
                <a:gd name="connsiteX12" fmla="*/ 0 w 10575647"/>
                <a:gd name="connsiteY12" fmla="*/ 0 h 1701544"/>
                <a:gd name="connsiteX13" fmla="*/ 0 w 10575647"/>
                <a:gd name="connsiteY13" fmla="*/ 1271563 h 1701544"/>
                <a:gd name="connsiteX14" fmla="*/ 195543 w 10575647"/>
                <a:gd name="connsiteY14" fmla="*/ 1271563 h 1701544"/>
                <a:gd name="connsiteX15" fmla="*/ 195543 w 10575647"/>
                <a:gd name="connsiteY15" fmla="*/ 727142 h 1701544"/>
                <a:gd name="connsiteX16" fmla="*/ 706522 w 10575647"/>
                <a:gd name="connsiteY16" fmla="*/ 727142 h 1701544"/>
                <a:gd name="connsiteX17" fmla="*/ 706522 w 10575647"/>
                <a:gd name="connsiteY17" fmla="*/ 1271563 h 1701544"/>
                <a:gd name="connsiteX18" fmla="*/ 1306185 w 10575647"/>
                <a:gd name="connsiteY18" fmla="*/ 1690649 h 1701544"/>
                <a:gd name="connsiteX19" fmla="*/ 1654904 w 10575647"/>
                <a:gd name="connsiteY19" fmla="*/ 1036061 h 1701544"/>
                <a:gd name="connsiteX20" fmla="*/ 1306185 w 10575647"/>
                <a:gd name="connsiteY20" fmla="*/ 381469 h 1701544"/>
                <a:gd name="connsiteX21" fmla="*/ 1090234 w 10575647"/>
                <a:gd name="connsiteY21" fmla="*/ 381469 h 1701544"/>
                <a:gd name="connsiteX22" fmla="*/ 1438900 w 10575647"/>
                <a:gd name="connsiteY22" fmla="*/ 1036061 h 1701544"/>
                <a:gd name="connsiteX23" fmla="*/ 1090234 w 10575647"/>
                <a:gd name="connsiteY23" fmla="*/ 1690649 h 1701544"/>
                <a:gd name="connsiteX24" fmla="*/ 1306185 w 10575647"/>
                <a:gd name="connsiteY24" fmla="*/ 1690649 h 1701544"/>
                <a:gd name="connsiteX25" fmla="*/ 2581808 w 10575647"/>
                <a:gd name="connsiteY25" fmla="*/ 828654 h 1701544"/>
                <a:gd name="connsiteX26" fmla="*/ 2317883 w 10575647"/>
                <a:gd name="connsiteY26" fmla="*/ 1129505 h 1701544"/>
                <a:gd name="connsiteX27" fmla="*/ 2065011 w 10575647"/>
                <a:gd name="connsiteY27" fmla="*/ 832338 h 1701544"/>
                <a:gd name="connsiteX28" fmla="*/ 2327068 w 10575647"/>
                <a:gd name="connsiteY28" fmla="*/ 525990 h 1701544"/>
                <a:gd name="connsiteX29" fmla="*/ 2581808 w 10575647"/>
                <a:gd name="connsiteY29" fmla="*/ 828654 h 1701544"/>
                <a:gd name="connsiteX30" fmla="*/ 2581808 w 10575647"/>
                <a:gd name="connsiteY30" fmla="*/ 1271563 h 1701544"/>
                <a:gd name="connsiteX31" fmla="*/ 2762608 w 10575647"/>
                <a:gd name="connsiteY31" fmla="*/ 1271563 h 1701544"/>
                <a:gd name="connsiteX32" fmla="*/ 2762608 w 10575647"/>
                <a:gd name="connsiteY32" fmla="*/ 0 h 1701544"/>
                <a:gd name="connsiteX33" fmla="*/ 2581808 w 10575647"/>
                <a:gd name="connsiteY33" fmla="*/ 0 h 1701544"/>
                <a:gd name="connsiteX34" fmla="*/ 2581808 w 10575647"/>
                <a:gd name="connsiteY34" fmla="*/ 476356 h 1701544"/>
                <a:gd name="connsiteX35" fmla="*/ 2297581 w 10575647"/>
                <a:gd name="connsiteY35" fmla="*/ 359885 h 1701544"/>
                <a:gd name="connsiteX36" fmla="*/ 1876785 w 10575647"/>
                <a:gd name="connsiteY36" fmla="*/ 830470 h 1701544"/>
                <a:gd name="connsiteX37" fmla="*/ 2297581 w 10575647"/>
                <a:gd name="connsiteY37" fmla="*/ 1291865 h 1701544"/>
                <a:gd name="connsiteX38" fmla="*/ 2581808 w 10575647"/>
                <a:gd name="connsiteY38" fmla="*/ 1163217 h 1701544"/>
                <a:gd name="connsiteX39" fmla="*/ 2581808 w 10575647"/>
                <a:gd name="connsiteY39" fmla="*/ 1271563 h 1701544"/>
                <a:gd name="connsiteX40" fmla="*/ 3437445 w 10575647"/>
                <a:gd name="connsiteY40" fmla="*/ 542393 h 1701544"/>
                <a:gd name="connsiteX41" fmla="*/ 3460310 w 10575647"/>
                <a:gd name="connsiteY41" fmla="*/ 545331 h 1701544"/>
                <a:gd name="connsiteX42" fmla="*/ 3460310 w 10575647"/>
                <a:gd name="connsiteY42" fmla="*/ 359885 h 1701544"/>
                <a:gd name="connsiteX43" fmla="*/ 3406830 w 10575647"/>
                <a:gd name="connsiteY43" fmla="*/ 359885 h 1701544"/>
                <a:gd name="connsiteX44" fmla="*/ 3231965 w 10575647"/>
                <a:gd name="connsiteY44" fmla="*/ 415877 h 1701544"/>
                <a:gd name="connsiteX45" fmla="*/ 3187194 w 10575647"/>
                <a:gd name="connsiteY45" fmla="*/ 462091 h 1701544"/>
                <a:gd name="connsiteX46" fmla="*/ 3187194 w 10575647"/>
                <a:gd name="connsiteY46" fmla="*/ 380187 h 1701544"/>
                <a:gd name="connsiteX47" fmla="*/ 3006395 w 10575647"/>
                <a:gd name="connsiteY47" fmla="*/ 380187 h 1701544"/>
                <a:gd name="connsiteX48" fmla="*/ 3006395 w 10575647"/>
                <a:gd name="connsiteY48" fmla="*/ 1271563 h 1701544"/>
                <a:gd name="connsiteX49" fmla="*/ 3187194 w 10575647"/>
                <a:gd name="connsiteY49" fmla="*/ 1271563 h 1701544"/>
                <a:gd name="connsiteX50" fmla="*/ 3187194 w 10575647"/>
                <a:gd name="connsiteY50" fmla="*/ 819411 h 1701544"/>
                <a:gd name="connsiteX51" fmla="*/ 3233517 w 10575647"/>
                <a:gd name="connsiteY51" fmla="*/ 629638 h 1701544"/>
                <a:gd name="connsiteX52" fmla="*/ 3401277 w 10575647"/>
                <a:gd name="connsiteY52" fmla="*/ 540683 h 1701544"/>
                <a:gd name="connsiteX53" fmla="*/ 3437445 w 10575647"/>
                <a:gd name="connsiteY53" fmla="*/ 542393 h 1701544"/>
                <a:gd name="connsiteX54" fmla="*/ 4250980 w 10575647"/>
                <a:gd name="connsiteY54" fmla="*/ 826838 h 1701544"/>
                <a:gd name="connsiteX55" fmla="*/ 3983364 w 10575647"/>
                <a:gd name="connsiteY55" fmla="*/ 1122077 h 1701544"/>
                <a:gd name="connsiteX56" fmla="*/ 3713875 w 10575647"/>
                <a:gd name="connsiteY56" fmla="*/ 826838 h 1701544"/>
                <a:gd name="connsiteX57" fmla="*/ 3985180 w 10575647"/>
                <a:gd name="connsiteY57" fmla="*/ 529677 h 1701544"/>
                <a:gd name="connsiteX58" fmla="*/ 4250980 w 10575647"/>
                <a:gd name="connsiteY58" fmla="*/ 826838 h 1701544"/>
                <a:gd name="connsiteX59" fmla="*/ 4435464 w 10575647"/>
                <a:gd name="connsiteY59" fmla="*/ 828654 h 1701544"/>
                <a:gd name="connsiteX60" fmla="*/ 3985180 w 10575647"/>
                <a:gd name="connsiteY60" fmla="*/ 359885 h 1701544"/>
                <a:gd name="connsiteX61" fmla="*/ 3529338 w 10575647"/>
                <a:gd name="connsiteY61" fmla="*/ 824916 h 1701544"/>
                <a:gd name="connsiteX62" fmla="*/ 3979622 w 10575647"/>
                <a:gd name="connsiteY62" fmla="*/ 1291865 h 1701544"/>
                <a:gd name="connsiteX63" fmla="*/ 4435464 w 10575647"/>
                <a:gd name="connsiteY63" fmla="*/ 828654 h 1701544"/>
                <a:gd name="connsiteX64" fmla="*/ 5261608 w 10575647"/>
                <a:gd name="connsiteY64" fmla="*/ 828654 h 1701544"/>
                <a:gd name="connsiteX65" fmla="*/ 5205508 w 10575647"/>
                <a:gd name="connsiteY65" fmla="*/ 1025854 h 1701544"/>
                <a:gd name="connsiteX66" fmla="*/ 5005052 w 10575647"/>
                <a:gd name="connsiteY66" fmla="*/ 1122077 h 1701544"/>
                <a:gd name="connsiteX67" fmla="*/ 4746675 w 10575647"/>
                <a:gd name="connsiteY67" fmla="*/ 823153 h 1701544"/>
                <a:gd name="connsiteX68" fmla="*/ 5008683 w 10575647"/>
                <a:gd name="connsiteY68" fmla="*/ 529677 h 1701544"/>
                <a:gd name="connsiteX69" fmla="*/ 5200378 w 10575647"/>
                <a:gd name="connsiteY69" fmla="*/ 617081 h 1701544"/>
                <a:gd name="connsiteX70" fmla="*/ 5261608 w 10575647"/>
                <a:gd name="connsiteY70" fmla="*/ 828654 h 1701544"/>
                <a:gd name="connsiteX71" fmla="*/ 5327264 w 10575647"/>
                <a:gd name="connsiteY71" fmla="*/ 1583314 h 1701544"/>
                <a:gd name="connsiteX72" fmla="*/ 5446113 w 10575647"/>
                <a:gd name="connsiteY72" fmla="*/ 1256819 h 1701544"/>
                <a:gd name="connsiteX73" fmla="*/ 5446113 w 10575647"/>
                <a:gd name="connsiteY73" fmla="*/ 380187 h 1701544"/>
                <a:gd name="connsiteX74" fmla="*/ 5265239 w 10575647"/>
                <a:gd name="connsiteY74" fmla="*/ 380187 h 1701544"/>
                <a:gd name="connsiteX75" fmla="*/ 5265239 w 10575647"/>
                <a:gd name="connsiteY75" fmla="*/ 488537 h 1701544"/>
                <a:gd name="connsiteX76" fmla="*/ 4982875 w 10575647"/>
                <a:gd name="connsiteY76" fmla="*/ 359885 h 1701544"/>
                <a:gd name="connsiteX77" fmla="*/ 4699394 w 10575647"/>
                <a:gd name="connsiteY77" fmla="*/ 465190 h 1701544"/>
                <a:gd name="connsiteX78" fmla="*/ 4558400 w 10575647"/>
                <a:gd name="connsiteY78" fmla="*/ 828654 h 1701544"/>
                <a:gd name="connsiteX79" fmla="*/ 4971816 w 10575647"/>
                <a:gd name="connsiteY79" fmla="*/ 1291865 h 1701544"/>
                <a:gd name="connsiteX80" fmla="*/ 5265239 w 10575647"/>
                <a:gd name="connsiteY80" fmla="*/ 1150553 h 1701544"/>
                <a:gd name="connsiteX81" fmla="*/ 5265239 w 10575647"/>
                <a:gd name="connsiteY81" fmla="*/ 1267931 h 1701544"/>
                <a:gd name="connsiteX82" fmla="*/ 5206095 w 10575647"/>
                <a:gd name="connsiteY82" fmla="*/ 1457116 h 1701544"/>
                <a:gd name="connsiteX83" fmla="*/ 4999546 w 10575647"/>
                <a:gd name="connsiteY83" fmla="*/ 1533625 h 1701544"/>
                <a:gd name="connsiteX84" fmla="*/ 4811695 w 10575647"/>
                <a:gd name="connsiteY84" fmla="*/ 1487409 h 1701544"/>
                <a:gd name="connsiteX85" fmla="*/ 4733588 w 10575647"/>
                <a:gd name="connsiteY85" fmla="*/ 1416300 h 1701544"/>
                <a:gd name="connsiteX86" fmla="*/ 4719215 w 10575647"/>
                <a:gd name="connsiteY86" fmla="*/ 1401339 h 1701544"/>
                <a:gd name="connsiteX87" fmla="*/ 4595103 w 10575647"/>
                <a:gd name="connsiteY87" fmla="*/ 1525451 h 1701544"/>
                <a:gd name="connsiteX88" fmla="*/ 4607819 w 10575647"/>
                <a:gd name="connsiteY88" fmla="*/ 1539824 h 1701544"/>
                <a:gd name="connsiteX89" fmla="*/ 4999546 w 10575647"/>
                <a:gd name="connsiteY89" fmla="*/ 1701544 h 1701544"/>
                <a:gd name="connsiteX90" fmla="*/ 5327264 w 10575647"/>
                <a:gd name="connsiteY90" fmla="*/ 1583314 h 1701544"/>
                <a:gd name="connsiteX91" fmla="*/ 6317923 w 10575647"/>
                <a:gd name="connsiteY91" fmla="*/ 747497 h 1701544"/>
                <a:gd name="connsiteX92" fmla="*/ 5805203 w 10575647"/>
                <a:gd name="connsiteY92" fmla="*/ 747497 h 1701544"/>
                <a:gd name="connsiteX93" fmla="*/ 5845913 w 10575647"/>
                <a:gd name="connsiteY93" fmla="*/ 635144 h 1701544"/>
                <a:gd name="connsiteX94" fmla="*/ 6057989 w 10575647"/>
                <a:gd name="connsiteY94" fmla="*/ 525990 h 1701544"/>
                <a:gd name="connsiteX95" fmla="*/ 6275730 w 10575647"/>
                <a:gd name="connsiteY95" fmla="*/ 633487 h 1701544"/>
                <a:gd name="connsiteX96" fmla="*/ 6317923 w 10575647"/>
                <a:gd name="connsiteY96" fmla="*/ 747497 h 1701544"/>
                <a:gd name="connsiteX97" fmla="*/ 6508188 w 10575647"/>
                <a:gd name="connsiteY97" fmla="*/ 872890 h 1701544"/>
                <a:gd name="connsiteX98" fmla="*/ 6510094 w 10575647"/>
                <a:gd name="connsiteY98" fmla="*/ 815779 h 1701544"/>
                <a:gd name="connsiteX99" fmla="*/ 6057989 w 10575647"/>
                <a:gd name="connsiteY99" fmla="*/ 359885 h 1701544"/>
                <a:gd name="connsiteX100" fmla="*/ 5609538 w 10575647"/>
                <a:gd name="connsiteY100" fmla="*/ 828654 h 1701544"/>
                <a:gd name="connsiteX101" fmla="*/ 6063495 w 10575647"/>
                <a:gd name="connsiteY101" fmla="*/ 1291865 h 1701544"/>
                <a:gd name="connsiteX102" fmla="*/ 6460066 w 10575647"/>
                <a:gd name="connsiteY102" fmla="*/ 1051710 h 1701544"/>
                <a:gd name="connsiteX103" fmla="*/ 6469966 w 10575647"/>
                <a:gd name="connsiteY103" fmla="*/ 1031572 h 1701544"/>
                <a:gd name="connsiteX104" fmla="*/ 6308923 w 10575647"/>
                <a:gd name="connsiteY104" fmla="*/ 971517 h 1701544"/>
                <a:gd name="connsiteX105" fmla="*/ 6300559 w 10575647"/>
                <a:gd name="connsiteY105" fmla="*/ 986689 h 1701544"/>
                <a:gd name="connsiteX106" fmla="*/ 6063495 w 10575647"/>
                <a:gd name="connsiteY106" fmla="*/ 1122077 h 1701544"/>
                <a:gd name="connsiteX107" fmla="*/ 5850784 w 10575647"/>
                <a:gd name="connsiteY107" fmla="*/ 1013832 h 1701544"/>
                <a:gd name="connsiteX108" fmla="*/ 5802132 w 10575647"/>
                <a:gd name="connsiteY108" fmla="*/ 891377 h 1701544"/>
                <a:gd name="connsiteX109" fmla="*/ 6506547 w 10575647"/>
                <a:gd name="connsiteY109" fmla="*/ 891377 h 1701544"/>
                <a:gd name="connsiteX110" fmla="*/ 6508188 w 10575647"/>
                <a:gd name="connsiteY110" fmla="*/ 872890 h 1701544"/>
                <a:gd name="connsiteX111" fmla="*/ 7205139 w 10575647"/>
                <a:gd name="connsiteY111" fmla="*/ 1271563 h 1701544"/>
                <a:gd name="connsiteX112" fmla="*/ 7385928 w 10575647"/>
                <a:gd name="connsiteY112" fmla="*/ 1271563 h 1701544"/>
                <a:gd name="connsiteX113" fmla="*/ 7385928 w 10575647"/>
                <a:gd name="connsiteY113" fmla="*/ 677294 h 1701544"/>
                <a:gd name="connsiteX114" fmla="*/ 7307154 w 10575647"/>
                <a:gd name="connsiteY114" fmla="*/ 435163 h 1701544"/>
                <a:gd name="connsiteX115" fmla="*/ 7096189 w 10575647"/>
                <a:gd name="connsiteY115" fmla="*/ 359885 h 1701544"/>
                <a:gd name="connsiteX116" fmla="*/ 6863625 w 10575647"/>
                <a:gd name="connsiteY116" fmla="*/ 463694 h 1701544"/>
                <a:gd name="connsiteX117" fmla="*/ 6863625 w 10575647"/>
                <a:gd name="connsiteY117" fmla="*/ 380187 h 1701544"/>
                <a:gd name="connsiteX118" fmla="*/ 6682836 w 10575647"/>
                <a:gd name="connsiteY118" fmla="*/ 380187 h 1701544"/>
                <a:gd name="connsiteX119" fmla="*/ 6682836 w 10575647"/>
                <a:gd name="connsiteY119" fmla="*/ 1271563 h 1701544"/>
                <a:gd name="connsiteX120" fmla="*/ 6863625 w 10575647"/>
                <a:gd name="connsiteY120" fmla="*/ 1271563 h 1701544"/>
                <a:gd name="connsiteX121" fmla="*/ 6863625 w 10575647"/>
                <a:gd name="connsiteY121" fmla="*/ 732701 h 1701544"/>
                <a:gd name="connsiteX122" fmla="*/ 6913971 w 10575647"/>
                <a:gd name="connsiteY122" fmla="*/ 591066 h 1701544"/>
                <a:gd name="connsiteX123" fmla="*/ 7061143 w 10575647"/>
                <a:gd name="connsiteY123" fmla="*/ 525990 h 1701544"/>
                <a:gd name="connsiteX124" fmla="*/ 7177769 w 10575647"/>
                <a:gd name="connsiteY124" fmla="*/ 575089 h 1701544"/>
                <a:gd name="connsiteX125" fmla="*/ 7205139 w 10575647"/>
                <a:gd name="connsiteY125" fmla="*/ 708709 h 1701544"/>
                <a:gd name="connsiteX126" fmla="*/ 7205139 w 10575647"/>
                <a:gd name="connsiteY126" fmla="*/ 1271563 h 1701544"/>
                <a:gd name="connsiteX127" fmla="*/ 7822309 w 10575647"/>
                <a:gd name="connsiteY127" fmla="*/ 162418 h 1701544"/>
                <a:gd name="connsiteX128" fmla="*/ 7713412 w 10575647"/>
                <a:gd name="connsiteY128" fmla="*/ 49847 h 1701544"/>
                <a:gd name="connsiteX129" fmla="*/ 7602662 w 10575647"/>
                <a:gd name="connsiteY129" fmla="*/ 160549 h 1701544"/>
                <a:gd name="connsiteX130" fmla="*/ 7711560 w 10575647"/>
                <a:gd name="connsiteY130" fmla="*/ 271303 h 1701544"/>
                <a:gd name="connsiteX131" fmla="*/ 7822309 w 10575647"/>
                <a:gd name="connsiteY131" fmla="*/ 162418 h 1701544"/>
                <a:gd name="connsiteX132" fmla="*/ 8704760 w 10575647"/>
                <a:gd name="connsiteY132" fmla="*/ 826838 h 1701544"/>
                <a:gd name="connsiteX133" fmla="*/ 8437150 w 10575647"/>
                <a:gd name="connsiteY133" fmla="*/ 1122077 h 1701544"/>
                <a:gd name="connsiteX134" fmla="*/ 8167740 w 10575647"/>
                <a:gd name="connsiteY134" fmla="*/ 826838 h 1701544"/>
                <a:gd name="connsiteX135" fmla="*/ 8439003 w 10575647"/>
                <a:gd name="connsiteY135" fmla="*/ 529677 h 1701544"/>
                <a:gd name="connsiteX136" fmla="*/ 8704760 w 10575647"/>
                <a:gd name="connsiteY136" fmla="*/ 826838 h 1701544"/>
                <a:gd name="connsiteX137" fmla="*/ 8889307 w 10575647"/>
                <a:gd name="connsiteY137" fmla="*/ 828654 h 1701544"/>
                <a:gd name="connsiteX138" fmla="*/ 8439003 w 10575647"/>
                <a:gd name="connsiteY138" fmla="*/ 359885 h 1701544"/>
                <a:gd name="connsiteX139" fmla="*/ 7983193 w 10575647"/>
                <a:gd name="connsiteY139" fmla="*/ 824916 h 1701544"/>
                <a:gd name="connsiteX140" fmla="*/ 8433444 w 10575647"/>
                <a:gd name="connsiteY140" fmla="*/ 1291865 h 1701544"/>
                <a:gd name="connsiteX141" fmla="*/ 8889307 w 10575647"/>
                <a:gd name="connsiteY141" fmla="*/ 828654 h 1701544"/>
                <a:gd name="connsiteX142" fmla="*/ 9658150 w 10575647"/>
                <a:gd name="connsiteY142" fmla="*/ 1197940 h 1701544"/>
                <a:gd name="connsiteX143" fmla="*/ 9749630 w 10575647"/>
                <a:gd name="connsiteY143" fmla="*/ 944968 h 1701544"/>
                <a:gd name="connsiteX144" fmla="*/ 9749630 w 10575647"/>
                <a:gd name="connsiteY144" fmla="*/ 380187 h 1701544"/>
                <a:gd name="connsiteX145" fmla="*/ 9566988 w 10575647"/>
                <a:gd name="connsiteY145" fmla="*/ 380187 h 1701544"/>
                <a:gd name="connsiteX146" fmla="*/ 9566988 w 10575647"/>
                <a:gd name="connsiteY146" fmla="*/ 944968 h 1701544"/>
                <a:gd name="connsiteX147" fmla="*/ 9535012 w 10575647"/>
                <a:gd name="connsiteY147" fmla="*/ 1068222 h 1701544"/>
                <a:gd name="connsiteX148" fmla="*/ 9399010 w 10575647"/>
                <a:gd name="connsiteY148" fmla="*/ 1125815 h 1701544"/>
                <a:gd name="connsiteX149" fmla="*/ 9229233 w 10575647"/>
                <a:gd name="connsiteY149" fmla="*/ 941225 h 1701544"/>
                <a:gd name="connsiteX150" fmla="*/ 9229233 w 10575647"/>
                <a:gd name="connsiteY150" fmla="*/ 380187 h 1701544"/>
                <a:gd name="connsiteX151" fmla="*/ 9048391 w 10575647"/>
                <a:gd name="connsiteY151" fmla="*/ 380187 h 1701544"/>
                <a:gd name="connsiteX152" fmla="*/ 9048391 w 10575647"/>
                <a:gd name="connsiteY152" fmla="*/ 944968 h 1701544"/>
                <a:gd name="connsiteX153" fmla="*/ 9139659 w 10575647"/>
                <a:gd name="connsiteY153" fmla="*/ 1195965 h 1701544"/>
                <a:gd name="connsiteX154" fmla="*/ 9399010 w 10575647"/>
                <a:gd name="connsiteY154" fmla="*/ 1291865 h 1701544"/>
                <a:gd name="connsiteX155" fmla="*/ 9658150 w 10575647"/>
                <a:gd name="connsiteY155" fmla="*/ 1197945 h 1701544"/>
                <a:gd name="connsiteX156" fmla="*/ 10385594 w 10575647"/>
                <a:gd name="connsiteY156" fmla="*/ 653307 h 1701544"/>
                <a:gd name="connsiteX157" fmla="*/ 10567335 w 10575647"/>
                <a:gd name="connsiteY157" fmla="*/ 653307 h 1701544"/>
                <a:gd name="connsiteX158" fmla="*/ 10566383 w 10575647"/>
                <a:gd name="connsiteY158" fmla="*/ 632041 h 1701544"/>
                <a:gd name="connsiteX159" fmla="*/ 10249009 w 10575647"/>
                <a:gd name="connsiteY159" fmla="*/ 359885 h 1701544"/>
                <a:gd name="connsiteX160" fmla="*/ 9929730 w 10575647"/>
                <a:gd name="connsiteY160" fmla="*/ 627446 h 1701544"/>
                <a:gd name="connsiteX161" fmla="*/ 10212587 w 10575647"/>
                <a:gd name="connsiteY161" fmla="*/ 903611 h 1701544"/>
                <a:gd name="connsiteX162" fmla="*/ 10391099 w 10575647"/>
                <a:gd name="connsiteY162" fmla="*/ 1031625 h 1701544"/>
                <a:gd name="connsiteX163" fmla="*/ 10252715 w 10575647"/>
                <a:gd name="connsiteY163" fmla="*/ 1136874 h 1701544"/>
                <a:gd name="connsiteX164" fmla="*/ 10093843 w 10575647"/>
                <a:gd name="connsiteY164" fmla="*/ 1007579 h 1701544"/>
                <a:gd name="connsiteX165" fmla="*/ 10092096 w 10575647"/>
                <a:gd name="connsiteY165" fmla="*/ 989257 h 1701544"/>
                <a:gd name="connsiteX166" fmla="*/ 9913054 w 10575647"/>
                <a:gd name="connsiteY166" fmla="*/ 989257 h 1701544"/>
                <a:gd name="connsiteX167" fmla="*/ 9915066 w 10575647"/>
                <a:gd name="connsiteY167" fmla="*/ 1011216 h 1701544"/>
                <a:gd name="connsiteX168" fmla="*/ 10252715 w 10575647"/>
                <a:gd name="connsiteY168" fmla="*/ 1291865 h 1701544"/>
                <a:gd name="connsiteX169" fmla="*/ 10575647 w 10575647"/>
                <a:gd name="connsiteY169" fmla="*/ 1024303 h 1701544"/>
                <a:gd name="connsiteX170" fmla="*/ 10501426 w 10575647"/>
                <a:gd name="connsiteY170" fmla="*/ 843879 h 1701544"/>
                <a:gd name="connsiteX171" fmla="*/ 10285750 w 10575647"/>
                <a:gd name="connsiteY171" fmla="*/ 740769 h 1701544"/>
                <a:gd name="connsiteX172" fmla="*/ 10110519 w 10575647"/>
                <a:gd name="connsiteY172" fmla="*/ 616440 h 1701544"/>
                <a:gd name="connsiteX173" fmla="*/ 10243398 w 10575647"/>
                <a:gd name="connsiteY173" fmla="*/ 514877 h 1701544"/>
                <a:gd name="connsiteX174" fmla="*/ 10385594 w 10575647"/>
                <a:gd name="connsiteY174" fmla="*/ 623762 h 1701544"/>
                <a:gd name="connsiteX175" fmla="*/ 10385594 w 10575647"/>
                <a:gd name="connsiteY175" fmla="*/ 653307 h 170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10575647" h="1701544">
                  <a:moveTo>
                    <a:pt x="7802033" y="380187"/>
                  </a:moveTo>
                  <a:lnTo>
                    <a:pt x="7621138" y="380187"/>
                  </a:lnTo>
                  <a:lnTo>
                    <a:pt x="7621138" y="1271563"/>
                  </a:lnTo>
                  <a:lnTo>
                    <a:pt x="7802033" y="1271563"/>
                  </a:lnTo>
                  <a:lnTo>
                    <a:pt x="7802033" y="380187"/>
                  </a:lnTo>
                  <a:close/>
                  <a:moveTo>
                    <a:pt x="706522" y="1271563"/>
                  </a:moveTo>
                  <a:lnTo>
                    <a:pt x="902065" y="1271563"/>
                  </a:lnTo>
                  <a:lnTo>
                    <a:pt x="902065" y="0"/>
                  </a:lnTo>
                  <a:lnTo>
                    <a:pt x="706522" y="0"/>
                  </a:lnTo>
                  <a:lnTo>
                    <a:pt x="706522" y="553717"/>
                  </a:lnTo>
                  <a:lnTo>
                    <a:pt x="195543" y="553717"/>
                  </a:lnTo>
                  <a:lnTo>
                    <a:pt x="195543" y="0"/>
                  </a:lnTo>
                  <a:lnTo>
                    <a:pt x="0" y="0"/>
                  </a:lnTo>
                  <a:lnTo>
                    <a:pt x="0" y="1271563"/>
                  </a:lnTo>
                  <a:lnTo>
                    <a:pt x="195543" y="1271563"/>
                  </a:lnTo>
                  <a:lnTo>
                    <a:pt x="195543" y="727142"/>
                  </a:lnTo>
                  <a:lnTo>
                    <a:pt x="706522" y="727142"/>
                  </a:lnTo>
                  <a:lnTo>
                    <a:pt x="706522" y="1271563"/>
                  </a:lnTo>
                  <a:close/>
                  <a:moveTo>
                    <a:pt x="1306185" y="1690649"/>
                  </a:moveTo>
                  <a:lnTo>
                    <a:pt x="1654904" y="1036061"/>
                  </a:lnTo>
                  <a:lnTo>
                    <a:pt x="1306185" y="381469"/>
                  </a:lnTo>
                  <a:lnTo>
                    <a:pt x="1090234" y="381469"/>
                  </a:lnTo>
                  <a:lnTo>
                    <a:pt x="1438900" y="1036061"/>
                  </a:lnTo>
                  <a:lnTo>
                    <a:pt x="1090234" y="1690649"/>
                  </a:lnTo>
                  <a:lnTo>
                    <a:pt x="1306185" y="1690649"/>
                  </a:lnTo>
                  <a:close/>
                  <a:moveTo>
                    <a:pt x="2581808" y="828654"/>
                  </a:moveTo>
                  <a:cubicBezTo>
                    <a:pt x="2581808" y="1002989"/>
                    <a:pt x="2470789" y="1129505"/>
                    <a:pt x="2317883" y="1129505"/>
                  </a:cubicBezTo>
                  <a:cubicBezTo>
                    <a:pt x="2168980" y="1129505"/>
                    <a:pt x="2065011" y="1007262"/>
                    <a:pt x="2065011" y="832338"/>
                  </a:cubicBezTo>
                  <a:cubicBezTo>
                    <a:pt x="2065011" y="649088"/>
                    <a:pt x="2170314" y="525990"/>
                    <a:pt x="2327068" y="525990"/>
                  </a:cubicBezTo>
                  <a:cubicBezTo>
                    <a:pt x="2479444" y="525990"/>
                    <a:pt x="2581808" y="647590"/>
                    <a:pt x="2581808" y="828654"/>
                  </a:cubicBezTo>
                  <a:moveTo>
                    <a:pt x="2581808" y="1271563"/>
                  </a:moveTo>
                  <a:lnTo>
                    <a:pt x="2762608" y="1271563"/>
                  </a:lnTo>
                  <a:lnTo>
                    <a:pt x="2762608" y="0"/>
                  </a:lnTo>
                  <a:lnTo>
                    <a:pt x="2581808" y="0"/>
                  </a:lnTo>
                  <a:lnTo>
                    <a:pt x="2581808" y="476356"/>
                  </a:lnTo>
                  <a:cubicBezTo>
                    <a:pt x="2503431" y="397017"/>
                    <a:pt x="2412449" y="359885"/>
                    <a:pt x="2297581" y="359885"/>
                  </a:cubicBezTo>
                  <a:cubicBezTo>
                    <a:pt x="2057690" y="359885"/>
                    <a:pt x="1876785" y="562214"/>
                    <a:pt x="1876785" y="830470"/>
                  </a:cubicBezTo>
                  <a:cubicBezTo>
                    <a:pt x="1876785" y="1102145"/>
                    <a:pt x="2049839" y="1291865"/>
                    <a:pt x="2297581" y="1291865"/>
                  </a:cubicBezTo>
                  <a:cubicBezTo>
                    <a:pt x="2414371" y="1291865"/>
                    <a:pt x="2503061" y="1251959"/>
                    <a:pt x="2581808" y="1163217"/>
                  </a:cubicBezTo>
                  <a:lnTo>
                    <a:pt x="2581808" y="1271563"/>
                  </a:lnTo>
                  <a:close/>
                  <a:moveTo>
                    <a:pt x="3437445" y="542393"/>
                  </a:moveTo>
                  <a:lnTo>
                    <a:pt x="3460310" y="545331"/>
                  </a:lnTo>
                  <a:lnTo>
                    <a:pt x="3460310" y="359885"/>
                  </a:lnTo>
                  <a:lnTo>
                    <a:pt x="3406830" y="359885"/>
                  </a:lnTo>
                  <a:cubicBezTo>
                    <a:pt x="3341169" y="359885"/>
                    <a:pt x="3277430" y="380294"/>
                    <a:pt x="3231965" y="415877"/>
                  </a:cubicBezTo>
                  <a:cubicBezTo>
                    <a:pt x="3213690" y="430035"/>
                    <a:pt x="3199693" y="444353"/>
                    <a:pt x="3187194" y="462091"/>
                  </a:cubicBezTo>
                  <a:lnTo>
                    <a:pt x="3187194" y="380187"/>
                  </a:lnTo>
                  <a:lnTo>
                    <a:pt x="3006395" y="380187"/>
                  </a:lnTo>
                  <a:lnTo>
                    <a:pt x="3006395" y="1271563"/>
                  </a:lnTo>
                  <a:lnTo>
                    <a:pt x="3187194" y="1271563"/>
                  </a:lnTo>
                  <a:lnTo>
                    <a:pt x="3187194" y="819411"/>
                  </a:lnTo>
                  <a:cubicBezTo>
                    <a:pt x="3187194" y="727783"/>
                    <a:pt x="3198894" y="679915"/>
                    <a:pt x="3233517" y="629638"/>
                  </a:cubicBezTo>
                  <a:cubicBezTo>
                    <a:pt x="3272300" y="572310"/>
                    <a:pt x="3331926" y="540683"/>
                    <a:pt x="3401277" y="540683"/>
                  </a:cubicBezTo>
                  <a:cubicBezTo>
                    <a:pt x="3410356" y="540683"/>
                    <a:pt x="3423983" y="540683"/>
                    <a:pt x="3437445" y="542393"/>
                  </a:cubicBezTo>
                  <a:moveTo>
                    <a:pt x="4250980" y="826838"/>
                  </a:moveTo>
                  <a:cubicBezTo>
                    <a:pt x="4250980" y="1000692"/>
                    <a:pt x="4140918" y="1122077"/>
                    <a:pt x="3983364" y="1122077"/>
                  </a:cubicBezTo>
                  <a:cubicBezTo>
                    <a:pt x="3822174" y="1122077"/>
                    <a:pt x="3713875" y="1003466"/>
                    <a:pt x="3713875" y="826838"/>
                  </a:cubicBezTo>
                  <a:cubicBezTo>
                    <a:pt x="3713875" y="649088"/>
                    <a:pt x="3822920" y="529677"/>
                    <a:pt x="3985180" y="529677"/>
                  </a:cubicBezTo>
                  <a:cubicBezTo>
                    <a:pt x="4144179" y="529677"/>
                    <a:pt x="4250980" y="649088"/>
                    <a:pt x="4250980" y="826838"/>
                  </a:cubicBezTo>
                  <a:moveTo>
                    <a:pt x="4435464" y="828654"/>
                  </a:moveTo>
                  <a:cubicBezTo>
                    <a:pt x="4435464" y="557084"/>
                    <a:pt x="4246120" y="359885"/>
                    <a:pt x="3985180" y="359885"/>
                  </a:cubicBezTo>
                  <a:cubicBezTo>
                    <a:pt x="3716818" y="359885"/>
                    <a:pt x="3529338" y="551155"/>
                    <a:pt x="3529338" y="824916"/>
                  </a:cubicBezTo>
                  <a:cubicBezTo>
                    <a:pt x="3529338" y="1099848"/>
                    <a:pt x="3714521" y="1291865"/>
                    <a:pt x="3979622" y="1291865"/>
                  </a:cubicBezTo>
                  <a:cubicBezTo>
                    <a:pt x="4235272" y="1291865"/>
                    <a:pt x="4435464" y="1088418"/>
                    <a:pt x="4435464" y="828654"/>
                  </a:cubicBezTo>
                  <a:moveTo>
                    <a:pt x="5261608" y="828654"/>
                  </a:moveTo>
                  <a:cubicBezTo>
                    <a:pt x="5261608" y="909382"/>
                    <a:pt x="5239596" y="986748"/>
                    <a:pt x="5205508" y="1025854"/>
                  </a:cubicBezTo>
                  <a:cubicBezTo>
                    <a:pt x="5153150" y="1087026"/>
                    <a:pt x="5080062" y="1122077"/>
                    <a:pt x="5005052" y="1122077"/>
                  </a:cubicBezTo>
                  <a:cubicBezTo>
                    <a:pt x="4855296" y="1122077"/>
                    <a:pt x="4746675" y="996361"/>
                    <a:pt x="4746675" y="823153"/>
                  </a:cubicBezTo>
                  <a:cubicBezTo>
                    <a:pt x="4746675" y="650316"/>
                    <a:pt x="4854386" y="529677"/>
                    <a:pt x="5008683" y="529677"/>
                  </a:cubicBezTo>
                  <a:cubicBezTo>
                    <a:pt x="5078193" y="529677"/>
                    <a:pt x="5151652" y="563177"/>
                    <a:pt x="5200378" y="617081"/>
                  </a:cubicBezTo>
                  <a:cubicBezTo>
                    <a:pt x="5246112" y="667892"/>
                    <a:pt x="5261608" y="721266"/>
                    <a:pt x="5261608" y="828654"/>
                  </a:cubicBezTo>
                  <a:moveTo>
                    <a:pt x="5327264" y="1583314"/>
                  </a:moveTo>
                  <a:cubicBezTo>
                    <a:pt x="5409426" y="1504990"/>
                    <a:pt x="5446113" y="1404277"/>
                    <a:pt x="5446113" y="1256819"/>
                  </a:cubicBezTo>
                  <a:lnTo>
                    <a:pt x="5446113" y="380187"/>
                  </a:lnTo>
                  <a:lnTo>
                    <a:pt x="5265239" y="380187"/>
                  </a:lnTo>
                  <a:lnTo>
                    <a:pt x="5265239" y="488537"/>
                  </a:lnTo>
                  <a:cubicBezTo>
                    <a:pt x="5186005" y="398673"/>
                    <a:pt x="5100153" y="359885"/>
                    <a:pt x="4982875" y="359885"/>
                  </a:cubicBezTo>
                  <a:cubicBezTo>
                    <a:pt x="4866567" y="359885"/>
                    <a:pt x="4771201" y="395361"/>
                    <a:pt x="4699394" y="465190"/>
                  </a:cubicBezTo>
                  <a:cubicBezTo>
                    <a:pt x="4611080" y="549710"/>
                    <a:pt x="4558400" y="685574"/>
                    <a:pt x="4558400" y="828654"/>
                  </a:cubicBezTo>
                  <a:cubicBezTo>
                    <a:pt x="4558400" y="1092743"/>
                    <a:pt x="4736097" y="1291865"/>
                    <a:pt x="4971816" y="1291865"/>
                  </a:cubicBezTo>
                  <a:cubicBezTo>
                    <a:pt x="5092032" y="1291865"/>
                    <a:pt x="5185952" y="1246830"/>
                    <a:pt x="5265239" y="1150553"/>
                  </a:cubicBezTo>
                  <a:lnTo>
                    <a:pt x="5265239" y="1267931"/>
                  </a:lnTo>
                  <a:cubicBezTo>
                    <a:pt x="5265239" y="1350745"/>
                    <a:pt x="5245313" y="1414431"/>
                    <a:pt x="5206095" y="1457116"/>
                  </a:cubicBezTo>
                  <a:cubicBezTo>
                    <a:pt x="5162288" y="1504291"/>
                    <a:pt x="5083159" y="1533625"/>
                    <a:pt x="4999546" y="1533625"/>
                  </a:cubicBezTo>
                  <a:cubicBezTo>
                    <a:pt x="4932122" y="1533625"/>
                    <a:pt x="4856471" y="1514979"/>
                    <a:pt x="4811695" y="1487409"/>
                  </a:cubicBezTo>
                  <a:cubicBezTo>
                    <a:pt x="4788777" y="1471596"/>
                    <a:pt x="4771254" y="1455624"/>
                    <a:pt x="4733588" y="1416300"/>
                  </a:cubicBezTo>
                  <a:lnTo>
                    <a:pt x="4719215" y="1401339"/>
                  </a:lnTo>
                  <a:lnTo>
                    <a:pt x="4595103" y="1525451"/>
                  </a:lnTo>
                  <a:lnTo>
                    <a:pt x="4607819" y="1539824"/>
                  </a:lnTo>
                  <a:cubicBezTo>
                    <a:pt x="4703719" y="1647106"/>
                    <a:pt x="4835528" y="1701544"/>
                    <a:pt x="4999546" y="1701544"/>
                  </a:cubicBezTo>
                  <a:cubicBezTo>
                    <a:pt x="5134664" y="1701544"/>
                    <a:pt x="5247981" y="1660675"/>
                    <a:pt x="5327264" y="1583314"/>
                  </a:cubicBezTo>
                  <a:moveTo>
                    <a:pt x="6317923" y="747497"/>
                  </a:moveTo>
                  <a:lnTo>
                    <a:pt x="5805203" y="747497"/>
                  </a:lnTo>
                  <a:cubicBezTo>
                    <a:pt x="5814785" y="696051"/>
                    <a:pt x="5825267" y="667627"/>
                    <a:pt x="5845913" y="635144"/>
                  </a:cubicBezTo>
                  <a:cubicBezTo>
                    <a:pt x="5892024" y="566756"/>
                    <a:pt x="5971327" y="525990"/>
                    <a:pt x="6057989" y="525990"/>
                  </a:cubicBezTo>
                  <a:cubicBezTo>
                    <a:pt x="6144228" y="525990"/>
                    <a:pt x="6225702" y="566274"/>
                    <a:pt x="6275730" y="633487"/>
                  </a:cubicBezTo>
                  <a:cubicBezTo>
                    <a:pt x="6300453" y="669067"/>
                    <a:pt x="6312047" y="699841"/>
                    <a:pt x="6317923" y="747497"/>
                  </a:cubicBezTo>
                  <a:moveTo>
                    <a:pt x="6508188" y="872890"/>
                  </a:moveTo>
                  <a:cubicBezTo>
                    <a:pt x="6510094" y="851683"/>
                    <a:pt x="6510094" y="827426"/>
                    <a:pt x="6510094" y="815779"/>
                  </a:cubicBezTo>
                  <a:cubicBezTo>
                    <a:pt x="6510094" y="555909"/>
                    <a:pt x="6315700" y="359885"/>
                    <a:pt x="6057989" y="359885"/>
                  </a:cubicBezTo>
                  <a:cubicBezTo>
                    <a:pt x="5798109" y="359885"/>
                    <a:pt x="5609538" y="557084"/>
                    <a:pt x="5609538" y="828654"/>
                  </a:cubicBezTo>
                  <a:cubicBezTo>
                    <a:pt x="5609538" y="1097074"/>
                    <a:pt x="5800491" y="1291865"/>
                    <a:pt x="6063495" y="1291865"/>
                  </a:cubicBezTo>
                  <a:cubicBezTo>
                    <a:pt x="6235020" y="1291865"/>
                    <a:pt x="6386956" y="1199867"/>
                    <a:pt x="6460066" y="1051710"/>
                  </a:cubicBezTo>
                  <a:lnTo>
                    <a:pt x="6469966" y="1031572"/>
                  </a:lnTo>
                  <a:lnTo>
                    <a:pt x="6308923" y="971517"/>
                  </a:lnTo>
                  <a:lnTo>
                    <a:pt x="6300559" y="986689"/>
                  </a:lnTo>
                  <a:cubicBezTo>
                    <a:pt x="6254237" y="1068968"/>
                    <a:pt x="6161169" y="1122077"/>
                    <a:pt x="6063495" y="1122077"/>
                  </a:cubicBezTo>
                  <a:cubicBezTo>
                    <a:pt x="5977415" y="1122077"/>
                    <a:pt x="5901923" y="1083664"/>
                    <a:pt x="5850784" y="1013832"/>
                  </a:cubicBezTo>
                  <a:cubicBezTo>
                    <a:pt x="5821932" y="975900"/>
                    <a:pt x="5809438" y="945021"/>
                    <a:pt x="5802132" y="891377"/>
                  </a:cubicBezTo>
                  <a:lnTo>
                    <a:pt x="6506547" y="891377"/>
                  </a:lnTo>
                  <a:lnTo>
                    <a:pt x="6508188" y="872890"/>
                  </a:lnTo>
                  <a:close/>
                  <a:moveTo>
                    <a:pt x="7205139" y="1271563"/>
                  </a:moveTo>
                  <a:lnTo>
                    <a:pt x="7385928" y="1271563"/>
                  </a:lnTo>
                  <a:lnTo>
                    <a:pt x="7385928" y="677294"/>
                  </a:lnTo>
                  <a:cubicBezTo>
                    <a:pt x="7385928" y="554734"/>
                    <a:pt x="7365387" y="491422"/>
                    <a:pt x="7307154" y="435163"/>
                  </a:cubicBezTo>
                  <a:cubicBezTo>
                    <a:pt x="7252520" y="386599"/>
                    <a:pt x="7177557" y="359885"/>
                    <a:pt x="7096189" y="359885"/>
                  </a:cubicBezTo>
                  <a:cubicBezTo>
                    <a:pt x="7000739" y="359885"/>
                    <a:pt x="6929853" y="391193"/>
                    <a:pt x="6863625" y="463694"/>
                  </a:cubicBezTo>
                  <a:lnTo>
                    <a:pt x="6863625" y="380187"/>
                  </a:lnTo>
                  <a:lnTo>
                    <a:pt x="6682836" y="380187"/>
                  </a:lnTo>
                  <a:lnTo>
                    <a:pt x="6682836" y="1271563"/>
                  </a:lnTo>
                  <a:lnTo>
                    <a:pt x="6863625" y="1271563"/>
                  </a:lnTo>
                  <a:lnTo>
                    <a:pt x="6863625" y="732701"/>
                  </a:lnTo>
                  <a:cubicBezTo>
                    <a:pt x="6863625" y="667839"/>
                    <a:pt x="6876278" y="632147"/>
                    <a:pt x="6913971" y="591066"/>
                  </a:cubicBezTo>
                  <a:cubicBezTo>
                    <a:pt x="6951505" y="548481"/>
                    <a:pt x="7002433" y="525990"/>
                    <a:pt x="7061143" y="525990"/>
                  </a:cubicBezTo>
                  <a:cubicBezTo>
                    <a:pt x="7110748" y="525990"/>
                    <a:pt x="7155428" y="544744"/>
                    <a:pt x="7177769" y="575089"/>
                  </a:cubicBezTo>
                  <a:cubicBezTo>
                    <a:pt x="7197410" y="601215"/>
                    <a:pt x="7205139" y="638722"/>
                    <a:pt x="7205139" y="708709"/>
                  </a:cubicBezTo>
                  <a:lnTo>
                    <a:pt x="7205139" y="1271563"/>
                  </a:lnTo>
                  <a:close/>
                  <a:moveTo>
                    <a:pt x="7822309" y="162418"/>
                  </a:moveTo>
                  <a:cubicBezTo>
                    <a:pt x="7822309" y="99268"/>
                    <a:pt x="7774452" y="49847"/>
                    <a:pt x="7713412" y="49847"/>
                  </a:cubicBezTo>
                  <a:cubicBezTo>
                    <a:pt x="7650255" y="49847"/>
                    <a:pt x="7602662" y="97451"/>
                    <a:pt x="7602662" y="160549"/>
                  </a:cubicBezTo>
                  <a:cubicBezTo>
                    <a:pt x="7602662" y="223699"/>
                    <a:pt x="7649514" y="271303"/>
                    <a:pt x="7711560" y="271303"/>
                  </a:cubicBezTo>
                  <a:cubicBezTo>
                    <a:pt x="7773711" y="271303"/>
                    <a:pt x="7822309" y="223432"/>
                    <a:pt x="7822309" y="162418"/>
                  </a:cubicBezTo>
                  <a:moveTo>
                    <a:pt x="8704760" y="826838"/>
                  </a:moveTo>
                  <a:cubicBezTo>
                    <a:pt x="8704760" y="1000692"/>
                    <a:pt x="8594751" y="1122077"/>
                    <a:pt x="8437150" y="1122077"/>
                  </a:cubicBezTo>
                  <a:cubicBezTo>
                    <a:pt x="8276002" y="1122077"/>
                    <a:pt x="8167740" y="1003466"/>
                    <a:pt x="8167740" y="826838"/>
                  </a:cubicBezTo>
                  <a:cubicBezTo>
                    <a:pt x="8167740" y="649088"/>
                    <a:pt x="8276743" y="529677"/>
                    <a:pt x="8439003" y="529677"/>
                  </a:cubicBezTo>
                  <a:cubicBezTo>
                    <a:pt x="8597980" y="529677"/>
                    <a:pt x="8704760" y="649088"/>
                    <a:pt x="8704760" y="826838"/>
                  </a:cubicBezTo>
                  <a:moveTo>
                    <a:pt x="8889307" y="828654"/>
                  </a:moveTo>
                  <a:cubicBezTo>
                    <a:pt x="8889307" y="557084"/>
                    <a:pt x="8699942" y="359885"/>
                    <a:pt x="8439003" y="359885"/>
                  </a:cubicBezTo>
                  <a:cubicBezTo>
                    <a:pt x="8170652" y="359885"/>
                    <a:pt x="7983193" y="551155"/>
                    <a:pt x="7983193" y="824916"/>
                  </a:cubicBezTo>
                  <a:cubicBezTo>
                    <a:pt x="7983193" y="1099848"/>
                    <a:pt x="8168375" y="1291865"/>
                    <a:pt x="8433444" y="1291865"/>
                  </a:cubicBezTo>
                  <a:cubicBezTo>
                    <a:pt x="8689089" y="1291865"/>
                    <a:pt x="8889307" y="1088418"/>
                    <a:pt x="8889307" y="828654"/>
                  </a:cubicBezTo>
                  <a:moveTo>
                    <a:pt x="9658150" y="1197940"/>
                  </a:moveTo>
                  <a:cubicBezTo>
                    <a:pt x="9724854" y="1137144"/>
                    <a:pt x="9749630" y="1068539"/>
                    <a:pt x="9749630" y="944968"/>
                  </a:cubicBezTo>
                  <a:lnTo>
                    <a:pt x="9749630" y="380187"/>
                  </a:lnTo>
                  <a:lnTo>
                    <a:pt x="9566988" y="380187"/>
                  </a:lnTo>
                  <a:lnTo>
                    <a:pt x="9566988" y="944968"/>
                  </a:lnTo>
                  <a:cubicBezTo>
                    <a:pt x="9566988" y="1008437"/>
                    <a:pt x="9558835" y="1039587"/>
                    <a:pt x="9535012" y="1068222"/>
                  </a:cubicBezTo>
                  <a:cubicBezTo>
                    <a:pt x="9503831" y="1104284"/>
                    <a:pt x="9453009" y="1125815"/>
                    <a:pt x="9399010" y="1125815"/>
                  </a:cubicBezTo>
                  <a:cubicBezTo>
                    <a:pt x="9299060" y="1125815"/>
                    <a:pt x="9229233" y="1049947"/>
                    <a:pt x="9229233" y="941225"/>
                  </a:cubicBezTo>
                  <a:lnTo>
                    <a:pt x="9229233" y="380187"/>
                  </a:lnTo>
                  <a:lnTo>
                    <a:pt x="9048391" y="380187"/>
                  </a:lnTo>
                  <a:lnTo>
                    <a:pt x="9048391" y="944968"/>
                  </a:lnTo>
                  <a:cubicBezTo>
                    <a:pt x="9048391" y="1054330"/>
                    <a:pt x="9078249" y="1136392"/>
                    <a:pt x="9139659" y="1195965"/>
                  </a:cubicBezTo>
                  <a:cubicBezTo>
                    <a:pt x="9204563" y="1256925"/>
                    <a:pt x="9299113" y="1291865"/>
                    <a:pt x="9399010" y="1291865"/>
                  </a:cubicBezTo>
                  <a:cubicBezTo>
                    <a:pt x="9499701" y="1291865"/>
                    <a:pt x="9591763" y="1258529"/>
                    <a:pt x="9658150" y="1197945"/>
                  </a:cubicBezTo>
                  <a:moveTo>
                    <a:pt x="10385594" y="653307"/>
                  </a:moveTo>
                  <a:lnTo>
                    <a:pt x="10567335" y="653307"/>
                  </a:lnTo>
                  <a:lnTo>
                    <a:pt x="10566383" y="632041"/>
                  </a:lnTo>
                  <a:cubicBezTo>
                    <a:pt x="10558442" y="459099"/>
                    <a:pt x="10442768" y="359885"/>
                    <a:pt x="10249009" y="359885"/>
                  </a:cubicBezTo>
                  <a:cubicBezTo>
                    <a:pt x="10058003" y="359885"/>
                    <a:pt x="9929730" y="467434"/>
                    <a:pt x="9929730" y="627446"/>
                  </a:cubicBezTo>
                  <a:cubicBezTo>
                    <a:pt x="9929730" y="765666"/>
                    <a:pt x="10016922" y="850825"/>
                    <a:pt x="10212587" y="903611"/>
                  </a:cubicBezTo>
                  <a:cubicBezTo>
                    <a:pt x="10347689" y="937858"/>
                    <a:pt x="10391099" y="968955"/>
                    <a:pt x="10391099" y="1031625"/>
                  </a:cubicBezTo>
                  <a:cubicBezTo>
                    <a:pt x="10391099" y="1095576"/>
                    <a:pt x="10336730" y="1136874"/>
                    <a:pt x="10252715" y="1136874"/>
                  </a:cubicBezTo>
                  <a:cubicBezTo>
                    <a:pt x="10155517" y="1136874"/>
                    <a:pt x="10102102" y="1093384"/>
                    <a:pt x="10093843" y="1007579"/>
                  </a:cubicBezTo>
                  <a:lnTo>
                    <a:pt x="10092096" y="989257"/>
                  </a:lnTo>
                  <a:lnTo>
                    <a:pt x="9913054" y="989257"/>
                  </a:lnTo>
                  <a:lnTo>
                    <a:pt x="9915066" y="1011216"/>
                  </a:lnTo>
                  <a:cubicBezTo>
                    <a:pt x="9930789" y="1194843"/>
                    <a:pt x="10047626" y="1291865"/>
                    <a:pt x="10252715" y="1291865"/>
                  </a:cubicBezTo>
                  <a:cubicBezTo>
                    <a:pt x="10445839" y="1291865"/>
                    <a:pt x="10575647" y="1184371"/>
                    <a:pt x="10575647" y="1024303"/>
                  </a:cubicBezTo>
                  <a:cubicBezTo>
                    <a:pt x="10575647" y="956667"/>
                    <a:pt x="10548542" y="890948"/>
                    <a:pt x="10501426" y="843879"/>
                  </a:cubicBezTo>
                  <a:cubicBezTo>
                    <a:pt x="10457485" y="799913"/>
                    <a:pt x="10397028" y="770955"/>
                    <a:pt x="10285750" y="740769"/>
                  </a:cubicBezTo>
                  <a:cubicBezTo>
                    <a:pt x="10125660" y="696474"/>
                    <a:pt x="10110519" y="671471"/>
                    <a:pt x="10110519" y="616440"/>
                  </a:cubicBezTo>
                  <a:cubicBezTo>
                    <a:pt x="10110519" y="553823"/>
                    <a:pt x="10161447" y="514877"/>
                    <a:pt x="10243398" y="514877"/>
                  </a:cubicBezTo>
                  <a:cubicBezTo>
                    <a:pt x="10329795" y="514877"/>
                    <a:pt x="10385594" y="557672"/>
                    <a:pt x="10385594" y="623762"/>
                  </a:cubicBezTo>
                  <a:lnTo>
                    <a:pt x="10385594" y="653307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</p:grp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BCA5C90F-E0EE-7045-38EF-5A6ED8503B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3" y="843892"/>
            <a:ext cx="7881937" cy="5511338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151848A5-8F73-5434-AE4D-105F9038444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9A026375-62A6-109E-869D-85C6DE7E4871}"/>
              </a:ext>
            </a:extLst>
          </p:cNvPr>
          <p:cNvGrpSpPr/>
          <p:nvPr userDrawn="1"/>
        </p:nvGrpSpPr>
        <p:grpSpPr>
          <a:xfrm rot="5400000">
            <a:off x="-3617983" y="3323777"/>
            <a:ext cx="6854690" cy="213756"/>
            <a:chOff x="-1" y="-286346"/>
            <a:chExt cx="5820565" cy="181508"/>
          </a:xfrm>
        </p:grpSpPr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1693922-15B5-0232-66F1-B667C4463405}"/>
                </a:ext>
              </a:extLst>
            </p:cNvPr>
            <p:cNvGrpSpPr/>
            <p:nvPr userDrawn="1"/>
          </p:nvGrpSpPr>
          <p:grpSpPr>
            <a:xfrm rot="16200000">
              <a:off x="363007" y="-649354"/>
              <a:ext cx="181503" cy="907520"/>
              <a:chOff x="1319213" y="-1663170"/>
              <a:chExt cx="181503" cy="907520"/>
            </a:xfrm>
          </p:grpSpPr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098FF13D-82FE-3FFB-58D2-8D939F525B31}"/>
                  </a:ext>
                </a:extLst>
              </p:cNvPr>
              <p:cNvSpPr/>
              <p:nvPr/>
            </p:nvSpPr>
            <p:spPr>
              <a:xfrm>
                <a:off x="1319213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44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2AF8BEAC-ACBD-93AE-60F6-899514C085E7}"/>
                  </a:ext>
                </a:extLst>
              </p:cNvPr>
              <p:cNvSpPr/>
              <p:nvPr/>
            </p:nvSpPr>
            <p:spPr>
              <a:xfrm>
                <a:off x="1319213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69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339F9E3E-BC47-CC4F-2FCE-D3467C6EF4ED}"/>
                  </a:ext>
                </a:extLst>
              </p:cNvPr>
              <p:cNvSpPr/>
              <p:nvPr/>
            </p:nvSpPr>
            <p:spPr>
              <a:xfrm>
                <a:off x="1319213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FE8F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B7CFDDEE-5058-8354-D28C-DAD62C410C57}"/>
                  </a:ext>
                </a:extLst>
              </p:cNvPr>
              <p:cNvSpPr/>
              <p:nvPr/>
            </p:nvSpPr>
            <p:spPr>
              <a:xfrm>
                <a:off x="1319213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B4B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F1453EAB-2374-7775-BA36-7ED8F243119C}"/>
                  </a:ext>
                </a:extLst>
              </p:cNvPr>
              <p:cNvSpPr/>
              <p:nvPr/>
            </p:nvSpPr>
            <p:spPr>
              <a:xfrm>
                <a:off x="1319213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D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B8538CE3-9E45-3F39-E473-B8C17C0F16CC}"/>
                </a:ext>
              </a:extLst>
            </p:cNvPr>
            <p:cNvGrpSpPr/>
            <p:nvPr userDrawn="1"/>
          </p:nvGrpSpPr>
          <p:grpSpPr>
            <a:xfrm rot="16200000">
              <a:off x="1345616" y="-649354"/>
              <a:ext cx="181503" cy="907520"/>
              <a:chOff x="1319213" y="-664912"/>
              <a:chExt cx="181503" cy="907520"/>
            </a:xfrm>
          </p:grpSpPr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4DE84B7C-62D5-0A07-843A-2373DDD4EB7F}"/>
                  </a:ext>
                </a:extLst>
              </p:cNvPr>
              <p:cNvSpPr/>
              <p:nvPr/>
            </p:nvSpPr>
            <p:spPr>
              <a:xfrm>
                <a:off x="1319213" y="-66491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6400A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FC13AD04-5FFF-C7A3-8160-D941B5EF0842}"/>
                  </a:ext>
                </a:extLst>
              </p:cNvPr>
              <p:cNvSpPr/>
              <p:nvPr/>
            </p:nvSpPr>
            <p:spPr>
              <a:xfrm>
                <a:off x="1319213" y="-483404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33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A87D83B1-6100-DE9E-9BD7-913AB42B9233}"/>
                  </a:ext>
                </a:extLst>
              </p:cNvPr>
              <p:cNvSpPr/>
              <p:nvPr/>
            </p:nvSpPr>
            <p:spPr>
              <a:xfrm>
                <a:off x="1319213" y="-30189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266C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F53C3CAD-621D-A5FE-DCE8-71E618204E08}"/>
                  </a:ext>
                </a:extLst>
              </p:cNvPr>
              <p:cNvSpPr/>
              <p:nvPr/>
            </p:nvSpPr>
            <p:spPr>
              <a:xfrm>
                <a:off x="1319213" y="-120387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199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F3C08663-8A01-0DD3-184F-B886325667D6}"/>
                  </a:ext>
                </a:extLst>
              </p:cNvPr>
              <p:cNvSpPr/>
              <p:nvPr/>
            </p:nvSpPr>
            <p:spPr>
              <a:xfrm>
                <a:off x="1319213" y="6110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0CC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DDA0B45A-554B-79FB-5756-1FD19297FB5D}"/>
                </a:ext>
              </a:extLst>
            </p:cNvPr>
            <p:cNvGrpSpPr/>
            <p:nvPr userDrawn="1"/>
          </p:nvGrpSpPr>
          <p:grpSpPr>
            <a:xfrm rot="16200000">
              <a:off x="2328223" y="-649352"/>
              <a:ext cx="181508" cy="907520"/>
              <a:chOff x="1682219" y="-1663170"/>
              <a:chExt cx="181508" cy="907520"/>
            </a:xfrm>
          </p:grpSpPr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919B7FC2-5565-4F5C-F7C3-D42779D3795A}"/>
                  </a:ext>
                </a:extLst>
              </p:cNvPr>
              <p:cNvSpPr/>
              <p:nvPr/>
            </p:nvSpPr>
            <p:spPr>
              <a:xfrm>
                <a:off x="1682219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CC8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5856A704-AC9E-291C-6C37-ED8C6E32B809}"/>
                  </a:ext>
                </a:extLst>
              </p:cNvPr>
              <p:cNvSpPr/>
              <p:nvPr/>
            </p:nvSpPr>
            <p:spPr>
              <a:xfrm>
                <a:off x="1682224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3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B76D8340-D391-EAA4-8AFA-61AE85DEEE6A}"/>
                  </a:ext>
                </a:extLst>
              </p:cNvPr>
              <p:cNvSpPr/>
              <p:nvPr/>
            </p:nvSpPr>
            <p:spPr>
              <a:xfrm>
                <a:off x="1682224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ADE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EBED1B44-858D-C5A2-EF43-80B78D445708}"/>
                  </a:ext>
                </a:extLst>
              </p:cNvPr>
              <p:cNvSpPr/>
              <p:nvPr/>
            </p:nvSpPr>
            <p:spPr>
              <a:xfrm>
                <a:off x="1682224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E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AF7F0821-0334-B152-FAF2-B3D189688299}"/>
                  </a:ext>
                </a:extLst>
              </p:cNvPr>
              <p:cNvSpPr/>
              <p:nvPr/>
            </p:nvSpPr>
            <p:spPr>
              <a:xfrm>
                <a:off x="1682219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8F4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D2A9516C-0EC4-933A-86BF-3D3D8E960C9E}"/>
                </a:ext>
              </a:extLst>
            </p:cNvPr>
            <p:cNvGrpSpPr/>
            <p:nvPr userDrawn="1"/>
          </p:nvGrpSpPr>
          <p:grpSpPr>
            <a:xfrm rot="16200000">
              <a:off x="5276052" y="-649354"/>
              <a:ext cx="181503" cy="907520"/>
              <a:chOff x="2226738" y="-1663170"/>
              <a:chExt cx="181503" cy="907520"/>
            </a:xfrm>
          </p:grpSpPr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7053EC9D-5BE9-E7D1-0F40-FF66E4860C87}"/>
                  </a:ext>
                </a:extLst>
              </p:cNvPr>
              <p:cNvSpPr/>
              <p:nvPr/>
            </p:nvSpPr>
            <p:spPr>
              <a:xfrm>
                <a:off x="2226738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4419FD47-D6E2-97C6-A3D3-C8300B0E5DD5}"/>
                  </a:ext>
                </a:extLst>
              </p:cNvPr>
              <p:cNvSpPr/>
              <p:nvPr/>
            </p:nvSpPr>
            <p:spPr>
              <a:xfrm>
                <a:off x="2226738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5757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F50C597D-5F2D-DDD1-AB65-226E06E8F6CB}"/>
                  </a:ext>
                </a:extLst>
              </p:cNvPr>
              <p:cNvSpPr/>
              <p:nvPr/>
            </p:nvSpPr>
            <p:spPr>
              <a:xfrm>
                <a:off x="2226738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8787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3AC9DFAF-F8D2-9F8A-CD15-CD23807FD5B3}"/>
                  </a:ext>
                </a:extLst>
              </p:cNvPr>
              <p:cNvSpPr/>
              <p:nvPr/>
            </p:nvSpPr>
            <p:spPr>
              <a:xfrm>
                <a:off x="2226738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2B2B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C567B461-6B0B-BA93-08D1-6462C26FF206}"/>
                  </a:ext>
                </a:extLst>
              </p:cNvPr>
              <p:cNvSpPr/>
              <p:nvPr/>
            </p:nvSpPr>
            <p:spPr>
              <a:xfrm>
                <a:off x="2226738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DA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32F32A0D-4B90-5EF9-1DB2-BC823907FF01}"/>
                </a:ext>
              </a:extLst>
            </p:cNvPr>
            <p:cNvGrpSpPr/>
            <p:nvPr userDrawn="1"/>
          </p:nvGrpSpPr>
          <p:grpSpPr>
            <a:xfrm rot="16200000">
              <a:off x="3310834" y="-649354"/>
              <a:ext cx="181503" cy="907520"/>
              <a:chOff x="1863727" y="-1663170"/>
              <a:chExt cx="181503" cy="907520"/>
            </a:xfrm>
          </p:grpSpPr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2E19152A-3180-4128-57E1-6CB9E0B3FE2D}"/>
                  </a:ext>
                </a:extLst>
              </p:cNvPr>
              <p:cNvSpPr/>
              <p:nvPr/>
            </p:nvSpPr>
            <p:spPr>
              <a:xfrm>
                <a:off x="1863727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2A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52690BC3-11EB-6775-6F0F-226FBE5251AE}"/>
                  </a:ext>
                </a:extLst>
              </p:cNvPr>
              <p:cNvSpPr/>
              <p:nvPr/>
            </p:nvSpPr>
            <p:spPr>
              <a:xfrm>
                <a:off x="1863727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5DB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E09E8236-93DE-65AB-254D-5485B8A16930}"/>
                  </a:ext>
                </a:extLst>
              </p:cNvPr>
              <p:cNvSpPr/>
              <p:nvPr/>
            </p:nvSpPr>
            <p:spPr>
              <a:xfrm>
                <a:off x="1863727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8E4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246F5E6B-B7F7-0C6B-BBCA-FAB491EFF0E7}"/>
                  </a:ext>
                </a:extLst>
              </p:cNvPr>
              <p:cNvSpPr/>
              <p:nvPr/>
            </p:nvSpPr>
            <p:spPr>
              <a:xfrm>
                <a:off x="1863727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ED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27D08330-98C6-0867-83A6-F82E105157A0}"/>
                  </a:ext>
                </a:extLst>
              </p:cNvPr>
              <p:cNvSpPr/>
              <p:nvPr/>
            </p:nvSpPr>
            <p:spPr>
              <a:xfrm>
                <a:off x="1863727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DF6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0E5E658B-401D-E781-3140-7982F8F768C6}"/>
                </a:ext>
              </a:extLst>
            </p:cNvPr>
            <p:cNvGrpSpPr/>
            <p:nvPr userDrawn="1"/>
          </p:nvGrpSpPr>
          <p:grpSpPr>
            <a:xfrm rot="16200000">
              <a:off x="4293441" y="-649352"/>
              <a:ext cx="181508" cy="907520"/>
              <a:chOff x="2045230" y="-1663170"/>
              <a:chExt cx="181508" cy="907520"/>
            </a:xfrm>
          </p:grpSpPr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B35BE9AF-C0BE-D7C8-E89D-9F3A94D3D7E2}"/>
                  </a:ext>
                </a:extLst>
              </p:cNvPr>
              <p:cNvSpPr/>
              <p:nvPr/>
            </p:nvSpPr>
            <p:spPr>
              <a:xfrm>
                <a:off x="2045230" y="-937158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9F7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999EC4EA-D6D6-A0B6-50D1-9D943EB295A4}"/>
                  </a:ext>
                </a:extLst>
              </p:cNvPr>
              <p:cNvSpPr/>
              <p:nvPr/>
            </p:nvSpPr>
            <p:spPr>
              <a:xfrm>
                <a:off x="2045230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FED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113B809C-6C76-3E84-C446-4F5CE48854EA}"/>
                  </a:ext>
                </a:extLst>
              </p:cNvPr>
              <p:cNvSpPr/>
              <p:nvPr/>
            </p:nvSpPr>
            <p:spPr>
              <a:xfrm>
                <a:off x="2045230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5E3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F7591DBF-4101-F70C-89E6-0144F6475167}"/>
                  </a:ext>
                </a:extLst>
              </p:cNvPr>
              <p:cNvSpPr/>
              <p:nvPr/>
            </p:nvSpPr>
            <p:spPr>
              <a:xfrm>
                <a:off x="2045230" y="-1663170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CFC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60BDE9B1-6A5B-C203-FFA0-63300FA7CA81}"/>
                  </a:ext>
                </a:extLst>
              </p:cNvPr>
              <p:cNvSpPr/>
              <p:nvPr/>
            </p:nvSpPr>
            <p:spPr>
              <a:xfrm>
                <a:off x="2045230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BD9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844758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3" y="843892"/>
            <a:ext cx="5437187" cy="5512458"/>
          </a:xfrm>
        </p:spPr>
        <p:txBody>
          <a:bodyPr/>
          <a:lstStyle>
            <a:lvl1pPr>
              <a:spcAft>
                <a:spcPts val="2600"/>
              </a:spcAft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D834B0BE-9A6D-BDE2-133F-E1F84E195D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96200" y="842059"/>
            <a:ext cx="3836985" cy="5512458"/>
          </a:xfrm>
        </p:spPr>
        <p:txBody>
          <a:bodyPr/>
          <a:lstStyle>
            <a:lvl1pPr>
              <a:lnSpc>
                <a:spcPct val="95000"/>
              </a:lnSpc>
              <a:spcAft>
                <a:spcPts val="3600"/>
              </a:spcAft>
              <a:defRPr sz="4000"/>
            </a:lvl1pPr>
            <a:lvl2pPr>
              <a:defRPr sz="2000"/>
            </a:lvl2pPr>
            <a:lvl5pPr>
              <a:defRPr/>
            </a:lvl5pPr>
          </a:lstStyle>
          <a:p>
            <a:pPr lvl="0"/>
            <a:r>
              <a:rPr lang="en-GB" noProof="0"/>
              <a:t>Level 1 (Highlight)</a:t>
            </a:r>
          </a:p>
          <a:p>
            <a:pPr lvl="1"/>
            <a:r>
              <a:rPr lang="en-GB" noProof="0"/>
              <a:t>Level 2 (Subline or Source)</a:t>
            </a:r>
          </a:p>
          <a:p>
            <a:pPr lvl="2"/>
            <a:r>
              <a:rPr lang="en-GB" noProof="0"/>
              <a:t>Level 3 (Copy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57C73905-C37F-F086-6544-F9B85271E8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</p:spTree>
    <p:extLst>
      <p:ext uri="{BB962C8B-B14F-4D97-AF65-F5344CB8AC3E}">
        <p14:creationId xmlns:p14="http://schemas.microsoft.com/office/powerpoint/2010/main" val="129185134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 (red) and Text 3/4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Grafik 48">
            <a:extLst>
              <a:ext uri="{FF2B5EF4-FFF2-40B4-BE49-F238E27FC236}">
                <a16:creationId xmlns:a16="http://schemas.microsoft.com/office/drawing/2014/main" id="{33642124-AD48-D4D4-1D68-45CC8F3E5A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6694" y="0"/>
            <a:ext cx="3035305" cy="6857999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72650" y="843891"/>
            <a:ext cx="1760536" cy="55106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964FA6FD-B18C-64CF-40CD-9C782D91C43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415668" y="503483"/>
            <a:ext cx="1289916" cy="180000"/>
            <a:chOff x="-161925" y="-1630732"/>
            <a:chExt cx="12193587" cy="1701544"/>
          </a:xfrm>
          <a:solidFill>
            <a:schemeClr val="bg1"/>
          </a:solidFill>
        </p:grpSpPr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0BAA8276-ECA1-E336-BCFB-04B3EC51B77A}"/>
                </a:ext>
              </a:extLst>
            </p:cNvPr>
            <p:cNvSpPr/>
            <p:nvPr/>
          </p:nvSpPr>
          <p:spPr>
            <a:xfrm>
              <a:off x="10774928" y="-1247713"/>
              <a:ext cx="1256734" cy="356304"/>
            </a:xfrm>
            <a:custGeom>
              <a:avLst/>
              <a:gdLst>
                <a:gd name="connsiteX0" fmla="*/ 1226823 w 1256734"/>
                <a:gd name="connsiteY0" fmla="*/ 269166 h 356304"/>
                <a:gd name="connsiteX1" fmla="*/ 1133491 w 1256734"/>
                <a:gd name="connsiteY1" fmla="*/ 316610 h 356304"/>
                <a:gd name="connsiteX2" fmla="*/ 1010248 w 1256734"/>
                <a:gd name="connsiteY2" fmla="*/ 178448 h 356304"/>
                <a:gd name="connsiteX3" fmla="*/ 1131426 w 1256734"/>
                <a:gd name="connsiteY3" fmla="*/ 39696 h 356304"/>
                <a:gd name="connsiteX4" fmla="*/ 1226823 w 1256734"/>
                <a:gd name="connsiteY4" fmla="*/ 86659 h 356304"/>
                <a:gd name="connsiteX5" fmla="*/ 1256735 w 1256734"/>
                <a:gd name="connsiteY5" fmla="*/ 58823 h 356304"/>
                <a:gd name="connsiteX6" fmla="*/ 1216553 w 1256734"/>
                <a:gd name="connsiteY6" fmla="*/ 23241 h 356304"/>
                <a:gd name="connsiteX7" fmla="*/ 1130420 w 1256734"/>
                <a:gd name="connsiteY7" fmla="*/ 0 h 356304"/>
                <a:gd name="connsiteX8" fmla="*/ 965885 w 1256734"/>
                <a:gd name="connsiteY8" fmla="*/ 178448 h 356304"/>
                <a:gd name="connsiteX9" fmla="*/ 1011783 w 1256734"/>
                <a:gd name="connsiteY9" fmla="*/ 305763 h 356304"/>
                <a:gd name="connsiteX10" fmla="*/ 1129892 w 1256734"/>
                <a:gd name="connsiteY10" fmla="*/ 356305 h 356304"/>
                <a:gd name="connsiteX11" fmla="*/ 1255676 w 1256734"/>
                <a:gd name="connsiteY11" fmla="*/ 298071 h 356304"/>
                <a:gd name="connsiteX12" fmla="*/ 1226823 w 1256734"/>
                <a:gd name="connsiteY12" fmla="*/ 269166 h 356304"/>
                <a:gd name="connsiteX13" fmla="*/ 679216 w 1256734"/>
                <a:gd name="connsiteY13" fmla="*/ 197999 h 356304"/>
                <a:gd name="connsiteX14" fmla="*/ 846824 w 1256734"/>
                <a:gd name="connsiteY14" fmla="*/ 197999 h 356304"/>
                <a:gd name="connsiteX15" fmla="*/ 846824 w 1256734"/>
                <a:gd name="connsiteY15" fmla="*/ 350105 h 356304"/>
                <a:gd name="connsiteX16" fmla="*/ 890075 w 1256734"/>
                <a:gd name="connsiteY16" fmla="*/ 350105 h 356304"/>
                <a:gd name="connsiteX17" fmla="*/ 890075 w 1256734"/>
                <a:gd name="connsiteY17" fmla="*/ 6198 h 356304"/>
                <a:gd name="connsiteX18" fmla="*/ 846824 w 1256734"/>
                <a:gd name="connsiteY18" fmla="*/ 6198 h 356304"/>
                <a:gd name="connsiteX19" fmla="*/ 846824 w 1256734"/>
                <a:gd name="connsiteY19" fmla="*/ 160920 h 356304"/>
                <a:gd name="connsiteX20" fmla="*/ 679216 w 1256734"/>
                <a:gd name="connsiteY20" fmla="*/ 160920 h 356304"/>
                <a:gd name="connsiteX21" fmla="*/ 679216 w 1256734"/>
                <a:gd name="connsiteY21" fmla="*/ 6198 h 356304"/>
                <a:gd name="connsiteX22" fmla="*/ 635912 w 1256734"/>
                <a:gd name="connsiteY22" fmla="*/ 6198 h 356304"/>
                <a:gd name="connsiteX23" fmla="*/ 635912 w 1256734"/>
                <a:gd name="connsiteY23" fmla="*/ 350105 h 356304"/>
                <a:gd name="connsiteX24" fmla="*/ 679216 w 1256734"/>
                <a:gd name="connsiteY24" fmla="*/ 350105 h 356304"/>
                <a:gd name="connsiteX25" fmla="*/ 679216 w 1256734"/>
                <a:gd name="connsiteY25" fmla="*/ 197999 h 356304"/>
                <a:gd name="connsiteX26" fmla="*/ 392018 w 1256734"/>
                <a:gd name="connsiteY26" fmla="*/ 40230 h 356304"/>
                <a:gd name="connsiteX27" fmla="*/ 476563 w 1256734"/>
                <a:gd name="connsiteY27" fmla="*/ 75813 h 356304"/>
                <a:gd name="connsiteX28" fmla="*/ 515792 w 1256734"/>
                <a:gd name="connsiteY28" fmla="*/ 181011 h 356304"/>
                <a:gd name="connsiteX29" fmla="*/ 482758 w 1256734"/>
                <a:gd name="connsiteY29" fmla="*/ 275365 h 356304"/>
                <a:gd name="connsiteX30" fmla="*/ 390960 w 1256734"/>
                <a:gd name="connsiteY30" fmla="*/ 316610 h 356304"/>
                <a:gd name="connsiteX31" fmla="*/ 267239 w 1256734"/>
                <a:gd name="connsiteY31" fmla="*/ 178448 h 356304"/>
                <a:gd name="connsiteX32" fmla="*/ 392018 w 1256734"/>
                <a:gd name="connsiteY32" fmla="*/ 40230 h 356304"/>
                <a:gd name="connsiteX33" fmla="*/ 393077 w 1256734"/>
                <a:gd name="connsiteY33" fmla="*/ 0 h 356304"/>
                <a:gd name="connsiteX34" fmla="*/ 222876 w 1256734"/>
                <a:gd name="connsiteY34" fmla="*/ 179994 h 356304"/>
                <a:gd name="connsiteX35" fmla="*/ 258982 w 1256734"/>
                <a:gd name="connsiteY35" fmla="*/ 291872 h 356304"/>
                <a:gd name="connsiteX36" fmla="*/ 392018 w 1256734"/>
                <a:gd name="connsiteY36" fmla="*/ 356305 h 356304"/>
                <a:gd name="connsiteX37" fmla="*/ 501868 w 1256734"/>
                <a:gd name="connsiteY37" fmla="*/ 315059 h 356304"/>
                <a:gd name="connsiteX38" fmla="*/ 560155 w 1256734"/>
                <a:gd name="connsiteY38" fmla="*/ 181545 h 356304"/>
                <a:gd name="connsiteX39" fmla="*/ 519921 w 1256734"/>
                <a:gd name="connsiteY39" fmla="*/ 59304 h 356304"/>
                <a:gd name="connsiteX40" fmla="*/ 393077 w 1256734"/>
                <a:gd name="connsiteY40" fmla="*/ 0 h 356304"/>
                <a:gd name="connsiteX41" fmla="*/ 43306 w 1256734"/>
                <a:gd name="connsiteY41" fmla="*/ 310946 h 356304"/>
                <a:gd name="connsiteX42" fmla="*/ 43306 w 1256734"/>
                <a:gd name="connsiteY42" fmla="*/ 6198 h 356304"/>
                <a:gd name="connsiteX43" fmla="*/ 0 w 1256734"/>
                <a:gd name="connsiteY43" fmla="*/ 6198 h 356304"/>
                <a:gd name="connsiteX44" fmla="*/ 0 w 1256734"/>
                <a:gd name="connsiteY44" fmla="*/ 350105 h 356304"/>
                <a:gd name="connsiteX45" fmla="*/ 194237 w 1256734"/>
                <a:gd name="connsiteY45" fmla="*/ 350105 h 356304"/>
                <a:gd name="connsiteX46" fmla="*/ 194237 w 1256734"/>
                <a:gd name="connsiteY46" fmla="*/ 310946 h 356304"/>
                <a:gd name="connsiteX47" fmla="*/ 43306 w 1256734"/>
                <a:gd name="connsiteY47" fmla="*/ 310946 h 35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256734" h="356304">
                  <a:moveTo>
                    <a:pt x="1226823" y="269166"/>
                  </a:moveTo>
                  <a:cubicBezTo>
                    <a:pt x="1200037" y="301650"/>
                    <a:pt x="1171131" y="316610"/>
                    <a:pt x="1133491" y="316610"/>
                  </a:cubicBezTo>
                  <a:cubicBezTo>
                    <a:pt x="1062341" y="316610"/>
                    <a:pt x="1010248" y="258371"/>
                    <a:pt x="1010248" y="178448"/>
                  </a:cubicBezTo>
                  <a:cubicBezTo>
                    <a:pt x="1010248" y="97985"/>
                    <a:pt x="1061334" y="39696"/>
                    <a:pt x="1131426" y="39696"/>
                  </a:cubicBezTo>
                  <a:cubicBezTo>
                    <a:pt x="1168008" y="39696"/>
                    <a:pt x="1193313" y="52092"/>
                    <a:pt x="1226823" y="86659"/>
                  </a:cubicBezTo>
                  <a:lnTo>
                    <a:pt x="1256735" y="58823"/>
                  </a:lnTo>
                  <a:cubicBezTo>
                    <a:pt x="1239742" y="40230"/>
                    <a:pt x="1230424" y="32003"/>
                    <a:pt x="1216553" y="23241"/>
                  </a:cubicBezTo>
                  <a:cubicBezTo>
                    <a:pt x="1191725" y="8281"/>
                    <a:pt x="1161338" y="0"/>
                    <a:pt x="1130420" y="0"/>
                  </a:cubicBezTo>
                  <a:cubicBezTo>
                    <a:pt x="1035500" y="0"/>
                    <a:pt x="965885" y="75279"/>
                    <a:pt x="965885" y="178448"/>
                  </a:cubicBezTo>
                  <a:cubicBezTo>
                    <a:pt x="965885" y="226369"/>
                    <a:pt x="982931" y="273279"/>
                    <a:pt x="1011783" y="305763"/>
                  </a:cubicBezTo>
                  <a:cubicBezTo>
                    <a:pt x="1041165" y="338782"/>
                    <a:pt x="1081928" y="356305"/>
                    <a:pt x="1129892" y="356305"/>
                  </a:cubicBezTo>
                  <a:cubicBezTo>
                    <a:pt x="1182990" y="356305"/>
                    <a:pt x="1221107" y="338782"/>
                    <a:pt x="1255676" y="298071"/>
                  </a:cubicBezTo>
                  <a:lnTo>
                    <a:pt x="1226823" y="269166"/>
                  </a:lnTo>
                  <a:close/>
                  <a:moveTo>
                    <a:pt x="679216" y="197999"/>
                  </a:moveTo>
                  <a:lnTo>
                    <a:pt x="846824" y="197999"/>
                  </a:lnTo>
                  <a:lnTo>
                    <a:pt x="846824" y="350105"/>
                  </a:lnTo>
                  <a:lnTo>
                    <a:pt x="890075" y="350105"/>
                  </a:lnTo>
                  <a:lnTo>
                    <a:pt x="890075" y="6198"/>
                  </a:lnTo>
                  <a:lnTo>
                    <a:pt x="846824" y="6198"/>
                  </a:lnTo>
                  <a:lnTo>
                    <a:pt x="846824" y="160920"/>
                  </a:lnTo>
                  <a:lnTo>
                    <a:pt x="679216" y="160920"/>
                  </a:lnTo>
                  <a:lnTo>
                    <a:pt x="679216" y="6198"/>
                  </a:lnTo>
                  <a:lnTo>
                    <a:pt x="635912" y="6198"/>
                  </a:lnTo>
                  <a:lnTo>
                    <a:pt x="635912" y="350105"/>
                  </a:lnTo>
                  <a:lnTo>
                    <a:pt x="679216" y="350105"/>
                  </a:lnTo>
                  <a:lnTo>
                    <a:pt x="679216" y="197999"/>
                  </a:lnTo>
                  <a:close/>
                  <a:moveTo>
                    <a:pt x="392018" y="40230"/>
                  </a:moveTo>
                  <a:cubicBezTo>
                    <a:pt x="422459" y="40230"/>
                    <a:pt x="453904" y="53641"/>
                    <a:pt x="476563" y="75813"/>
                  </a:cubicBezTo>
                  <a:cubicBezTo>
                    <a:pt x="503404" y="101618"/>
                    <a:pt x="515792" y="135117"/>
                    <a:pt x="515792" y="181011"/>
                  </a:cubicBezTo>
                  <a:cubicBezTo>
                    <a:pt x="515792" y="216057"/>
                    <a:pt x="502874" y="253189"/>
                    <a:pt x="482758" y="275365"/>
                  </a:cubicBezTo>
                  <a:cubicBezTo>
                    <a:pt x="459569" y="301650"/>
                    <a:pt x="425530" y="316610"/>
                    <a:pt x="390960" y="316610"/>
                  </a:cubicBezTo>
                  <a:cubicBezTo>
                    <a:pt x="319809" y="316610"/>
                    <a:pt x="267239" y="258371"/>
                    <a:pt x="267239" y="178448"/>
                  </a:cubicBezTo>
                  <a:cubicBezTo>
                    <a:pt x="267239" y="99000"/>
                    <a:pt x="320338" y="40230"/>
                    <a:pt x="392018" y="40230"/>
                  </a:cubicBezTo>
                  <a:moveTo>
                    <a:pt x="393077" y="0"/>
                  </a:moveTo>
                  <a:cubicBezTo>
                    <a:pt x="295615" y="0"/>
                    <a:pt x="222876" y="77362"/>
                    <a:pt x="222876" y="179994"/>
                  </a:cubicBezTo>
                  <a:cubicBezTo>
                    <a:pt x="222876" y="223273"/>
                    <a:pt x="235318" y="261956"/>
                    <a:pt x="258982" y="291872"/>
                  </a:cubicBezTo>
                  <a:cubicBezTo>
                    <a:pt x="290957" y="332101"/>
                    <a:pt x="340985" y="356305"/>
                    <a:pt x="392018" y="356305"/>
                  </a:cubicBezTo>
                  <a:cubicBezTo>
                    <a:pt x="431723" y="356305"/>
                    <a:pt x="470899" y="341879"/>
                    <a:pt x="501868" y="315059"/>
                  </a:cubicBezTo>
                  <a:cubicBezTo>
                    <a:pt x="539509" y="283110"/>
                    <a:pt x="560155" y="235131"/>
                    <a:pt x="560155" y="181545"/>
                  </a:cubicBezTo>
                  <a:cubicBezTo>
                    <a:pt x="560155" y="129935"/>
                    <a:pt x="547715" y="91788"/>
                    <a:pt x="519921" y="59304"/>
                  </a:cubicBezTo>
                  <a:cubicBezTo>
                    <a:pt x="486886" y="21691"/>
                    <a:pt x="440988" y="0"/>
                    <a:pt x="393077" y="0"/>
                  </a:cubicBezTo>
                  <a:moveTo>
                    <a:pt x="43306" y="310946"/>
                  </a:moveTo>
                  <a:lnTo>
                    <a:pt x="43306" y="6198"/>
                  </a:lnTo>
                  <a:lnTo>
                    <a:pt x="0" y="6198"/>
                  </a:lnTo>
                  <a:lnTo>
                    <a:pt x="0" y="350105"/>
                  </a:lnTo>
                  <a:lnTo>
                    <a:pt x="194237" y="350105"/>
                  </a:lnTo>
                  <a:lnTo>
                    <a:pt x="194237" y="310946"/>
                  </a:lnTo>
                  <a:lnTo>
                    <a:pt x="43306" y="310946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B77DA9CA-81E3-9C95-68A3-BFADB2CD7E3C}"/>
                </a:ext>
              </a:extLst>
            </p:cNvPr>
            <p:cNvSpPr/>
            <p:nvPr/>
          </p:nvSpPr>
          <p:spPr>
            <a:xfrm>
              <a:off x="-161925" y="-1630732"/>
              <a:ext cx="10575647" cy="1701544"/>
            </a:xfrm>
            <a:custGeom>
              <a:avLst/>
              <a:gdLst>
                <a:gd name="connsiteX0" fmla="*/ 7802033 w 10575647"/>
                <a:gd name="connsiteY0" fmla="*/ 380187 h 1701544"/>
                <a:gd name="connsiteX1" fmla="*/ 7621138 w 10575647"/>
                <a:gd name="connsiteY1" fmla="*/ 380187 h 1701544"/>
                <a:gd name="connsiteX2" fmla="*/ 7621138 w 10575647"/>
                <a:gd name="connsiteY2" fmla="*/ 1271563 h 1701544"/>
                <a:gd name="connsiteX3" fmla="*/ 7802033 w 10575647"/>
                <a:gd name="connsiteY3" fmla="*/ 1271563 h 1701544"/>
                <a:gd name="connsiteX4" fmla="*/ 7802033 w 10575647"/>
                <a:gd name="connsiteY4" fmla="*/ 380187 h 1701544"/>
                <a:gd name="connsiteX5" fmla="*/ 706522 w 10575647"/>
                <a:gd name="connsiteY5" fmla="*/ 1271563 h 1701544"/>
                <a:gd name="connsiteX6" fmla="*/ 902065 w 10575647"/>
                <a:gd name="connsiteY6" fmla="*/ 1271563 h 1701544"/>
                <a:gd name="connsiteX7" fmla="*/ 902065 w 10575647"/>
                <a:gd name="connsiteY7" fmla="*/ 0 h 1701544"/>
                <a:gd name="connsiteX8" fmla="*/ 706522 w 10575647"/>
                <a:gd name="connsiteY8" fmla="*/ 0 h 1701544"/>
                <a:gd name="connsiteX9" fmla="*/ 706522 w 10575647"/>
                <a:gd name="connsiteY9" fmla="*/ 553717 h 1701544"/>
                <a:gd name="connsiteX10" fmla="*/ 195543 w 10575647"/>
                <a:gd name="connsiteY10" fmla="*/ 553717 h 1701544"/>
                <a:gd name="connsiteX11" fmla="*/ 195543 w 10575647"/>
                <a:gd name="connsiteY11" fmla="*/ 0 h 1701544"/>
                <a:gd name="connsiteX12" fmla="*/ 0 w 10575647"/>
                <a:gd name="connsiteY12" fmla="*/ 0 h 1701544"/>
                <a:gd name="connsiteX13" fmla="*/ 0 w 10575647"/>
                <a:gd name="connsiteY13" fmla="*/ 1271563 h 1701544"/>
                <a:gd name="connsiteX14" fmla="*/ 195543 w 10575647"/>
                <a:gd name="connsiteY14" fmla="*/ 1271563 h 1701544"/>
                <a:gd name="connsiteX15" fmla="*/ 195543 w 10575647"/>
                <a:gd name="connsiteY15" fmla="*/ 727142 h 1701544"/>
                <a:gd name="connsiteX16" fmla="*/ 706522 w 10575647"/>
                <a:gd name="connsiteY16" fmla="*/ 727142 h 1701544"/>
                <a:gd name="connsiteX17" fmla="*/ 706522 w 10575647"/>
                <a:gd name="connsiteY17" fmla="*/ 1271563 h 1701544"/>
                <a:gd name="connsiteX18" fmla="*/ 1306185 w 10575647"/>
                <a:gd name="connsiteY18" fmla="*/ 1690649 h 1701544"/>
                <a:gd name="connsiteX19" fmla="*/ 1654904 w 10575647"/>
                <a:gd name="connsiteY19" fmla="*/ 1036061 h 1701544"/>
                <a:gd name="connsiteX20" fmla="*/ 1306185 w 10575647"/>
                <a:gd name="connsiteY20" fmla="*/ 381469 h 1701544"/>
                <a:gd name="connsiteX21" fmla="*/ 1090234 w 10575647"/>
                <a:gd name="connsiteY21" fmla="*/ 381469 h 1701544"/>
                <a:gd name="connsiteX22" fmla="*/ 1438900 w 10575647"/>
                <a:gd name="connsiteY22" fmla="*/ 1036061 h 1701544"/>
                <a:gd name="connsiteX23" fmla="*/ 1090234 w 10575647"/>
                <a:gd name="connsiteY23" fmla="*/ 1690649 h 1701544"/>
                <a:gd name="connsiteX24" fmla="*/ 1306185 w 10575647"/>
                <a:gd name="connsiteY24" fmla="*/ 1690649 h 1701544"/>
                <a:gd name="connsiteX25" fmla="*/ 2581808 w 10575647"/>
                <a:gd name="connsiteY25" fmla="*/ 828654 h 1701544"/>
                <a:gd name="connsiteX26" fmla="*/ 2317883 w 10575647"/>
                <a:gd name="connsiteY26" fmla="*/ 1129505 h 1701544"/>
                <a:gd name="connsiteX27" fmla="*/ 2065011 w 10575647"/>
                <a:gd name="connsiteY27" fmla="*/ 832338 h 1701544"/>
                <a:gd name="connsiteX28" fmla="*/ 2327068 w 10575647"/>
                <a:gd name="connsiteY28" fmla="*/ 525990 h 1701544"/>
                <a:gd name="connsiteX29" fmla="*/ 2581808 w 10575647"/>
                <a:gd name="connsiteY29" fmla="*/ 828654 h 1701544"/>
                <a:gd name="connsiteX30" fmla="*/ 2581808 w 10575647"/>
                <a:gd name="connsiteY30" fmla="*/ 1271563 h 1701544"/>
                <a:gd name="connsiteX31" fmla="*/ 2762608 w 10575647"/>
                <a:gd name="connsiteY31" fmla="*/ 1271563 h 1701544"/>
                <a:gd name="connsiteX32" fmla="*/ 2762608 w 10575647"/>
                <a:gd name="connsiteY32" fmla="*/ 0 h 1701544"/>
                <a:gd name="connsiteX33" fmla="*/ 2581808 w 10575647"/>
                <a:gd name="connsiteY33" fmla="*/ 0 h 1701544"/>
                <a:gd name="connsiteX34" fmla="*/ 2581808 w 10575647"/>
                <a:gd name="connsiteY34" fmla="*/ 476356 h 1701544"/>
                <a:gd name="connsiteX35" fmla="*/ 2297581 w 10575647"/>
                <a:gd name="connsiteY35" fmla="*/ 359885 h 1701544"/>
                <a:gd name="connsiteX36" fmla="*/ 1876785 w 10575647"/>
                <a:gd name="connsiteY36" fmla="*/ 830470 h 1701544"/>
                <a:gd name="connsiteX37" fmla="*/ 2297581 w 10575647"/>
                <a:gd name="connsiteY37" fmla="*/ 1291865 h 1701544"/>
                <a:gd name="connsiteX38" fmla="*/ 2581808 w 10575647"/>
                <a:gd name="connsiteY38" fmla="*/ 1163217 h 1701544"/>
                <a:gd name="connsiteX39" fmla="*/ 2581808 w 10575647"/>
                <a:gd name="connsiteY39" fmla="*/ 1271563 h 1701544"/>
                <a:gd name="connsiteX40" fmla="*/ 3437445 w 10575647"/>
                <a:gd name="connsiteY40" fmla="*/ 542393 h 1701544"/>
                <a:gd name="connsiteX41" fmla="*/ 3460310 w 10575647"/>
                <a:gd name="connsiteY41" fmla="*/ 545331 h 1701544"/>
                <a:gd name="connsiteX42" fmla="*/ 3460310 w 10575647"/>
                <a:gd name="connsiteY42" fmla="*/ 359885 h 1701544"/>
                <a:gd name="connsiteX43" fmla="*/ 3406830 w 10575647"/>
                <a:gd name="connsiteY43" fmla="*/ 359885 h 1701544"/>
                <a:gd name="connsiteX44" fmla="*/ 3231965 w 10575647"/>
                <a:gd name="connsiteY44" fmla="*/ 415877 h 1701544"/>
                <a:gd name="connsiteX45" fmla="*/ 3187194 w 10575647"/>
                <a:gd name="connsiteY45" fmla="*/ 462091 h 1701544"/>
                <a:gd name="connsiteX46" fmla="*/ 3187194 w 10575647"/>
                <a:gd name="connsiteY46" fmla="*/ 380187 h 1701544"/>
                <a:gd name="connsiteX47" fmla="*/ 3006395 w 10575647"/>
                <a:gd name="connsiteY47" fmla="*/ 380187 h 1701544"/>
                <a:gd name="connsiteX48" fmla="*/ 3006395 w 10575647"/>
                <a:gd name="connsiteY48" fmla="*/ 1271563 h 1701544"/>
                <a:gd name="connsiteX49" fmla="*/ 3187194 w 10575647"/>
                <a:gd name="connsiteY49" fmla="*/ 1271563 h 1701544"/>
                <a:gd name="connsiteX50" fmla="*/ 3187194 w 10575647"/>
                <a:gd name="connsiteY50" fmla="*/ 819411 h 1701544"/>
                <a:gd name="connsiteX51" fmla="*/ 3233517 w 10575647"/>
                <a:gd name="connsiteY51" fmla="*/ 629638 h 1701544"/>
                <a:gd name="connsiteX52" fmla="*/ 3401277 w 10575647"/>
                <a:gd name="connsiteY52" fmla="*/ 540683 h 1701544"/>
                <a:gd name="connsiteX53" fmla="*/ 3437445 w 10575647"/>
                <a:gd name="connsiteY53" fmla="*/ 542393 h 1701544"/>
                <a:gd name="connsiteX54" fmla="*/ 4250980 w 10575647"/>
                <a:gd name="connsiteY54" fmla="*/ 826838 h 1701544"/>
                <a:gd name="connsiteX55" fmla="*/ 3983364 w 10575647"/>
                <a:gd name="connsiteY55" fmla="*/ 1122077 h 1701544"/>
                <a:gd name="connsiteX56" fmla="*/ 3713875 w 10575647"/>
                <a:gd name="connsiteY56" fmla="*/ 826838 h 1701544"/>
                <a:gd name="connsiteX57" fmla="*/ 3985180 w 10575647"/>
                <a:gd name="connsiteY57" fmla="*/ 529677 h 1701544"/>
                <a:gd name="connsiteX58" fmla="*/ 4250980 w 10575647"/>
                <a:gd name="connsiteY58" fmla="*/ 826838 h 1701544"/>
                <a:gd name="connsiteX59" fmla="*/ 4435464 w 10575647"/>
                <a:gd name="connsiteY59" fmla="*/ 828654 h 1701544"/>
                <a:gd name="connsiteX60" fmla="*/ 3985180 w 10575647"/>
                <a:gd name="connsiteY60" fmla="*/ 359885 h 1701544"/>
                <a:gd name="connsiteX61" fmla="*/ 3529338 w 10575647"/>
                <a:gd name="connsiteY61" fmla="*/ 824916 h 1701544"/>
                <a:gd name="connsiteX62" fmla="*/ 3979622 w 10575647"/>
                <a:gd name="connsiteY62" fmla="*/ 1291865 h 1701544"/>
                <a:gd name="connsiteX63" fmla="*/ 4435464 w 10575647"/>
                <a:gd name="connsiteY63" fmla="*/ 828654 h 1701544"/>
                <a:gd name="connsiteX64" fmla="*/ 5261608 w 10575647"/>
                <a:gd name="connsiteY64" fmla="*/ 828654 h 1701544"/>
                <a:gd name="connsiteX65" fmla="*/ 5205508 w 10575647"/>
                <a:gd name="connsiteY65" fmla="*/ 1025854 h 1701544"/>
                <a:gd name="connsiteX66" fmla="*/ 5005052 w 10575647"/>
                <a:gd name="connsiteY66" fmla="*/ 1122077 h 1701544"/>
                <a:gd name="connsiteX67" fmla="*/ 4746675 w 10575647"/>
                <a:gd name="connsiteY67" fmla="*/ 823153 h 1701544"/>
                <a:gd name="connsiteX68" fmla="*/ 5008683 w 10575647"/>
                <a:gd name="connsiteY68" fmla="*/ 529677 h 1701544"/>
                <a:gd name="connsiteX69" fmla="*/ 5200378 w 10575647"/>
                <a:gd name="connsiteY69" fmla="*/ 617081 h 1701544"/>
                <a:gd name="connsiteX70" fmla="*/ 5261608 w 10575647"/>
                <a:gd name="connsiteY70" fmla="*/ 828654 h 1701544"/>
                <a:gd name="connsiteX71" fmla="*/ 5327264 w 10575647"/>
                <a:gd name="connsiteY71" fmla="*/ 1583314 h 1701544"/>
                <a:gd name="connsiteX72" fmla="*/ 5446113 w 10575647"/>
                <a:gd name="connsiteY72" fmla="*/ 1256819 h 1701544"/>
                <a:gd name="connsiteX73" fmla="*/ 5446113 w 10575647"/>
                <a:gd name="connsiteY73" fmla="*/ 380187 h 1701544"/>
                <a:gd name="connsiteX74" fmla="*/ 5265239 w 10575647"/>
                <a:gd name="connsiteY74" fmla="*/ 380187 h 1701544"/>
                <a:gd name="connsiteX75" fmla="*/ 5265239 w 10575647"/>
                <a:gd name="connsiteY75" fmla="*/ 488537 h 1701544"/>
                <a:gd name="connsiteX76" fmla="*/ 4982875 w 10575647"/>
                <a:gd name="connsiteY76" fmla="*/ 359885 h 1701544"/>
                <a:gd name="connsiteX77" fmla="*/ 4699394 w 10575647"/>
                <a:gd name="connsiteY77" fmla="*/ 465190 h 1701544"/>
                <a:gd name="connsiteX78" fmla="*/ 4558400 w 10575647"/>
                <a:gd name="connsiteY78" fmla="*/ 828654 h 1701544"/>
                <a:gd name="connsiteX79" fmla="*/ 4971816 w 10575647"/>
                <a:gd name="connsiteY79" fmla="*/ 1291865 h 1701544"/>
                <a:gd name="connsiteX80" fmla="*/ 5265239 w 10575647"/>
                <a:gd name="connsiteY80" fmla="*/ 1150553 h 1701544"/>
                <a:gd name="connsiteX81" fmla="*/ 5265239 w 10575647"/>
                <a:gd name="connsiteY81" fmla="*/ 1267931 h 1701544"/>
                <a:gd name="connsiteX82" fmla="*/ 5206095 w 10575647"/>
                <a:gd name="connsiteY82" fmla="*/ 1457116 h 1701544"/>
                <a:gd name="connsiteX83" fmla="*/ 4999546 w 10575647"/>
                <a:gd name="connsiteY83" fmla="*/ 1533625 h 1701544"/>
                <a:gd name="connsiteX84" fmla="*/ 4811695 w 10575647"/>
                <a:gd name="connsiteY84" fmla="*/ 1487409 h 1701544"/>
                <a:gd name="connsiteX85" fmla="*/ 4733588 w 10575647"/>
                <a:gd name="connsiteY85" fmla="*/ 1416300 h 1701544"/>
                <a:gd name="connsiteX86" fmla="*/ 4719215 w 10575647"/>
                <a:gd name="connsiteY86" fmla="*/ 1401339 h 1701544"/>
                <a:gd name="connsiteX87" fmla="*/ 4595103 w 10575647"/>
                <a:gd name="connsiteY87" fmla="*/ 1525451 h 1701544"/>
                <a:gd name="connsiteX88" fmla="*/ 4607819 w 10575647"/>
                <a:gd name="connsiteY88" fmla="*/ 1539824 h 1701544"/>
                <a:gd name="connsiteX89" fmla="*/ 4999546 w 10575647"/>
                <a:gd name="connsiteY89" fmla="*/ 1701544 h 1701544"/>
                <a:gd name="connsiteX90" fmla="*/ 5327264 w 10575647"/>
                <a:gd name="connsiteY90" fmla="*/ 1583314 h 1701544"/>
                <a:gd name="connsiteX91" fmla="*/ 6317923 w 10575647"/>
                <a:gd name="connsiteY91" fmla="*/ 747497 h 1701544"/>
                <a:gd name="connsiteX92" fmla="*/ 5805203 w 10575647"/>
                <a:gd name="connsiteY92" fmla="*/ 747497 h 1701544"/>
                <a:gd name="connsiteX93" fmla="*/ 5845913 w 10575647"/>
                <a:gd name="connsiteY93" fmla="*/ 635144 h 1701544"/>
                <a:gd name="connsiteX94" fmla="*/ 6057989 w 10575647"/>
                <a:gd name="connsiteY94" fmla="*/ 525990 h 1701544"/>
                <a:gd name="connsiteX95" fmla="*/ 6275730 w 10575647"/>
                <a:gd name="connsiteY95" fmla="*/ 633487 h 1701544"/>
                <a:gd name="connsiteX96" fmla="*/ 6317923 w 10575647"/>
                <a:gd name="connsiteY96" fmla="*/ 747497 h 1701544"/>
                <a:gd name="connsiteX97" fmla="*/ 6508188 w 10575647"/>
                <a:gd name="connsiteY97" fmla="*/ 872890 h 1701544"/>
                <a:gd name="connsiteX98" fmla="*/ 6510094 w 10575647"/>
                <a:gd name="connsiteY98" fmla="*/ 815779 h 1701544"/>
                <a:gd name="connsiteX99" fmla="*/ 6057989 w 10575647"/>
                <a:gd name="connsiteY99" fmla="*/ 359885 h 1701544"/>
                <a:gd name="connsiteX100" fmla="*/ 5609538 w 10575647"/>
                <a:gd name="connsiteY100" fmla="*/ 828654 h 1701544"/>
                <a:gd name="connsiteX101" fmla="*/ 6063495 w 10575647"/>
                <a:gd name="connsiteY101" fmla="*/ 1291865 h 1701544"/>
                <a:gd name="connsiteX102" fmla="*/ 6460066 w 10575647"/>
                <a:gd name="connsiteY102" fmla="*/ 1051710 h 1701544"/>
                <a:gd name="connsiteX103" fmla="*/ 6469966 w 10575647"/>
                <a:gd name="connsiteY103" fmla="*/ 1031572 h 1701544"/>
                <a:gd name="connsiteX104" fmla="*/ 6308923 w 10575647"/>
                <a:gd name="connsiteY104" fmla="*/ 971517 h 1701544"/>
                <a:gd name="connsiteX105" fmla="*/ 6300559 w 10575647"/>
                <a:gd name="connsiteY105" fmla="*/ 986689 h 1701544"/>
                <a:gd name="connsiteX106" fmla="*/ 6063495 w 10575647"/>
                <a:gd name="connsiteY106" fmla="*/ 1122077 h 1701544"/>
                <a:gd name="connsiteX107" fmla="*/ 5850784 w 10575647"/>
                <a:gd name="connsiteY107" fmla="*/ 1013832 h 1701544"/>
                <a:gd name="connsiteX108" fmla="*/ 5802132 w 10575647"/>
                <a:gd name="connsiteY108" fmla="*/ 891377 h 1701544"/>
                <a:gd name="connsiteX109" fmla="*/ 6506547 w 10575647"/>
                <a:gd name="connsiteY109" fmla="*/ 891377 h 1701544"/>
                <a:gd name="connsiteX110" fmla="*/ 6508188 w 10575647"/>
                <a:gd name="connsiteY110" fmla="*/ 872890 h 1701544"/>
                <a:gd name="connsiteX111" fmla="*/ 7205139 w 10575647"/>
                <a:gd name="connsiteY111" fmla="*/ 1271563 h 1701544"/>
                <a:gd name="connsiteX112" fmla="*/ 7385928 w 10575647"/>
                <a:gd name="connsiteY112" fmla="*/ 1271563 h 1701544"/>
                <a:gd name="connsiteX113" fmla="*/ 7385928 w 10575647"/>
                <a:gd name="connsiteY113" fmla="*/ 677294 h 1701544"/>
                <a:gd name="connsiteX114" fmla="*/ 7307154 w 10575647"/>
                <a:gd name="connsiteY114" fmla="*/ 435163 h 1701544"/>
                <a:gd name="connsiteX115" fmla="*/ 7096189 w 10575647"/>
                <a:gd name="connsiteY115" fmla="*/ 359885 h 1701544"/>
                <a:gd name="connsiteX116" fmla="*/ 6863625 w 10575647"/>
                <a:gd name="connsiteY116" fmla="*/ 463694 h 1701544"/>
                <a:gd name="connsiteX117" fmla="*/ 6863625 w 10575647"/>
                <a:gd name="connsiteY117" fmla="*/ 380187 h 1701544"/>
                <a:gd name="connsiteX118" fmla="*/ 6682836 w 10575647"/>
                <a:gd name="connsiteY118" fmla="*/ 380187 h 1701544"/>
                <a:gd name="connsiteX119" fmla="*/ 6682836 w 10575647"/>
                <a:gd name="connsiteY119" fmla="*/ 1271563 h 1701544"/>
                <a:gd name="connsiteX120" fmla="*/ 6863625 w 10575647"/>
                <a:gd name="connsiteY120" fmla="*/ 1271563 h 1701544"/>
                <a:gd name="connsiteX121" fmla="*/ 6863625 w 10575647"/>
                <a:gd name="connsiteY121" fmla="*/ 732701 h 1701544"/>
                <a:gd name="connsiteX122" fmla="*/ 6913971 w 10575647"/>
                <a:gd name="connsiteY122" fmla="*/ 591066 h 1701544"/>
                <a:gd name="connsiteX123" fmla="*/ 7061143 w 10575647"/>
                <a:gd name="connsiteY123" fmla="*/ 525990 h 1701544"/>
                <a:gd name="connsiteX124" fmla="*/ 7177769 w 10575647"/>
                <a:gd name="connsiteY124" fmla="*/ 575089 h 1701544"/>
                <a:gd name="connsiteX125" fmla="*/ 7205139 w 10575647"/>
                <a:gd name="connsiteY125" fmla="*/ 708709 h 1701544"/>
                <a:gd name="connsiteX126" fmla="*/ 7205139 w 10575647"/>
                <a:gd name="connsiteY126" fmla="*/ 1271563 h 1701544"/>
                <a:gd name="connsiteX127" fmla="*/ 7822309 w 10575647"/>
                <a:gd name="connsiteY127" fmla="*/ 162418 h 1701544"/>
                <a:gd name="connsiteX128" fmla="*/ 7713412 w 10575647"/>
                <a:gd name="connsiteY128" fmla="*/ 49847 h 1701544"/>
                <a:gd name="connsiteX129" fmla="*/ 7602662 w 10575647"/>
                <a:gd name="connsiteY129" fmla="*/ 160549 h 1701544"/>
                <a:gd name="connsiteX130" fmla="*/ 7711560 w 10575647"/>
                <a:gd name="connsiteY130" fmla="*/ 271303 h 1701544"/>
                <a:gd name="connsiteX131" fmla="*/ 7822309 w 10575647"/>
                <a:gd name="connsiteY131" fmla="*/ 162418 h 1701544"/>
                <a:gd name="connsiteX132" fmla="*/ 8704760 w 10575647"/>
                <a:gd name="connsiteY132" fmla="*/ 826838 h 1701544"/>
                <a:gd name="connsiteX133" fmla="*/ 8437150 w 10575647"/>
                <a:gd name="connsiteY133" fmla="*/ 1122077 h 1701544"/>
                <a:gd name="connsiteX134" fmla="*/ 8167740 w 10575647"/>
                <a:gd name="connsiteY134" fmla="*/ 826838 h 1701544"/>
                <a:gd name="connsiteX135" fmla="*/ 8439003 w 10575647"/>
                <a:gd name="connsiteY135" fmla="*/ 529677 h 1701544"/>
                <a:gd name="connsiteX136" fmla="*/ 8704760 w 10575647"/>
                <a:gd name="connsiteY136" fmla="*/ 826838 h 1701544"/>
                <a:gd name="connsiteX137" fmla="*/ 8889307 w 10575647"/>
                <a:gd name="connsiteY137" fmla="*/ 828654 h 1701544"/>
                <a:gd name="connsiteX138" fmla="*/ 8439003 w 10575647"/>
                <a:gd name="connsiteY138" fmla="*/ 359885 h 1701544"/>
                <a:gd name="connsiteX139" fmla="*/ 7983193 w 10575647"/>
                <a:gd name="connsiteY139" fmla="*/ 824916 h 1701544"/>
                <a:gd name="connsiteX140" fmla="*/ 8433444 w 10575647"/>
                <a:gd name="connsiteY140" fmla="*/ 1291865 h 1701544"/>
                <a:gd name="connsiteX141" fmla="*/ 8889307 w 10575647"/>
                <a:gd name="connsiteY141" fmla="*/ 828654 h 1701544"/>
                <a:gd name="connsiteX142" fmla="*/ 9658150 w 10575647"/>
                <a:gd name="connsiteY142" fmla="*/ 1197940 h 1701544"/>
                <a:gd name="connsiteX143" fmla="*/ 9749630 w 10575647"/>
                <a:gd name="connsiteY143" fmla="*/ 944968 h 1701544"/>
                <a:gd name="connsiteX144" fmla="*/ 9749630 w 10575647"/>
                <a:gd name="connsiteY144" fmla="*/ 380187 h 1701544"/>
                <a:gd name="connsiteX145" fmla="*/ 9566988 w 10575647"/>
                <a:gd name="connsiteY145" fmla="*/ 380187 h 1701544"/>
                <a:gd name="connsiteX146" fmla="*/ 9566988 w 10575647"/>
                <a:gd name="connsiteY146" fmla="*/ 944968 h 1701544"/>
                <a:gd name="connsiteX147" fmla="*/ 9535012 w 10575647"/>
                <a:gd name="connsiteY147" fmla="*/ 1068222 h 1701544"/>
                <a:gd name="connsiteX148" fmla="*/ 9399010 w 10575647"/>
                <a:gd name="connsiteY148" fmla="*/ 1125815 h 1701544"/>
                <a:gd name="connsiteX149" fmla="*/ 9229233 w 10575647"/>
                <a:gd name="connsiteY149" fmla="*/ 941225 h 1701544"/>
                <a:gd name="connsiteX150" fmla="*/ 9229233 w 10575647"/>
                <a:gd name="connsiteY150" fmla="*/ 380187 h 1701544"/>
                <a:gd name="connsiteX151" fmla="*/ 9048391 w 10575647"/>
                <a:gd name="connsiteY151" fmla="*/ 380187 h 1701544"/>
                <a:gd name="connsiteX152" fmla="*/ 9048391 w 10575647"/>
                <a:gd name="connsiteY152" fmla="*/ 944968 h 1701544"/>
                <a:gd name="connsiteX153" fmla="*/ 9139659 w 10575647"/>
                <a:gd name="connsiteY153" fmla="*/ 1195965 h 1701544"/>
                <a:gd name="connsiteX154" fmla="*/ 9399010 w 10575647"/>
                <a:gd name="connsiteY154" fmla="*/ 1291865 h 1701544"/>
                <a:gd name="connsiteX155" fmla="*/ 9658150 w 10575647"/>
                <a:gd name="connsiteY155" fmla="*/ 1197945 h 1701544"/>
                <a:gd name="connsiteX156" fmla="*/ 10385594 w 10575647"/>
                <a:gd name="connsiteY156" fmla="*/ 653307 h 1701544"/>
                <a:gd name="connsiteX157" fmla="*/ 10567335 w 10575647"/>
                <a:gd name="connsiteY157" fmla="*/ 653307 h 1701544"/>
                <a:gd name="connsiteX158" fmla="*/ 10566383 w 10575647"/>
                <a:gd name="connsiteY158" fmla="*/ 632041 h 1701544"/>
                <a:gd name="connsiteX159" fmla="*/ 10249009 w 10575647"/>
                <a:gd name="connsiteY159" fmla="*/ 359885 h 1701544"/>
                <a:gd name="connsiteX160" fmla="*/ 9929730 w 10575647"/>
                <a:gd name="connsiteY160" fmla="*/ 627446 h 1701544"/>
                <a:gd name="connsiteX161" fmla="*/ 10212587 w 10575647"/>
                <a:gd name="connsiteY161" fmla="*/ 903611 h 1701544"/>
                <a:gd name="connsiteX162" fmla="*/ 10391099 w 10575647"/>
                <a:gd name="connsiteY162" fmla="*/ 1031625 h 1701544"/>
                <a:gd name="connsiteX163" fmla="*/ 10252715 w 10575647"/>
                <a:gd name="connsiteY163" fmla="*/ 1136874 h 1701544"/>
                <a:gd name="connsiteX164" fmla="*/ 10093843 w 10575647"/>
                <a:gd name="connsiteY164" fmla="*/ 1007579 h 1701544"/>
                <a:gd name="connsiteX165" fmla="*/ 10092096 w 10575647"/>
                <a:gd name="connsiteY165" fmla="*/ 989257 h 1701544"/>
                <a:gd name="connsiteX166" fmla="*/ 9913054 w 10575647"/>
                <a:gd name="connsiteY166" fmla="*/ 989257 h 1701544"/>
                <a:gd name="connsiteX167" fmla="*/ 9915066 w 10575647"/>
                <a:gd name="connsiteY167" fmla="*/ 1011216 h 1701544"/>
                <a:gd name="connsiteX168" fmla="*/ 10252715 w 10575647"/>
                <a:gd name="connsiteY168" fmla="*/ 1291865 h 1701544"/>
                <a:gd name="connsiteX169" fmla="*/ 10575647 w 10575647"/>
                <a:gd name="connsiteY169" fmla="*/ 1024303 h 1701544"/>
                <a:gd name="connsiteX170" fmla="*/ 10501426 w 10575647"/>
                <a:gd name="connsiteY170" fmla="*/ 843879 h 1701544"/>
                <a:gd name="connsiteX171" fmla="*/ 10285750 w 10575647"/>
                <a:gd name="connsiteY171" fmla="*/ 740769 h 1701544"/>
                <a:gd name="connsiteX172" fmla="*/ 10110519 w 10575647"/>
                <a:gd name="connsiteY172" fmla="*/ 616440 h 1701544"/>
                <a:gd name="connsiteX173" fmla="*/ 10243398 w 10575647"/>
                <a:gd name="connsiteY173" fmla="*/ 514877 h 1701544"/>
                <a:gd name="connsiteX174" fmla="*/ 10385594 w 10575647"/>
                <a:gd name="connsiteY174" fmla="*/ 623762 h 1701544"/>
                <a:gd name="connsiteX175" fmla="*/ 10385594 w 10575647"/>
                <a:gd name="connsiteY175" fmla="*/ 653307 h 170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10575647" h="1701544">
                  <a:moveTo>
                    <a:pt x="7802033" y="380187"/>
                  </a:moveTo>
                  <a:lnTo>
                    <a:pt x="7621138" y="380187"/>
                  </a:lnTo>
                  <a:lnTo>
                    <a:pt x="7621138" y="1271563"/>
                  </a:lnTo>
                  <a:lnTo>
                    <a:pt x="7802033" y="1271563"/>
                  </a:lnTo>
                  <a:lnTo>
                    <a:pt x="7802033" y="380187"/>
                  </a:lnTo>
                  <a:close/>
                  <a:moveTo>
                    <a:pt x="706522" y="1271563"/>
                  </a:moveTo>
                  <a:lnTo>
                    <a:pt x="902065" y="1271563"/>
                  </a:lnTo>
                  <a:lnTo>
                    <a:pt x="902065" y="0"/>
                  </a:lnTo>
                  <a:lnTo>
                    <a:pt x="706522" y="0"/>
                  </a:lnTo>
                  <a:lnTo>
                    <a:pt x="706522" y="553717"/>
                  </a:lnTo>
                  <a:lnTo>
                    <a:pt x="195543" y="553717"/>
                  </a:lnTo>
                  <a:lnTo>
                    <a:pt x="195543" y="0"/>
                  </a:lnTo>
                  <a:lnTo>
                    <a:pt x="0" y="0"/>
                  </a:lnTo>
                  <a:lnTo>
                    <a:pt x="0" y="1271563"/>
                  </a:lnTo>
                  <a:lnTo>
                    <a:pt x="195543" y="1271563"/>
                  </a:lnTo>
                  <a:lnTo>
                    <a:pt x="195543" y="727142"/>
                  </a:lnTo>
                  <a:lnTo>
                    <a:pt x="706522" y="727142"/>
                  </a:lnTo>
                  <a:lnTo>
                    <a:pt x="706522" y="1271563"/>
                  </a:lnTo>
                  <a:close/>
                  <a:moveTo>
                    <a:pt x="1306185" y="1690649"/>
                  </a:moveTo>
                  <a:lnTo>
                    <a:pt x="1654904" y="1036061"/>
                  </a:lnTo>
                  <a:lnTo>
                    <a:pt x="1306185" y="381469"/>
                  </a:lnTo>
                  <a:lnTo>
                    <a:pt x="1090234" y="381469"/>
                  </a:lnTo>
                  <a:lnTo>
                    <a:pt x="1438900" y="1036061"/>
                  </a:lnTo>
                  <a:lnTo>
                    <a:pt x="1090234" y="1690649"/>
                  </a:lnTo>
                  <a:lnTo>
                    <a:pt x="1306185" y="1690649"/>
                  </a:lnTo>
                  <a:close/>
                  <a:moveTo>
                    <a:pt x="2581808" y="828654"/>
                  </a:moveTo>
                  <a:cubicBezTo>
                    <a:pt x="2581808" y="1002989"/>
                    <a:pt x="2470789" y="1129505"/>
                    <a:pt x="2317883" y="1129505"/>
                  </a:cubicBezTo>
                  <a:cubicBezTo>
                    <a:pt x="2168980" y="1129505"/>
                    <a:pt x="2065011" y="1007262"/>
                    <a:pt x="2065011" y="832338"/>
                  </a:cubicBezTo>
                  <a:cubicBezTo>
                    <a:pt x="2065011" y="649088"/>
                    <a:pt x="2170314" y="525990"/>
                    <a:pt x="2327068" y="525990"/>
                  </a:cubicBezTo>
                  <a:cubicBezTo>
                    <a:pt x="2479444" y="525990"/>
                    <a:pt x="2581808" y="647590"/>
                    <a:pt x="2581808" y="828654"/>
                  </a:cubicBezTo>
                  <a:moveTo>
                    <a:pt x="2581808" y="1271563"/>
                  </a:moveTo>
                  <a:lnTo>
                    <a:pt x="2762608" y="1271563"/>
                  </a:lnTo>
                  <a:lnTo>
                    <a:pt x="2762608" y="0"/>
                  </a:lnTo>
                  <a:lnTo>
                    <a:pt x="2581808" y="0"/>
                  </a:lnTo>
                  <a:lnTo>
                    <a:pt x="2581808" y="476356"/>
                  </a:lnTo>
                  <a:cubicBezTo>
                    <a:pt x="2503431" y="397017"/>
                    <a:pt x="2412449" y="359885"/>
                    <a:pt x="2297581" y="359885"/>
                  </a:cubicBezTo>
                  <a:cubicBezTo>
                    <a:pt x="2057690" y="359885"/>
                    <a:pt x="1876785" y="562214"/>
                    <a:pt x="1876785" y="830470"/>
                  </a:cubicBezTo>
                  <a:cubicBezTo>
                    <a:pt x="1876785" y="1102145"/>
                    <a:pt x="2049839" y="1291865"/>
                    <a:pt x="2297581" y="1291865"/>
                  </a:cubicBezTo>
                  <a:cubicBezTo>
                    <a:pt x="2414371" y="1291865"/>
                    <a:pt x="2503061" y="1251959"/>
                    <a:pt x="2581808" y="1163217"/>
                  </a:cubicBezTo>
                  <a:lnTo>
                    <a:pt x="2581808" y="1271563"/>
                  </a:lnTo>
                  <a:close/>
                  <a:moveTo>
                    <a:pt x="3437445" y="542393"/>
                  </a:moveTo>
                  <a:lnTo>
                    <a:pt x="3460310" y="545331"/>
                  </a:lnTo>
                  <a:lnTo>
                    <a:pt x="3460310" y="359885"/>
                  </a:lnTo>
                  <a:lnTo>
                    <a:pt x="3406830" y="359885"/>
                  </a:lnTo>
                  <a:cubicBezTo>
                    <a:pt x="3341169" y="359885"/>
                    <a:pt x="3277430" y="380294"/>
                    <a:pt x="3231965" y="415877"/>
                  </a:cubicBezTo>
                  <a:cubicBezTo>
                    <a:pt x="3213690" y="430035"/>
                    <a:pt x="3199693" y="444353"/>
                    <a:pt x="3187194" y="462091"/>
                  </a:cubicBezTo>
                  <a:lnTo>
                    <a:pt x="3187194" y="380187"/>
                  </a:lnTo>
                  <a:lnTo>
                    <a:pt x="3006395" y="380187"/>
                  </a:lnTo>
                  <a:lnTo>
                    <a:pt x="3006395" y="1271563"/>
                  </a:lnTo>
                  <a:lnTo>
                    <a:pt x="3187194" y="1271563"/>
                  </a:lnTo>
                  <a:lnTo>
                    <a:pt x="3187194" y="819411"/>
                  </a:lnTo>
                  <a:cubicBezTo>
                    <a:pt x="3187194" y="727783"/>
                    <a:pt x="3198894" y="679915"/>
                    <a:pt x="3233517" y="629638"/>
                  </a:cubicBezTo>
                  <a:cubicBezTo>
                    <a:pt x="3272300" y="572310"/>
                    <a:pt x="3331926" y="540683"/>
                    <a:pt x="3401277" y="540683"/>
                  </a:cubicBezTo>
                  <a:cubicBezTo>
                    <a:pt x="3410356" y="540683"/>
                    <a:pt x="3423983" y="540683"/>
                    <a:pt x="3437445" y="542393"/>
                  </a:cubicBezTo>
                  <a:moveTo>
                    <a:pt x="4250980" y="826838"/>
                  </a:moveTo>
                  <a:cubicBezTo>
                    <a:pt x="4250980" y="1000692"/>
                    <a:pt x="4140918" y="1122077"/>
                    <a:pt x="3983364" y="1122077"/>
                  </a:cubicBezTo>
                  <a:cubicBezTo>
                    <a:pt x="3822174" y="1122077"/>
                    <a:pt x="3713875" y="1003466"/>
                    <a:pt x="3713875" y="826838"/>
                  </a:cubicBezTo>
                  <a:cubicBezTo>
                    <a:pt x="3713875" y="649088"/>
                    <a:pt x="3822920" y="529677"/>
                    <a:pt x="3985180" y="529677"/>
                  </a:cubicBezTo>
                  <a:cubicBezTo>
                    <a:pt x="4144179" y="529677"/>
                    <a:pt x="4250980" y="649088"/>
                    <a:pt x="4250980" y="826838"/>
                  </a:cubicBezTo>
                  <a:moveTo>
                    <a:pt x="4435464" y="828654"/>
                  </a:moveTo>
                  <a:cubicBezTo>
                    <a:pt x="4435464" y="557084"/>
                    <a:pt x="4246120" y="359885"/>
                    <a:pt x="3985180" y="359885"/>
                  </a:cubicBezTo>
                  <a:cubicBezTo>
                    <a:pt x="3716818" y="359885"/>
                    <a:pt x="3529338" y="551155"/>
                    <a:pt x="3529338" y="824916"/>
                  </a:cubicBezTo>
                  <a:cubicBezTo>
                    <a:pt x="3529338" y="1099848"/>
                    <a:pt x="3714521" y="1291865"/>
                    <a:pt x="3979622" y="1291865"/>
                  </a:cubicBezTo>
                  <a:cubicBezTo>
                    <a:pt x="4235272" y="1291865"/>
                    <a:pt x="4435464" y="1088418"/>
                    <a:pt x="4435464" y="828654"/>
                  </a:cubicBezTo>
                  <a:moveTo>
                    <a:pt x="5261608" y="828654"/>
                  </a:moveTo>
                  <a:cubicBezTo>
                    <a:pt x="5261608" y="909382"/>
                    <a:pt x="5239596" y="986748"/>
                    <a:pt x="5205508" y="1025854"/>
                  </a:cubicBezTo>
                  <a:cubicBezTo>
                    <a:pt x="5153150" y="1087026"/>
                    <a:pt x="5080062" y="1122077"/>
                    <a:pt x="5005052" y="1122077"/>
                  </a:cubicBezTo>
                  <a:cubicBezTo>
                    <a:pt x="4855296" y="1122077"/>
                    <a:pt x="4746675" y="996361"/>
                    <a:pt x="4746675" y="823153"/>
                  </a:cubicBezTo>
                  <a:cubicBezTo>
                    <a:pt x="4746675" y="650316"/>
                    <a:pt x="4854386" y="529677"/>
                    <a:pt x="5008683" y="529677"/>
                  </a:cubicBezTo>
                  <a:cubicBezTo>
                    <a:pt x="5078193" y="529677"/>
                    <a:pt x="5151652" y="563177"/>
                    <a:pt x="5200378" y="617081"/>
                  </a:cubicBezTo>
                  <a:cubicBezTo>
                    <a:pt x="5246112" y="667892"/>
                    <a:pt x="5261608" y="721266"/>
                    <a:pt x="5261608" y="828654"/>
                  </a:cubicBezTo>
                  <a:moveTo>
                    <a:pt x="5327264" y="1583314"/>
                  </a:moveTo>
                  <a:cubicBezTo>
                    <a:pt x="5409426" y="1504990"/>
                    <a:pt x="5446113" y="1404277"/>
                    <a:pt x="5446113" y="1256819"/>
                  </a:cubicBezTo>
                  <a:lnTo>
                    <a:pt x="5446113" y="380187"/>
                  </a:lnTo>
                  <a:lnTo>
                    <a:pt x="5265239" y="380187"/>
                  </a:lnTo>
                  <a:lnTo>
                    <a:pt x="5265239" y="488537"/>
                  </a:lnTo>
                  <a:cubicBezTo>
                    <a:pt x="5186005" y="398673"/>
                    <a:pt x="5100153" y="359885"/>
                    <a:pt x="4982875" y="359885"/>
                  </a:cubicBezTo>
                  <a:cubicBezTo>
                    <a:pt x="4866567" y="359885"/>
                    <a:pt x="4771201" y="395361"/>
                    <a:pt x="4699394" y="465190"/>
                  </a:cubicBezTo>
                  <a:cubicBezTo>
                    <a:pt x="4611080" y="549710"/>
                    <a:pt x="4558400" y="685574"/>
                    <a:pt x="4558400" y="828654"/>
                  </a:cubicBezTo>
                  <a:cubicBezTo>
                    <a:pt x="4558400" y="1092743"/>
                    <a:pt x="4736097" y="1291865"/>
                    <a:pt x="4971816" y="1291865"/>
                  </a:cubicBezTo>
                  <a:cubicBezTo>
                    <a:pt x="5092032" y="1291865"/>
                    <a:pt x="5185952" y="1246830"/>
                    <a:pt x="5265239" y="1150553"/>
                  </a:cubicBezTo>
                  <a:lnTo>
                    <a:pt x="5265239" y="1267931"/>
                  </a:lnTo>
                  <a:cubicBezTo>
                    <a:pt x="5265239" y="1350745"/>
                    <a:pt x="5245313" y="1414431"/>
                    <a:pt x="5206095" y="1457116"/>
                  </a:cubicBezTo>
                  <a:cubicBezTo>
                    <a:pt x="5162288" y="1504291"/>
                    <a:pt x="5083159" y="1533625"/>
                    <a:pt x="4999546" y="1533625"/>
                  </a:cubicBezTo>
                  <a:cubicBezTo>
                    <a:pt x="4932122" y="1533625"/>
                    <a:pt x="4856471" y="1514979"/>
                    <a:pt x="4811695" y="1487409"/>
                  </a:cubicBezTo>
                  <a:cubicBezTo>
                    <a:pt x="4788777" y="1471596"/>
                    <a:pt x="4771254" y="1455624"/>
                    <a:pt x="4733588" y="1416300"/>
                  </a:cubicBezTo>
                  <a:lnTo>
                    <a:pt x="4719215" y="1401339"/>
                  </a:lnTo>
                  <a:lnTo>
                    <a:pt x="4595103" y="1525451"/>
                  </a:lnTo>
                  <a:lnTo>
                    <a:pt x="4607819" y="1539824"/>
                  </a:lnTo>
                  <a:cubicBezTo>
                    <a:pt x="4703719" y="1647106"/>
                    <a:pt x="4835528" y="1701544"/>
                    <a:pt x="4999546" y="1701544"/>
                  </a:cubicBezTo>
                  <a:cubicBezTo>
                    <a:pt x="5134664" y="1701544"/>
                    <a:pt x="5247981" y="1660675"/>
                    <a:pt x="5327264" y="1583314"/>
                  </a:cubicBezTo>
                  <a:moveTo>
                    <a:pt x="6317923" y="747497"/>
                  </a:moveTo>
                  <a:lnTo>
                    <a:pt x="5805203" y="747497"/>
                  </a:lnTo>
                  <a:cubicBezTo>
                    <a:pt x="5814785" y="696051"/>
                    <a:pt x="5825267" y="667627"/>
                    <a:pt x="5845913" y="635144"/>
                  </a:cubicBezTo>
                  <a:cubicBezTo>
                    <a:pt x="5892024" y="566756"/>
                    <a:pt x="5971327" y="525990"/>
                    <a:pt x="6057989" y="525990"/>
                  </a:cubicBezTo>
                  <a:cubicBezTo>
                    <a:pt x="6144228" y="525990"/>
                    <a:pt x="6225702" y="566274"/>
                    <a:pt x="6275730" y="633487"/>
                  </a:cubicBezTo>
                  <a:cubicBezTo>
                    <a:pt x="6300453" y="669067"/>
                    <a:pt x="6312047" y="699841"/>
                    <a:pt x="6317923" y="747497"/>
                  </a:cubicBezTo>
                  <a:moveTo>
                    <a:pt x="6508188" y="872890"/>
                  </a:moveTo>
                  <a:cubicBezTo>
                    <a:pt x="6510094" y="851683"/>
                    <a:pt x="6510094" y="827426"/>
                    <a:pt x="6510094" y="815779"/>
                  </a:cubicBezTo>
                  <a:cubicBezTo>
                    <a:pt x="6510094" y="555909"/>
                    <a:pt x="6315700" y="359885"/>
                    <a:pt x="6057989" y="359885"/>
                  </a:cubicBezTo>
                  <a:cubicBezTo>
                    <a:pt x="5798109" y="359885"/>
                    <a:pt x="5609538" y="557084"/>
                    <a:pt x="5609538" y="828654"/>
                  </a:cubicBezTo>
                  <a:cubicBezTo>
                    <a:pt x="5609538" y="1097074"/>
                    <a:pt x="5800491" y="1291865"/>
                    <a:pt x="6063495" y="1291865"/>
                  </a:cubicBezTo>
                  <a:cubicBezTo>
                    <a:pt x="6235020" y="1291865"/>
                    <a:pt x="6386956" y="1199867"/>
                    <a:pt x="6460066" y="1051710"/>
                  </a:cubicBezTo>
                  <a:lnTo>
                    <a:pt x="6469966" y="1031572"/>
                  </a:lnTo>
                  <a:lnTo>
                    <a:pt x="6308923" y="971517"/>
                  </a:lnTo>
                  <a:lnTo>
                    <a:pt x="6300559" y="986689"/>
                  </a:lnTo>
                  <a:cubicBezTo>
                    <a:pt x="6254237" y="1068968"/>
                    <a:pt x="6161169" y="1122077"/>
                    <a:pt x="6063495" y="1122077"/>
                  </a:cubicBezTo>
                  <a:cubicBezTo>
                    <a:pt x="5977415" y="1122077"/>
                    <a:pt x="5901923" y="1083664"/>
                    <a:pt x="5850784" y="1013832"/>
                  </a:cubicBezTo>
                  <a:cubicBezTo>
                    <a:pt x="5821932" y="975900"/>
                    <a:pt x="5809438" y="945021"/>
                    <a:pt x="5802132" y="891377"/>
                  </a:cubicBezTo>
                  <a:lnTo>
                    <a:pt x="6506547" y="891377"/>
                  </a:lnTo>
                  <a:lnTo>
                    <a:pt x="6508188" y="872890"/>
                  </a:lnTo>
                  <a:close/>
                  <a:moveTo>
                    <a:pt x="7205139" y="1271563"/>
                  </a:moveTo>
                  <a:lnTo>
                    <a:pt x="7385928" y="1271563"/>
                  </a:lnTo>
                  <a:lnTo>
                    <a:pt x="7385928" y="677294"/>
                  </a:lnTo>
                  <a:cubicBezTo>
                    <a:pt x="7385928" y="554734"/>
                    <a:pt x="7365387" y="491422"/>
                    <a:pt x="7307154" y="435163"/>
                  </a:cubicBezTo>
                  <a:cubicBezTo>
                    <a:pt x="7252520" y="386599"/>
                    <a:pt x="7177557" y="359885"/>
                    <a:pt x="7096189" y="359885"/>
                  </a:cubicBezTo>
                  <a:cubicBezTo>
                    <a:pt x="7000739" y="359885"/>
                    <a:pt x="6929853" y="391193"/>
                    <a:pt x="6863625" y="463694"/>
                  </a:cubicBezTo>
                  <a:lnTo>
                    <a:pt x="6863625" y="380187"/>
                  </a:lnTo>
                  <a:lnTo>
                    <a:pt x="6682836" y="380187"/>
                  </a:lnTo>
                  <a:lnTo>
                    <a:pt x="6682836" y="1271563"/>
                  </a:lnTo>
                  <a:lnTo>
                    <a:pt x="6863625" y="1271563"/>
                  </a:lnTo>
                  <a:lnTo>
                    <a:pt x="6863625" y="732701"/>
                  </a:lnTo>
                  <a:cubicBezTo>
                    <a:pt x="6863625" y="667839"/>
                    <a:pt x="6876278" y="632147"/>
                    <a:pt x="6913971" y="591066"/>
                  </a:cubicBezTo>
                  <a:cubicBezTo>
                    <a:pt x="6951505" y="548481"/>
                    <a:pt x="7002433" y="525990"/>
                    <a:pt x="7061143" y="525990"/>
                  </a:cubicBezTo>
                  <a:cubicBezTo>
                    <a:pt x="7110748" y="525990"/>
                    <a:pt x="7155428" y="544744"/>
                    <a:pt x="7177769" y="575089"/>
                  </a:cubicBezTo>
                  <a:cubicBezTo>
                    <a:pt x="7197410" y="601215"/>
                    <a:pt x="7205139" y="638722"/>
                    <a:pt x="7205139" y="708709"/>
                  </a:cubicBezTo>
                  <a:lnTo>
                    <a:pt x="7205139" y="1271563"/>
                  </a:lnTo>
                  <a:close/>
                  <a:moveTo>
                    <a:pt x="7822309" y="162418"/>
                  </a:moveTo>
                  <a:cubicBezTo>
                    <a:pt x="7822309" y="99268"/>
                    <a:pt x="7774452" y="49847"/>
                    <a:pt x="7713412" y="49847"/>
                  </a:cubicBezTo>
                  <a:cubicBezTo>
                    <a:pt x="7650255" y="49847"/>
                    <a:pt x="7602662" y="97451"/>
                    <a:pt x="7602662" y="160549"/>
                  </a:cubicBezTo>
                  <a:cubicBezTo>
                    <a:pt x="7602662" y="223699"/>
                    <a:pt x="7649514" y="271303"/>
                    <a:pt x="7711560" y="271303"/>
                  </a:cubicBezTo>
                  <a:cubicBezTo>
                    <a:pt x="7773711" y="271303"/>
                    <a:pt x="7822309" y="223432"/>
                    <a:pt x="7822309" y="162418"/>
                  </a:cubicBezTo>
                  <a:moveTo>
                    <a:pt x="8704760" y="826838"/>
                  </a:moveTo>
                  <a:cubicBezTo>
                    <a:pt x="8704760" y="1000692"/>
                    <a:pt x="8594751" y="1122077"/>
                    <a:pt x="8437150" y="1122077"/>
                  </a:cubicBezTo>
                  <a:cubicBezTo>
                    <a:pt x="8276002" y="1122077"/>
                    <a:pt x="8167740" y="1003466"/>
                    <a:pt x="8167740" y="826838"/>
                  </a:cubicBezTo>
                  <a:cubicBezTo>
                    <a:pt x="8167740" y="649088"/>
                    <a:pt x="8276743" y="529677"/>
                    <a:pt x="8439003" y="529677"/>
                  </a:cubicBezTo>
                  <a:cubicBezTo>
                    <a:pt x="8597980" y="529677"/>
                    <a:pt x="8704760" y="649088"/>
                    <a:pt x="8704760" y="826838"/>
                  </a:cubicBezTo>
                  <a:moveTo>
                    <a:pt x="8889307" y="828654"/>
                  </a:moveTo>
                  <a:cubicBezTo>
                    <a:pt x="8889307" y="557084"/>
                    <a:pt x="8699942" y="359885"/>
                    <a:pt x="8439003" y="359885"/>
                  </a:cubicBezTo>
                  <a:cubicBezTo>
                    <a:pt x="8170652" y="359885"/>
                    <a:pt x="7983193" y="551155"/>
                    <a:pt x="7983193" y="824916"/>
                  </a:cubicBezTo>
                  <a:cubicBezTo>
                    <a:pt x="7983193" y="1099848"/>
                    <a:pt x="8168375" y="1291865"/>
                    <a:pt x="8433444" y="1291865"/>
                  </a:cubicBezTo>
                  <a:cubicBezTo>
                    <a:pt x="8689089" y="1291865"/>
                    <a:pt x="8889307" y="1088418"/>
                    <a:pt x="8889307" y="828654"/>
                  </a:cubicBezTo>
                  <a:moveTo>
                    <a:pt x="9658150" y="1197940"/>
                  </a:moveTo>
                  <a:cubicBezTo>
                    <a:pt x="9724854" y="1137144"/>
                    <a:pt x="9749630" y="1068539"/>
                    <a:pt x="9749630" y="944968"/>
                  </a:cubicBezTo>
                  <a:lnTo>
                    <a:pt x="9749630" y="380187"/>
                  </a:lnTo>
                  <a:lnTo>
                    <a:pt x="9566988" y="380187"/>
                  </a:lnTo>
                  <a:lnTo>
                    <a:pt x="9566988" y="944968"/>
                  </a:lnTo>
                  <a:cubicBezTo>
                    <a:pt x="9566988" y="1008437"/>
                    <a:pt x="9558835" y="1039587"/>
                    <a:pt x="9535012" y="1068222"/>
                  </a:cubicBezTo>
                  <a:cubicBezTo>
                    <a:pt x="9503831" y="1104284"/>
                    <a:pt x="9453009" y="1125815"/>
                    <a:pt x="9399010" y="1125815"/>
                  </a:cubicBezTo>
                  <a:cubicBezTo>
                    <a:pt x="9299060" y="1125815"/>
                    <a:pt x="9229233" y="1049947"/>
                    <a:pt x="9229233" y="941225"/>
                  </a:cubicBezTo>
                  <a:lnTo>
                    <a:pt x="9229233" y="380187"/>
                  </a:lnTo>
                  <a:lnTo>
                    <a:pt x="9048391" y="380187"/>
                  </a:lnTo>
                  <a:lnTo>
                    <a:pt x="9048391" y="944968"/>
                  </a:lnTo>
                  <a:cubicBezTo>
                    <a:pt x="9048391" y="1054330"/>
                    <a:pt x="9078249" y="1136392"/>
                    <a:pt x="9139659" y="1195965"/>
                  </a:cubicBezTo>
                  <a:cubicBezTo>
                    <a:pt x="9204563" y="1256925"/>
                    <a:pt x="9299113" y="1291865"/>
                    <a:pt x="9399010" y="1291865"/>
                  </a:cubicBezTo>
                  <a:cubicBezTo>
                    <a:pt x="9499701" y="1291865"/>
                    <a:pt x="9591763" y="1258529"/>
                    <a:pt x="9658150" y="1197945"/>
                  </a:cubicBezTo>
                  <a:moveTo>
                    <a:pt x="10385594" y="653307"/>
                  </a:moveTo>
                  <a:lnTo>
                    <a:pt x="10567335" y="653307"/>
                  </a:lnTo>
                  <a:lnTo>
                    <a:pt x="10566383" y="632041"/>
                  </a:lnTo>
                  <a:cubicBezTo>
                    <a:pt x="10558442" y="459099"/>
                    <a:pt x="10442768" y="359885"/>
                    <a:pt x="10249009" y="359885"/>
                  </a:cubicBezTo>
                  <a:cubicBezTo>
                    <a:pt x="10058003" y="359885"/>
                    <a:pt x="9929730" y="467434"/>
                    <a:pt x="9929730" y="627446"/>
                  </a:cubicBezTo>
                  <a:cubicBezTo>
                    <a:pt x="9929730" y="765666"/>
                    <a:pt x="10016922" y="850825"/>
                    <a:pt x="10212587" y="903611"/>
                  </a:cubicBezTo>
                  <a:cubicBezTo>
                    <a:pt x="10347689" y="937858"/>
                    <a:pt x="10391099" y="968955"/>
                    <a:pt x="10391099" y="1031625"/>
                  </a:cubicBezTo>
                  <a:cubicBezTo>
                    <a:pt x="10391099" y="1095576"/>
                    <a:pt x="10336730" y="1136874"/>
                    <a:pt x="10252715" y="1136874"/>
                  </a:cubicBezTo>
                  <a:cubicBezTo>
                    <a:pt x="10155517" y="1136874"/>
                    <a:pt x="10102102" y="1093384"/>
                    <a:pt x="10093843" y="1007579"/>
                  </a:cubicBezTo>
                  <a:lnTo>
                    <a:pt x="10092096" y="989257"/>
                  </a:lnTo>
                  <a:lnTo>
                    <a:pt x="9913054" y="989257"/>
                  </a:lnTo>
                  <a:lnTo>
                    <a:pt x="9915066" y="1011216"/>
                  </a:lnTo>
                  <a:cubicBezTo>
                    <a:pt x="9930789" y="1194843"/>
                    <a:pt x="10047626" y="1291865"/>
                    <a:pt x="10252715" y="1291865"/>
                  </a:cubicBezTo>
                  <a:cubicBezTo>
                    <a:pt x="10445839" y="1291865"/>
                    <a:pt x="10575647" y="1184371"/>
                    <a:pt x="10575647" y="1024303"/>
                  </a:cubicBezTo>
                  <a:cubicBezTo>
                    <a:pt x="10575647" y="956667"/>
                    <a:pt x="10548542" y="890948"/>
                    <a:pt x="10501426" y="843879"/>
                  </a:cubicBezTo>
                  <a:cubicBezTo>
                    <a:pt x="10457485" y="799913"/>
                    <a:pt x="10397028" y="770955"/>
                    <a:pt x="10285750" y="740769"/>
                  </a:cubicBezTo>
                  <a:cubicBezTo>
                    <a:pt x="10125660" y="696474"/>
                    <a:pt x="10110519" y="671471"/>
                    <a:pt x="10110519" y="616440"/>
                  </a:cubicBezTo>
                  <a:cubicBezTo>
                    <a:pt x="10110519" y="553823"/>
                    <a:pt x="10161447" y="514877"/>
                    <a:pt x="10243398" y="514877"/>
                  </a:cubicBezTo>
                  <a:cubicBezTo>
                    <a:pt x="10329795" y="514877"/>
                    <a:pt x="10385594" y="557672"/>
                    <a:pt x="10385594" y="623762"/>
                  </a:cubicBezTo>
                  <a:lnTo>
                    <a:pt x="10385594" y="653307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</p:grp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BCA5C90F-E0EE-7045-38EF-5A6ED8503B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3" y="843892"/>
            <a:ext cx="7881937" cy="5511338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151848A5-8F73-5434-AE4D-105F9038444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9A026375-62A6-109E-869D-85C6DE7E4871}"/>
              </a:ext>
            </a:extLst>
          </p:cNvPr>
          <p:cNvGrpSpPr/>
          <p:nvPr userDrawn="1"/>
        </p:nvGrpSpPr>
        <p:grpSpPr>
          <a:xfrm rot="5400000">
            <a:off x="-3617983" y="3323777"/>
            <a:ext cx="6854690" cy="213756"/>
            <a:chOff x="-1" y="-286346"/>
            <a:chExt cx="5820565" cy="181508"/>
          </a:xfrm>
        </p:grpSpPr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1693922-15B5-0232-66F1-B667C4463405}"/>
                </a:ext>
              </a:extLst>
            </p:cNvPr>
            <p:cNvGrpSpPr/>
            <p:nvPr userDrawn="1"/>
          </p:nvGrpSpPr>
          <p:grpSpPr>
            <a:xfrm rot="16200000">
              <a:off x="363007" y="-649354"/>
              <a:ext cx="181503" cy="907520"/>
              <a:chOff x="1319213" y="-1663170"/>
              <a:chExt cx="181503" cy="907520"/>
            </a:xfrm>
          </p:grpSpPr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098FF13D-82FE-3FFB-58D2-8D939F525B31}"/>
                  </a:ext>
                </a:extLst>
              </p:cNvPr>
              <p:cNvSpPr/>
              <p:nvPr/>
            </p:nvSpPr>
            <p:spPr>
              <a:xfrm>
                <a:off x="1319213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44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2AF8BEAC-ACBD-93AE-60F6-899514C085E7}"/>
                  </a:ext>
                </a:extLst>
              </p:cNvPr>
              <p:cNvSpPr/>
              <p:nvPr/>
            </p:nvSpPr>
            <p:spPr>
              <a:xfrm>
                <a:off x="1319213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69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339F9E3E-BC47-CC4F-2FCE-D3467C6EF4ED}"/>
                  </a:ext>
                </a:extLst>
              </p:cNvPr>
              <p:cNvSpPr/>
              <p:nvPr/>
            </p:nvSpPr>
            <p:spPr>
              <a:xfrm>
                <a:off x="1319213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FE8F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B7CFDDEE-5058-8354-D28C-DAD62C410C57}"/>
                  </a:ext>
                </a:extLst>
              </p:cNvPr>
              <p:cNvSpPr/>
              <p:nvPr/>
            </p:nvSpPr>
            <p:spPr>
              <a:xfrm>
                <a:off x="1319213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B4B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F1453EAB-2374-7775-BA36-7ED8F243119C}"/>
                  </a:ext>
                </a:extLst>
              </p:cNvPr>
              <p:cNvSpPr/>
              <p:nvPr/>
            </p:nvSpPr>
            <p:spPr>
              <a:xfrm>
                <a:off x="1319213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D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B8538CE3-9E45-3F39-E473-B8C17C0F16CC}"/>
                </a:ext>
              </a:extLst>
            </p:cNvPr>
            <p:cNvGrpSpPr/>
            <p:nvPr userDrawn="1"/>
          </p:nvGrpSpPr>
          <p:grpSpPr>
            <a:xfrm rot="16200000">
              <a:off x="1345616" y="-649354"/>
              <a:ext cx="181503" cy="907520"/>
              <a:chOff x="1319213" y="-664912"/>
              <a:chExt cx="181503" cy="907520"/>
            </a:xfrm>
          </p:grpSpPr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4DE84B7C-62D5-0A07-843A-2373DDD4EB7F}"/>
                  </a:ext>
                </a:extLst>
              </p:cNvPr>
              <p:cNvSpPr/>
              <p:nvPr/>
            </p:nvSpPr>
            <p:spPr>
              <a:xfrm>
                <a:off x="1319213" y="-66491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6400A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FC13AD04-5FFF-C7A3-8160-D941B5EF0842}"/>
                  </a:ext>
                </a:extLst>
              </p:cNvPr>
              <p:cNvSpPr/>
              <p:nvPr/>
            </p:nvSpPr>
            <p:spPr>
              <a:xfrm>
                <a:off x="1319213" y="-483404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33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A87D83B1-6100-DE9E-9BD7-913AB42B9233}"/>
                  </a:ext>
                </a:extLst>
              </p:cNvPr>
              <p:cNvSpPr/>
              <p:nvPr/>
            </p:nvSpPr>
            <p:spPr>
              <a:xfrm>
                <a:off x="1319213" y="-30189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266C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F53C3CAD-621D-A5FE-DCE8-71E618204E08}"/>
                  </a:ext>
                </a:extLst>
              </p:cNvPr>
              <p:cNvSpPr/>
              <p:nvPr/>
            </p:nvSpPr>
            <p:spPr>
              <a:xfrm>
                <a:off x="1319213" y="-120387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199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F3C08663-8A01-0DD3-184F-B886325667D6}"/>
                  </a:ext>
                </a:extLst>
              </p:cNvPr>
              <p:cNvSpPr/>
              <p:nvPr/>
            </p:nvSpPr>
            <p:spPr>
              <a:xfrm>
                <a:off x="1319213" y="6110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0CC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DDA0B45A-554B-79FB-5756-1FD19297FB5D}"/>
                </a:ext>
              </a:extLst>
            </p:cNvPr>
            <p:cNvGrpSpPr/>
            <p:nvPr userDrawn="1"/>
          </p:nvGrpSpPr>
          <p:grpSpPr>
            <a:xfrm rot="16200000">
              <a:off x="2328223" y="-649352"/>
              <a:ext cx="181508" cy="907520"/>
              <a:chOff x="1682219" y="-1663170"/>
              <a:chExt cx="181508" cy="907520"/>
            </a:xfrm>
          </p:grpSpPr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919B7FC2-5565-4F5C-F7C3-D42779D3795A}"/>
                  </a:ext>
                </a:extLst>
              </p:cNvPr>
              <p:cNvSpPr/>
              <p:nvPr/>
            </p:nvSpPr>
            <p:spPr>
              <a:xfrm>
                <a:off x="1682219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CC8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5856A704-AC9E-291C-6C37-ED8C6E32B809}"/>
                  </a:ext>
                </a:extLst>
              </p:cNvPr>
              <p:cNvSpPr/>
              <p:nvPr/>
            </p:nvSpPr>
            <p:spPr>
              <a:xfrm>
                <a:off x="1682224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3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B76D8340-D391-EAA4-8AFA-61AE85DEEE6A}"/>
                  </a:ext>
                </a:extLst>
              </p:cNvPr>
              <p:cNvSpPr/>
              <p:nvPr/>
            </p:nvSpPr>
            <p:spPr>
              <a:xfrm>
                <a:off x="1682224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ADE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EBED1B44-858D-C5A2-EF43-80B78D445708}"/>
                  </a:ext>
                </a:extLst>
              </p:cNvPr>
              <p:cNvSpPr/>
              <p:nvPr/>
            </p:nvSpPr>
            <p:spPr>
              <a:xfrm>
                <a:off x="1682224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E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AF7F0821-0334-B152-FAF2-B3D189688299}"/>
                  </a:ext>
                </a:extLst>
              </p:cNvPr>
              <p:cNvSpPr/>
              <p:nvPr/>
            </p:nvSpPr>
            <p:spPr>
              <a:xfrm>
                <a:off x="1682219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8F4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D2A9516C-0EC4-933A-86BF-3D3D8E960C9E}"/>
                </a:ext>
              </a:extLst>
            </p:cNvPr>
            <p:cNvGrpSpPr/>
            <p:nvPr userDrawn="1"/>
          </p:nvGrpSpPr>
          <p:grpSpPr>
            <a:xfrm rot="16200000">
              <a:off x="5276052" y="-649354"/>
              <a:ext cx="181503" cy="907520"/>
              <a:chOff x="2226738" y="-1663170"/>
              <a:chExt cx="181503" cy="907520"/>
            </a:xfrm>
          </p:grpSpPr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7053EC9D-5BE9-E7D1-0F40-FF66E4860C87}"/>
                  </a:ext>
                </a:extLst>
              </p:cNvPr>
              <p:cNvSpPr/>
              <p:nvPr/>
            </p:nvSpPr>
            <p:spPr>
              <a:xfrm>
                <a:off x="2226738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4419FD47-D6E2-97C6-A3D3-C8300B0E5DD5}"/>
                  </a:ext>
                </a:extLst>
              </p:cNvPr>
              <p:cNvSpPr/>
              <p:nvPr/>
            </p:nvSpPr>
            <p:spPr>
              <a:xfrm>
                <a:off x="2226738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5757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F50C597D-5F2D-DDD1-AB65-226E06E8F6CB}"/>
                  </a:ext>
                </a:extLst>
              </p:cNvPr>
              <p:cNvSpPr/>
              <p:nvPr/>
            </p:nvSpPr>
            <p:spPr>
              <a:xfrm>
                <a:off x="2226738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8787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3AC9DFAF-F8D2-9F8A-CD15-CD23807FD5B3}"/>
                  </a:ext>
                </a:extLst>
              </p:cNvPr>
              <p:cNvSpPr/>
              <p:nvPr/>
            </p:nvSpPr>
            <p:spPr>
              <a:xfrm>
                <a:off x="2226738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2B2B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C567B461-6B0B-BA93-08D1-6462C26FF206}"/>
                  </a:ext>
                </a:extLst>
              </p:cNvPr>
              <p:cNvSpPr/>
              <p:nvPr/>
            </p:nvSpPr>
            <p:spPr>
              <a:xfrm>
                <a:off x="2226738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DA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32F32A0D-4B90-5EF9-1DB2-BC823907FF01}"/>
                </a:ext>
              </a:extLst>
            </p:cNvPr>
            <p:cNvGrpSpPr/>
            <p:nvPr userDrawn="1"/>
          </p:nvGrpSpPr>
          <p:grpSpPr>
            <a:xfrm rot="16200000">
              <a:off x="3310834" y="-649354"/>
              <a:ext cx="181503" cy="907520"/>
              <a:chOff x="1863727" y="-1663170"/>
              <a:chExt cx="181503" cy="907520"/>
            </a:xfrm>
          </p:grpSpPr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2E19152A-3180-4128-57E1-6CB9E0B3FE2D}"/>
                  </a:ext>
                </a:extLst>
              </p:cNvPr>
              <p:cNvSpPr/>
              <p:nvPr/>
            </p:nvSpPr>
            <p:spPr>
              <a:xfrm>
                <a:off x="1863727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2A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52690BC3-11EB-6775-6F0F-226FBE5251AE}"/>
                  </a:ext>
                </a:extLst>
              </p:cNvPr>
              <p:cNvSpPr/>
              <p:nvPr/>
            </p:nvSpPr>
            <p:spPr>
              <a:xfrm>
                <a:off x="1863727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5DB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E09E8236-93DE-65AB-254D-5485B8A16930}"/>
                  </a:ext>
                </a:extLst>
              </p:cNvPr>
              <p:cNvSpPr/>
              <p:nvPr/>
            </p:nvSpPr>
            <p:spPr>
              <a:xfrm>
                <a:off x="1863727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8E4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246F5E6B-B7F7-0C6B-BBCA-FAB491EFF0E7}"/>
                  </a:ext>
                </a:extLst>
              </p:cNvPr>
              <p:cNvSpPr/>
              <p:nvPr/>
            </p:nvSpPr>
            <p:spPr>
              <a:xfrm>
                <a:off x="1863727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ED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27D08330-98C6-0867-83A6-F82E105157A0}"/>
                  </a:ext>
                </a:extLst>
              </p:cNvPr>
              <p:cNvSpPr/>
              <p:nvPr/>
            </p:nvSpPr>
            <p:spPr>
              <a:xfrm>
                <a:off x="1863727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DF6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0E5E658B-401D-E781-3140-7982F8F768C6}"/>
                </a:ext>
              </a:extLst>
            </p:cNvPr>
            <p:cNvGrpSpPr/>
            <p:nvPr userDrawn="1"/>
          </p:nvGrpSpPr>
          <p:grpSpPr>
            <a:xfrm rot="16200000">
              <a:off x="4293441" y="-649352"/>
              <a:ext cx="181508" cy="907520"/>
              <a:chOff x="2045230" y="-1663170"/>
              <a:chExt cx="181508" cy="907520"/>
            </a:xfrm>
          </p:grpSpPr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B35BE9AF-C0BE-D7C8-E89D-9F3A94D3D7E2}"/>
                  </a:ext>
                </a:extLst>
              </p:cNvPr>
              <p:cNvSpPr/>
              <p:nvPr/>
            </p:nvSpPr>
            <p:spPr>
              <a:xfrm>
                <a:off x="2045230" y="-937158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9F7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999EC4EA-D6D6-A0B6-50D1-9D943EB295A4}"/>
                  </a:ext>
                </a:extLst>
              </p:cNvPr>
              <p:cNvSpPr/>
              <p:nvPr/>
            </p:nvSpPr>
            <p:spPr>
              <a:xfrm>
                <a:off x="2045230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FED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113B809C-6C76-3E84-C446-4F5CE48854EA}"/>
                  </a:ext>
                </a:extLst>
              </p:cNvPr>
              <p:cNvSpPr/>
              <p:nvPr/>
            </p:nvSpPr>
            <p:spPr>
              <a:xfrm>
                <a:off x="2045230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5E3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F7591DBF-4101-F70C-89E6-0144F6475167}"/>
                  </a:ext>
                </a:extLst>
              </p:cNvPr>
              <p:cNvSpPr/>
              <p:nvPr/>
            </p:nvSpPr>
            <p:spPr>
              <a:xfrm>
                <a:off x="2045230" y="-1663170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CFC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60BDE9B1-6A5B-C203-FFA0-63300FA7CA81}"/>
                  </a:ext>
                </a:extLst>
              </p:cNvPr>
              <p:cNvSpPr/>
              <p:nvPr/>
            </p:nvSpPr>
            <p:spPr>
              <a:xfrm>
                <a:off x="2045230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BD9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6173659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(sand) and Text 3/4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73236799-8186-158A-F3A4-9E2D432B77EB}"/>
              </a:ext>
            </a:extLst>
          </p:cNvPr>
          <p:cNvSpPr/>
          <p:nvPr userDrawn="1"/>
        </p:nvSpPr>
        <p:spPr>
          <a:xfrm>
            <a:off x="9156700" y="0"/>
            <a:ext cx="30353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72650" y="843891"/>
            <a:ext cx="1760536" cy="55106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BCA5C90F-E0EE-7045-38EF-5A6ED8503B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3" y="843892"/>
            <a:ext cx="7881937" cy="5511338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151848A5-8F73-5434-AE4D-105F9038444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173F8CD-5544-5E15-3FD5-414F8A17A7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0415668" y="503483"/>
            <a:ext cx="1289916" cy="180000"/>
            <a:chOff x="-161925" y="-1630732"/>
            <a:chExt cx="12193587" cy="1701544"/>
          </a:xfrm>
          <a:solidFill>
            <a:schemeClr val="accent2"/>
          </a:solidFill>
        </p:grpSpPr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292240FC-9CDA-6752-F458-249815E58DB4}"/>
                </a:ext>
              </a:extLst>
            </p:cNvPr>
            <p:cNvSpPr/>
            <p:nvPr/>
          </p:nvSpPr>
          <p:spPr bwMode="gray">
            <a:xfrm>
              <a:off x="10774928" y="-1247713"/>
              <a:ext cx="1256734" cy="356304"/>
            </a:xfrm>
            <a:custGeom>
              <a:avLst/>
              <a:gdLst>
                <a:gd name="connsiteX0" fmla="*/ 1226823 w 1256734"/>
                <a:gd name="connsiteY0" fmla="*/ 269166 h 356304"/>
                <a:gd name="connsiteX1" fmla="*/ 1133491 w 1256734"/>
                <a:gd name="connsiteY1" fmla="*/ 316610 h 356304"/>
                <a:gd name="connsiteX2" fmla="*/ 1010248 w 1256734"/>
                <a:gd name="connsiteY2" fmla="*/ 178448 h 356304"/>
                <a:gd name="connsiteX3" fmla="*/ 1131426 w 1256734"/>
                <a:gd name="connsiteY3" fmla="*/ 39696 h 356304"/>
                <a:gd name="connsiteX4" fmla="*/ 1226823 w 1256734"/>
                <a:gd name="connsiteY4" fmla="*/ 86659 h 356304"/>
                <a:gd name="connsiteX5" fmla="*/ 1256735 w 1256734"/>
                <a:gd name="connsiteY5" fmla="*/ 58823 h 356304"/>
                <a:gd name="connsiteX6" fmla="*/ 1216553 w 1256734"/>
                <a:gd name="connsiteY6" fmla="*/ 23241 h 356304"/>
                <a:gd name="connsiteX7" fmla="*/ 1130420 w 1256734"/>
                <a:gd name="connsiteY7" fmla="*/ 0 h 356304"/>
                <a:gd name="connsiteX8" fmla="*/ 965885 w 1256734"/>
                <a:gd name="connsiteY8" fmla="*/ 178448 h 356304"/>
                <a:gd name="connsiteX9" fmla="*/ 1011783 w 1256734"/>
                <a:gd name="connsiteY9" fmla="*/ 305763 h 356304"/>
                <a:gd name="connsiteX10" fmla="*/ 1129892 w 1256734"/>
                <a:gd name="connsiteY10" fmla="*/ 356305 h 356304"/>
                <a:gd name="connsiteX11" fmla="*/ 1255676 w 1256734"/>
                <a:gd name="connsiteY11" fmla="*/ 298071 h 356304"/>
                <a:gd name="connsiteX12" fmla="*/ 1226823 w 1256734"/>
                <a:gd name="connsiteY12" fmla="*/ 269166 h 356304"/>
                <a:gd name="connsiteX13" fmla="*/ 679216 w 1256734"/>
                <a:gd name="connsiteY13" fmla="*/ 197999 h 356304"/>
                <a:gd name="connsiteX14" fmla="*/ 846824 w 1256734"/>
                <a:gd name="connsiteY14" fmla="*/ 197999 h 356304"/>
                <a:gd name="connsiteX15" fmla="*/ 846824 w 1256734"/>
                <a:gd name="connsiteY15" fmla="*/ 350105 h 356304"/>
                <a:gd name="connsiteX16" fmla="*/ 890075 w 1256734"/>
                <a:gd name="connsiteY16" fmla="*/ 350105 h 356304"/>
                <a:gd name="connsiteX17" fmla="*/ 890075 w 1256734"/>
                <a:gd name="connsiteY17" fmla="*/ 6198 h 356304"/>
                <a:gd name="connsiteX18" fmla="*/ 846824 w 1256734"/>
                <a:gd name="connsiteY18" fmla="*/ 6198 h 356304"/>
                <a:gd name="connsiteX19" fmla="*/ 846824 w 1256734"/>
                <a:gd name="connsiteY19" fmla="*/ 160920 h 356304"/>
                <a:gd name="connsiteX20" fmla="*/ 679216 w 1256734"/>
                <a:gd name="connsiteY20" fmla="*/ 160920 h 356304"/>
                <a:gd name="connsiteX21" fmla="*/ 679216 w 1256734"/>
                <a:gd name="connsiteY21" fmla="*/ 6198 h 356304"/>
                <a:gd name="connsiteX22" fmla="*/ 635912 w 1256734"/>
                <a:gd name="connsiteY22" fmla="*/ 6198 h 356304"/>
                <a:gd name="connsiteX23" fmla="*/ 635912 w 1256734"/>
                <a:gd name="connsiteY23" fmla="*/ 350105 h 356304"/>
                <a:gd name="connsiteX24" fmla="*/ 679216 w 1256734"/>
                <a:gd name="connsiteY24" fmla="*/ 350105 h 356304"/>
                <a:gd name="connsiteX25" fmla="*/ 679216 w 1256734"/>
                <a:gd name="connsiteY25" fmla="*/ 197999 h 356304"/>
                <a:gd name="connsiteX26" fmla="*/ 392018 w 1256734"/>
                <a:gd name="connsiteY26" fmla="*/ 40230 h 356304"/>
                <a:gd name="connsiteX27" fmla="*/ 476563 w 1256734"/>
                <a:gd name="connsiteY27" fmla="*/ 75813 h 356304"/>
                <a:gd name="connsiteX28" fmla="*/ 515792 w 1256734"/>
                <a:gd name="connsiteY28" fmla="*/ 181011 h 356304"/>
                <a:gd name="connsiteX29" fmla="*/ 482758 w 1256734"/>
                <a:gd name="connsiteY29" fmla="*/ 275365 h 356304"/>
                <a:gd name="connsiteX30" fmla="*/ 390960 w 1256734"/>
                <a:gd name="connsiteY30" fmla="*/ 316610 h 356304"/>
                <a:gd name="connsiteX31" fmla="*/ 267239 w 1256734"/>
                <a:gd name="connsiteY31" fmla="*/ 178448 h 356304"/>
                <a:gd name="connsiteX32" fmla="*/ 392018 w 1256734"/>
                <a:gd name="connsiteY32" fmla="*/ 40230 h 356304"/>
                <a:gd name="connsiteX33" fmla="*/ 393077 w 1256734"/>
                <a:gd name="connsiteY33" fmla="*/ 0 h 356304"/>
                <a:gd name="connsiteX34" fmla="*/ 222876 w 1256734"/>
                <a:gd name="connsiteY34" fmla="*/ 179994 h 356304"/>
                <a:gd name="connsiteX35" fmla="*/ 258982 w 1256734"/>
                <a:gd name="connsiteY35" fmla="*/ 291872 h 356304"/>
                <a:gd name="connsiteX36" fmla="*/ 392018 w 1256734"/>
                <a:gd name="connsiteY36" fmla="*/ 356305 h 356304"/>
                <a:gd name="connsiteX37" fmla="*/ 501868 w 1256734"/>
                <a:gd name="connsiteY37" fmla="*/ 315059 h 356304"/>
                <a:gd name="connsiteX38" fmla="*/ 560155 w 1256734"/>
                <a:gd name="connsiteY38" fmla="*/ 181545 h 356304"/>
                <a:gd name="connsiteX39" fmla="*/ 519921 w 1256734"/>
                <a:gd name="connsiteY39" fmla="*/ 59304 h 356304"/>
                <a:gd name="connsiteX40" fmla="*/ 393077 w 1256734"/>
                <a:gd name="connsiteY40" fmla="*/ 0 h 356304"/>
                <a:gd name="connsiteX41" fmla="*/ 43306 w 1256734"/>
                <a:gd name="connsiteY41" fmla="*/ 310946 h 356304"/>
                <a:gd name="connsiteX42" fmla="*/ 43306 w 1256734"/>
                <a:gd name="connsiteY42" fmla="*/ 6198 h 356304"/>
                <a:gd name="connsiteX43" fmla="*/ 0 w 1256734"/>
                <a:gd name="connsiteY43" fmla="*/ 6198 h 356304"/>
                <a:gd name="connsiteX44" fmla="*/ 0 w 1256734"/>
                <a:gd name="connsiteY44" fmla="*/ 350105 h 356304"/>
                <a:gd name="connsiteX45" fmla="*/ 194237 w 1256734"/>
                <a:gd name="connsiteY45" fmla="*/ 350105 h 356304"/>
                <a:gd name="connsiteX46" fmla="*/ 194237 w 1256734"/>
                <a:gd name="connsiteY46" fmla="*/ 310946 h 356304"/>
                <a:gd name="connsiteX47" fmla="*/ 43306 w 1256734"/>
                <a:gd name="connsiteY47" fmla="*/ 310946 h 35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256734" h="356304">
                  <a:moveTo>
                    <a:pt x="1226823" y="269166"/>
                  </a:moveTo>
                  <a:cubicBezTo>
                    <a:pt x="1200037" y="301650"/>
                    <a:pt x="1171131" y="316610"/>
                    <a:pt x="1133491" y="316610"/>
                  </a:cubicBezTo>
                  <a:cubicBezTo>
                    <a:pt x="1062341" y="316610"/>
                    <a:pt x="1010248" y="258371"/>
                    <a:pt x="1010248" y="178448"/>
                  </a:cubicBezTo>
                  <a:cubicBezTo>
                    <a:pt x="1010248" y="97985"/>
                    <a:pt x="1061334" y="39696"/>
                    <a:pt x="1131426" y="39696"/>
                  </a:cubicBezTo>
                  <a:cubicBezTo>
                    <a:pt x="1168008" y="39696"/>
                    <a:pt x="1193313" y="52092"/>
                    <a:pt x="1226823" y="86659"/>
                  </a:cubicBezTo>
                  <a:lnTo>
                    <a:pt x="1256735" y="58823"/>
                  </a:lnTo>
                  <a:cubicBezTo>
                    <a:pt x="1239742" y="40230"/>
                    <a:pt x="1230424" y="32003"/>
                    <a:pt x="1216553" y="23241"/>
                  </a:cubicBezTo>
                  <a:cubicBezTo>
                    <a:pt x="1191725" y="8281"/>
                    <a:pt x="1161338" y="0"/>
                    <a:pt x="1130420" y="0"/>
                  </a:cubicBezTo>
                  <a:cubicBezTo>
                    <a:pt x="1035500" y="0"/>
                    <a:pt x="965885" y="75279"/>
                    <a:pt x="965885" y="178448"/>
                  </a:cubicBezTo>
                  <a:cubicBezTo>
                    <a:pt x="965885" y="226369"/>
                    <a:pt x="982931" y="273279"/>
                    <a:pt x="1011783" y="305763"/>
                  </a:cubicBezTo>
                  <a:cubicBezTo>
                    <a:pt x="1041165" y="338782"/>
                    <a:pt x="1081928" y="356305"/>
                    <a:pt x="1129892" y="356305"/>
                  </a:cubicBezTo>
                  <a:cubicBezTo>
                    <a:pt x="1182990" y="356305"/>
                    <a:pt x="1221107" y="338782"/>
                    <a:pt x="1255676" y="298071"/>
                  </a:cubicBezTo>
                  <a:lnTo>
                    <a:pt x="1226823" y="269166"/>
                  </a:lnTo>
                  <a:close/>
                  <a:moveTo>
                    <a:pt x="679216" y="197999"/>
                  </a:moveTo>
                  <a:lnTo>
                    <a:pt x="846824" y="197999"/>
                  </a:lnTo>
                  <a:lnTo>
                    <a:pt x="846824" y="350105"/>
                  </a:lnTo>
                  <a:lnTo>
                    <a:pt x="890075" y="350105"/>
                  </a:lnTo>
                  <a:lnTo>
                    <a:pt x="890075" y="6198"/>
                  </a:lnTo>
                  <a:lnTo>
                    <a:pt x="846824" y="6198"/>
                  </a:lnTo>
                  <a:lnTo>
                    <a:pt x="846824" y="160920"/>
                  </a:lnTo>
                  <a:lnTo>
                    <a:pt x="679216" y="160920"/>
                  </a:lnTo>
                  <a:lnTo>
                    <a:pt x="679216" y="6198"/>
                  </a:lnTo>
                  <a:lnTo>
                    <a:pt x="635912" y="6198"/>
                  </a:lnTo>
                  <a:lnTo>
                    <a:pt x="635912" y="350105"/>
                  </a:lnTo>
                  <a:lnTo>
                    <a:pt x="679216" y="350105"/>
                  </a:lnTo>
                  <a:lnTo>
                    <a:pt x="679216" y="197999"/>
                  </a:lnTo>
                  <a:close/>
                  <a:moveTo>
                    <a:pt x="392018" y="40230"/>
                  </a:moveTo>
                  <a:cubicBezTo>
                    <a:pt x="422459" y="40230"/>
                    <a:pt x="453904" y="53641"/>
                    <a:pt x="476563" y="75813"/>
                  </a:cubicBezTo>
                  <a:cubicBezTo>
                    <a:pt x="503404" y="101618"/>
                    <a:pt x="515792" y="135117"/>
                    <a:pt x="515792" y="181011"/>
                  </a:cubicBezTo>
                  <a:cubicBezTo>
                    <a:pt x="515792" y="216057"/>
                    <a:pt x="502874" y="253189"/>
                    <a:pt x="482758" y="275365"/>
                  </a:cubicBezTo>
                  <a:cubicBezTo>
                    <a:pt x="459569" y="301650"/>
                    <a:pt x="425530" y="316610"/>
                    <a:pt x="390960" y="316610"/>
                  </a:cubicBezTo>
                  <a:cubicBezTo>
                    <a:pt x="319809" y="316610"/>
                    <a:pt x="267239" y="258371"/>
                    <a:pt x="267239" y="178448"/>
                  </a:cubicBezTo>
                  <a:cubicBezTo>
                    <a:pt x="267239" y="99000"/>
                    <a:pt x="320338" y="40230"/>
                    <a:pt x="392018" y="40230"/>
                  </a:cubicBezTo>
                  <a:moveTo>
                    <a:pt x="393077" y="0"/>
                  </a:moveTo>
                  <a:cubicBezTo>
                    <a:pt x="295615" y="0"/>
                    <a:pt x="222876" y="77362"/>
                    <a:pt x="222876" y="179994"/>
                  </a:cubicBezTo>
                  <a:cubicBezTo>
                    <a:pt x="222876" y="223273"/>
                    <a:pt x="235318" y="261956"/>
                    <a:pt x="258982" y="291872"/>
                  </a:cubicBezTo>
                  <a:cubicBezTo>
                    <a:pt x="290957" y="332101"/>
                    <a:pt x="340985" y="356305"/>
                    <a:pt x="392018" y="356305"/>
                  </a:cubicBezTo>
                  <a:cubicBezTo>
                    <a:pt x="431723" y="356305"/>
                    <a:pt x="470899" y="341879"/>
                    <a:pt x="501868" y="315059"/>
                  </a:cubicBezTo>
                  <a:cubicBezTo>
                    <a:pt x="539509" y="283110"/>
                    <a:pt x="560155" y="235131"/>
                    <a:pt x="560155" y="181545"/>
                  </a:cubicBezTo>
                  <a:cubicBezTo>
                    <a:pt x="560155" y="129935"/>
                    <a:pt x="547715" y="91788"/>
                    <a:pt x="519921" y="59304"/>
                  </a:cubicBezTo>
                  <a:cubicBezTo>
                    <a:pt x="486886" y="21691"/>
                    <a:pt x="440988" y="0"/>
                    <a:pt x="393077" y="0"/>
                  </a:cubicBezTo>
                  <a:moveTo>
                    <a:pt x="43306" y="310946"/>
                  </a:moveTo>
                  <a:lnTo>
                    <a:pt x="43306" y="6198"/>
                  </a:lnTo>
                  <a:lnTo>
                    <a:pt x="0" y="6198"/>
                  </a:lnTo>
                  <a:lnTo>
                    <a:pt x="0" y="350105"/>
                  </a:lnTo>
                  <a:lnTo>
                    <a:pt x="194237" y="350105"/>
                  </a:lnTo>
                  <a:lnTo>
                    <a:pt x="194237" y="310946"/>
                  </a:lnTo>
                  <a:lnTo>
                    <a:pt x="43306" y="310946"/>
                  </a:lnTo>
                  <a:close/>
                </a:path>
              </a:pathLst>
            </a:custGeom>
            <a:solidFill>
              <a:schemeClr val="accent2"/>
            </a:solidFill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44F0710B-BA75-A2E0-820B-07A436C846AC}"/>
                </a:ext>
              </a:extLst>
            </p:cNvPr>
            <p:cNvSpPr/>
            <p:nvPr/>
          </p:nvSpPr>
          <p:spPr bwMode="gray">
            <a:xfrm>
              <a:off x="-161925" y="-1630732"/>
              <a:ext cx="10575647" cy="1701544"/>
            </a:xfrm>
            <a:custGeom>
              <a:avLst/>
              <a:gdLst>
                <a:gd name="connsiteX0" fmla="*/ 7802033 w 10575647"/>
                <a:gd name="connsiteY0" fmla="*/ 380187 h 1701544"/>
                <a:gd name="connsiteX1" fmla="*/ 7621138 w 10575647"/>
                <a:gd name="connsiteY1" fmla="*/ 380187 h 1701544"/>
                <a:gd name="connsiteX2" fmla="*/ 7621138 w 10575647"/>
                <a:gd name="connsiteY2" fmla="*/ 1271563 h 1701544"/>
                <a:gd name="connsiteX3" fmla="*/ 7802033 w 10575647"/>
                <a:gd name="connsiteY3" fmla="*/ 1271563 h 1701544"/>
                <a:gd name="connsiteX4" fmla="*/ 7802033 w 10575647"/>
                <a:gd name="connsiteY4" fmla="*/ 380187 h 1701544"/>
                <a:gd name="connsiteX5" fmla="*/ 706522 w 10575647"/>
                <a:gd name="connsiteY5" fmla="*/ 1271563 h 1701544"/>
                <a:gd name="connsiteX6" fmla="*/ 902065 w 10575647"/>
                <a:gd name="connsiteY6" fmla="*/ 1271563 h 1701544"/>
                <a:gd name="connsiteX7" fmla="*/ 902065 w 10575647"/>
                <a:gd name="connsiteY7" fmla="*/ 0 h 1701544"/>
                <a:gd name="connsiteX8" fmla="*/ 706522 w 10575647"/>
                <a:gd name="connsiteY8" fmla="*/ 0 h 1701544"/>
                <a:gd name="connsiteX9" fmla="*/ 706522 w 10575647"/>
                <a:gd name="connsiteY9" fmla="*/ 553717 h 1701544"/>
                <a:gd name="connsiteX10" fmla="*/ 195543 w 10575647"/>
                <a:gd name="connsiteY10" fmla="*/ 553717 h 1701544"/>
                <a:gd name="connsiteX11" fmla="*/ 195543 w 10575647"/>
                <a:gd name="connsiteY11" fmla="*/ 0 h 1701544"/>
                <a:gd name="connsiteX12" fmla="*/ 0 w 10575647"/>
                <a:gd name="connsiteY12" fmla="*/ 0 h 1701544"/>
                <a:gd name="connsiteX13" fmla="*/ 0 w 10575647"/>
                <a:gd name="connsiteY13" fmla="*/ 1271563 h 1701544"/>
                <a:gd name="connsiteX14" fmla="*/ 195543 w 10575647"/>
                <a:gd name="connsiteY14" fmla="*/ 1271563 h 1701544"/>
                <a:gd name="connsiteX15" fmla="*/ 195543 w 10575647"/>
                <a:gd name="connsiteY15" fmla="*/ 727142 h 1701544"/>
                <a:gd name="connsiteX16" fmla="*/ 706522 w 10575647"/>
                <a:gd name="connsiteY16" fmla="*/ 727142 h 1701544"/>
                <a:gd name="connsiteX17" fmla="*/ 706522 w 10575647"/>
                <a:gd name="connsiteY17" fmla="*/ 1271563 h 1701544"/>
                <a:gd name="connsiteX18" fmla="*/ 1306185 w 10575647"/>
                <a:gd name="connsiteY18" fmla="*/ 1690649 h 1701544"/>
                <a:gd name="connsiteX19" fmla="*/ 1654904 w 10575647"/>
                <a:gd name="connsiteY19" fmla="*/ 1036061 h 1701544"/>
                <a:gd name="connsiteX20" fmla="*/ 1306185 w 10575647"/>
                <a:gd name="connsiteY20" fmla="*/ 381469 h 1701544"/>
                <a:gd name="connsiteX21" fmla="*/ 1090234 w 10575647"/>
                <a:gd name="connsiteY21" fmla="*/ 381469 h 1701544"/>
                <a:gd name="connsiteX22" fmla="*/ 1438900 w 10575647"/>
                <a:gd name="connsiteY22" fmla="*/ 1036061 h 1701544"/>
                <a:gd name="connsiteX23" fmla="*/ 1090234 w 10575647"/>
                <a:gd name="connsiteY23" fmla="*/ 1690649 h 1701544"/>
                <a:gd name="connsiteX24" fmla="*/ 1306185 w 10575647"/>
                <a:gd name="connsiteY24" fmla="*/ 1690649 h 1701544"/>
                <a:gd name="connsiteX25" fmla="*/ 2581808 w 10575647"/>
                <a:gd name="connsiteY25" fmla="*/ 828654 h 1701544"/>
                <a:gd name="connsiteX26" fmla="*/ 2317883 w 10575647"/>
                <a:gd name="connsiteY26" fmla="*/ 1129505 h 1701544"/>
                <a:gd name="connsiteX27" fmla="*/ 2065011 w 10575647"/>
                <a:gd name="connsiteY27" fmla="*/ 832338 h 1701544"/>
                <a:gd name="connsiteX28" fmla="*/ 2327068 w 10575647"/>
                <a:gd name="connsiteY28" fmla="*/ 525990 h 1701544"/>
                <a:gd name="connsiteX29" fmla="*/ 2581808 w 10575647"/>
                <a:gd name="connsiteY29" fmla="*/ 828654 h 1701544"/>
                <a:gd name="connsiteX30" fmla="*/ 2581808 w 10575647"/>
                <a:gd name="connsiteY30" fmla="*/ 1271563 h 1701544"/>
                <a:gd name="connsiteX31" fmla="*/ 2762608 w 10575647"/>
                <a:gd name="connsiteY31" fmla="*/ 1271563 h 1701544"/>
                <a:gd name="connsiteX32" fmla="*/ 2762608 w 10575647"/>
                <a:gd name="connsiteY32" fmla="*/ 0 h 1701544"/>
                <a:gd name="connsiteX33" fmla="*/ 2581808 w 10575647"/>
                <a:gd name="connsiteY33" fmla="*/ 0 h 1701544"/>
                <a:gd name="connsiteX34" fmla="*/ 2581808 w 10575647"/>
                <a:gd name="connsiteY34" fmla="*/ 476356 h 1701544"/>
                <a:gd name="connsiteX35" fmla="*/ 2297581 w 10575647"/>
                <a:gd name="connsiteY35" fmla="*/ 359885 h 1701544"/>
                <a:gd name="connsiteX36" fmla="*/ 1876785 w 10575647"/>
                <a:gd name="connsiteY36" fmla="*/ 830470 h 1701544"/>
                <a:gd name="connsiteX37" fmla="*/ 2297581 w 10575647"/>
                <a:gd name="connsiteY37" fmla="*/ 1291865 h 1701544"/>
                <a:gd name="connsiteX38" fmla="*/ 2581808 w 10575647"/>
                <a:gd name="connsiteY38" fmla="*/ 1163217 h 1701544"/>
                <a:gd name="connsiteX39" fmla="*/ 2581808 w 10575647"/>
                <a:gd name="connsiteY39" fmla="*/ 1271563 h 1701544"/>
                <a:gd name="connsiteX40" fmla="*/ 3437445 w 10575647"/>
                <a:gd name="connsiteY40" fmla="*/ 542393 h 1701544"/>
                <a:gd name="connsiteX41" fmla="*/ 3460310 w 10575647"/>
                <a:gd name="connsiteY41" fmla="*/ 545331 h 1701544"/>
                <a:gd name="connsiteX42" fmla="*/ 3460310 w 10575647"/>
                <a:gd name="connsiteY42" fmla="*/ 359885 h 1701544"/>
                <a:gd name="connsiteX43" fmla="*/ 3406830 w 10575647"/>
                <a:gd name="connsiteY43" fmla="*/ 359885 h 1701544"/>
                <a:gd name="connsiteX44" fmla="*/ 3231965 w 10575647"/>
                <a:gd name="connsiteY44" fmla="*/ 415877 h 1701544"/>
                <a:gd name="connsiteX45" fmla="*/ 3187194 w 10575647"/>
                <a:gd name="connsiteY45" fmla="*/ 462091 h 1701544"/>
                <a:gd name="connsiteX46" fmla="*/ 3187194 w 10575647"/>
                <a:gd name="connsiteY46" fmla="*/ 380187 h 1701544"/>
                <a:gd name="connsiteX47" fmla="*/ 3006395 w 10575647"/>
                <a:gd name="connsiteY47" fmla="*/ 380187 h 1701544"/>
                <a:gd name="connsiteX48" fmla="*/ 3006395 w 10575647"/>
                <a:gd name="connsiteY48" fmla="*/ 1271563 h 1701544"/>
                <a:gd name="connsiteX49" fmla="*/ 3187194 w 10575647"/>
                <a:gd name="connsiteY49" fmla="*/ 1271563 h 1701544"/>
                <a:gd name="connsiteX50" fmla="*/ 3187194 w 10575647"/>
                <a:gd name="connsiteY50" fmla="*/ 819411 h 1701544"/>
                <a:gd name="connsiteX51" fmla="*/ 3233517 w 10575647"/>
                <a:gd name="connsiteY51" fmla="*/ 629638 h 1701544"/>
                <a:gd name="connsiteX52" fmla="*/ 3401277 w 10575647"/>
                <a:gd name="connsiteY52" fmla="*/ 540683 h 1701544"/>
                <a:gd name="connsiteX53" fmla="*/ 3437445 w 10575647"/>
                <a:gd name="connsiteY53" fmla="*/ 542393 h 1701544"/>
                <a:gd name="connsiteX54" fmla="*/ 4250980 w 10575647"/>
                <a:gd name="connsiteY54" fmla="*/ 826838 h 1701544"/>
                <a:gd name="connsiteX55" fmla="*/ 3983364 w 10575647"/>
                <a:gd name="connsiteY55" fmla="*/ 1122077 h 1701544"/>
                <a:gd name="connsiteX56" fmla="*/ 3713875 w 10575647"/>
                <a:gd name="connsiteY56" fmla="*/ 826838 h 1701544"/>
                <a:gd name="connsiteX57" fmla="*/ 3985180 w 10575647"/>
                <a:gd name="connsiteY57" fmla="*/ 529677 h 1701544"/>
                <a:gd name="connsiteX58" fmla="*/ 4250980 w 10575647"/>
                <a:gd name="connsiteY58" fmla="*/ 826838 h 1701544"/>
                <a:gd name="connsiteX59" fmla="*/ 4435464 w 10575647"/>
                <a:gd name="connsiteY59" fmla="*/ 828654 h 1701544"/>
                <a:gd name="connsiteX60" fmla="*/ 3985180 w 10575647"/>
                <a:gd name="connsiteY60" fmla="*/ 359885 h 1701544"/>
                <a:gd name="connsiteX61" fmla="*/ 3529338 w 10575647"/>
                <a:gd name="connsiteY61" fmla="*/ 824916 h 1701544"/>
                <a:gd name="connsiteX62" fmla="*/ 3979622 w 10575647"/>
                <a:gd name="connsiteY62" fmla="*/ 1291865 h 1701544"/>
                <a:gd name="connsiteX63" fmla="*/ 4435464 w 10575647"/>
                <a:gd name="connsiteY63" fmla="*/ 828654 h 1701544"/>
                <a:gd name="connsiteX64" fmla="*/ 5261608 w 10575647"/>
                <a:gd name="connsiteY64" fmla="*/ 828654 h 1701544"/>
                <a:gd name="connsiteX65" fmla="*/ 5205508 w 10575647"/>
                <a:gd name="connsiteY65" fmla="*/ 1025854 h 1701544"/>
                <a:gd name="connsiteX66" fmla="*/ 5005052 w 10575647"/>
                <a:gd name="connsiteY66" fmla="*/ 1122077 h 1701544"/>
                <a:gd name="connsiteX67" fmla="*/ 4746675 w 10575647"/>
                <a:gd name="connsiteY67" fmla="*/ 823153 h 1701544"/>
                <a:gd name="connsiteX68" fmla="*/ 5008683 w 10575647"/>
                <a:gd name="connsiteY68" fmla="*/ 529677 h 1701544"/>
                <a:gd name="connsiteX69" fmla="*/ 5200378 w 10575647"/>
                <a:gd name="connsiteY69" fmla="*/ 617081 h 1701544"/>
                <a:gd name="connsiteX70" fmla="*/ 5261608 w 10575647"/>
                <a:gd name="connsiteY70" fmla="*/ 828654 h 1701544"/>
                <a:gd name="connsiteX71" fmla="*/ 5327264 w 10575647"/>
                <a:gd name="connsiteY71" fmla="*/ 1583314 h 1701544"/>
                <a:gd name="connsiteX72" fmla="*/ 5446113 w 10575647"/>
                <a:gd name="connsiteY72" fmla="*/ 1256819 h 1701544"/>
                <a:gd name="connsiteX73" fmla="*/ 5446113 w 10575647"/>
                <a:gd name="connsiteY73" fmla="*/ 380187 h 1701544"/>
                <a:gd name="connsiteX74" fmla="*/ 5265239 w 10575647"/>
                <a:gd name="connsiteY74" fmla="*/ 380187 h 1701544"/>
                <a:gd name="connsiteX75" fmla="*/ 5265239 w 10575647"/>
                <a:gd name="connsiteY75" fmla="*/ 488537 h 1701544"/>
                <a:gd name="connsiteX76" fmla="*/ 4982875 w 10575647"/>
                <a:gd name="connsiteY76" fmla="*/ 359885 h 1701544"/>
                <a:gd name="connsiteX77" fmla="*/ 4699394 w 10575647"/>
                <a:gd name="connsiteY77" fmla="*/ 465190 h 1701544"/>
                <a:gd name="connsiteX78" fmla="*/ 4558400 w 10575647"/>
                <a:gd name="connsiteY78" fmla="*/ 828654 h 1701544"/>
                <a:gd name="connsiteX79" fmla="*/ 4971816 w 10575647"/>
                <a:gd name="connsiteY79" fmla="*/ 1291865 h 1701544"/>
                <a:gd name="connsiteX80" fmla="*/ 5265239 w 10575647"/>
                <a:gd name="connsiteY80" fmla="*/ 1150553 h 1701544"/>
                <a:gd name="connsiteX81" fmla="*/ 5265239 w 10575647"/>
                <a:gd name="connsiteY81" fmla="*/ 1267931 h 1701544"/>
                <a:gd name="connsiteX82" fmla="*/ 5206095 w 10575647"/>
                <a:gd name="connsiteY82" fmla="*/ 1457116 h 1701544"/>
                <a:gd name="connsiteX83" fmla="*/ 4999546 w 10575647"/>
                <a:gd name="connsiteY83" fmla="*/ 1533625 h 1701544"/>
                <a:gd name="connsiteX84" fmla="*/ 4811695 w 10575647"/>
                <a:gd name="connsiteY84" fmla="*/ 1487409 h 1701544"/>
                <a:gd name="connsiteX85" fmla="*/ 4733588 w 10575647"/>
                <a:gd name="connsiteY85" fmla="*/ 1416300 h 1701544"/>
                <a:gd name="connsiteX86" fmla="*/ 4719215 w 10575647"/>
                <a:gd name="connsiteY86" fmla="*/ 1401339 h 1701544"/>
                <a:gd name="connsiteX87" fmla="*/ 4595103 w 10575647"/>
                <a:gd name="connsiteY87" fmla="*/ 1525451 h 1701544"/>
                <a:gd name="connsiteX88" fmla="*/ 4607819 w 10575647"/>
                <a:gd name="connsiteY88" fmla="*/ 1539824 h 1701544"/>
                <a:gd name="connsiteX89" fmla="*/ 4999546 w 10575647"/>
                <a:gd name="connsiteY89" fmla="*/ 1701544 h 1701544"/>
                <a:gd name="connsiteX90" fmla="*/ 5327264 w 10575647"/>
                <a:gd name="connsiteY90" fmla="*/ 1583314 h 1701544"/>
                <a:gd name="connsiteX91" fmla="*/ 6317923 w 10575647"/>
                <a:gd name="connsiteY91" fmla="*/ 747497 h 1701544"/>
                <a:gd name="connsiteX92" fmla="*/ 5805203 w 10575647"/>
                <a:gd name="connsiteY92" fmla="*/ 747497 h 1701544"/>
                <a:gd name="connsiteX93" fmla="*/ 5845913 w 10575647"/>
                <a:gd name="connsiteY93" fmla="*/ 635144 h 1701544"/>
                <a:gd name="connsiteX94" fmla="*/ 6057989 w 10575647"/>
                <a:gd name="connsiteY94" fmla="*/ 525990 h 1701544"/>
                <a:gd name="connsiteX95" fmla="*/ 6275730 w 10575647"/>
                <a:gd name="connsiteY95" fmla="*/ 633487 h 1701544"/>
                <a:gd name="connsiteX96" fmla="*/ 6317923 w 10575647"/>
                <a:gd name="connsiteY96" fmla="*/ 747497 h 1701544"/>
                <a:gd name="connsiteX97" fmla="*/ 6508188 w 10575647"/>
                <a:gd name="connsiteY97" fmla="*/ 872890 h 1701544"/>
                <a:gd name="connsiteX98" fmla="*/ 6510094 w 10575647"/>
                <a:gd name="connsiteY98" fmla="*/ 815779 h 1701544"/>
                <a:gd name="connsiteX99" fmla="*/ 6057989 w 10575647"/>
                <a:gd name="connsiteY99" fmla="*/ 359885 h 1701544"/>
                <a:gd name="connsiteX100" fmla="*/ 5609538 w 10575647"/>
                <a:gd name="connsiteY100" fmla="*/ 828654 h 1701544"/>
                <a:gd name="connsiteX101" fmla="*/ 6063495 w 10575647"/>
                <a:gd name="connsiteY101" fmla="*/ 1291865 h 1701544"/>
                <a:gd name="connsiteX102" fmla="*/ 6460066 w 10575647"/>
                <a:gd name="connsiteY102" fmla="*/ 1051710 h 1701544"/>
                <a:gd name="connsiteX103" fmla="*/ 6469966 w 10575647"/>
                <a:gd name="connsiteY103" fmla="*/ 1031572 h 1701544"/>
                <a:gd name="connsiteX104" fmla="*/ 6308923 w 10575647"/>
                <a:gd name="connsiteY104" fmla="*/ 971517 h 1701544"/>
                <a:gd name="connsiteX105" fmla="*/ 6300559 w 10575647"/>
                <a:gd name="connsiteY105" fmla="*/ 986689 h 1701544"/>
                <a:gd name="connsiteX106" fmla="*/ 6063495 w 10575647"/>
                <a:gd name="connsiteY106" fmla="*/ 1122077 h 1701544"/>
                <a:gd name="connsiteX107" fmla="*/ 5850784 w 10575647"/>
                <a:gd name="connsiteY107" fmla="*/ 1013832 h 1701544"/>
                <a:gd name="connsiteX108" fmla="*/ 5802132 w 10575647"/>
                <a:gd name="connsiteY108" fmla="*/ 891377 h 1701544"/>
                <a:gd name="connsiteX109" fmla="*/ 6506547 w 10575647"/>
                <a:gd name="connsiteY109" fmla="*/ 891377 h 1701544"/>
                <a:gd name="connsiteX110" fmla="*/ 6508188 w 10575647"/>
                <a:gd name="connsiteY110" fmla="*/ 872890 h 1701544"/>
                <a:gd name="connsiteX111" fmla="*/ 7205139 w 10575647"/>
                <a:gd name="connsiteY111" fmla="*/ 1271563 h 1701544"/>
                <a:gd name="connsiteX112" fmla="*/ 7385928 w 10575647"/>
                <a:gd name="connsiteY112" fmla="*/ 1271563 h 1701544"/>
                <a:gd name="connsiteX113" fmla="*/ 7385928 w 10575647"/>
                <a:gd name="connsiteY113" fmla="*/ 677294 h 1701544"/>
                <a:gd name="connsiteX114" fmla="*/ 7307154 w 10575647"/>
                <a:gd name="connsiteY114" fmla="*/ 435163 h 1701544"/>
                <a:gd name="connsiteX115" fmla="*/ 7096189 w 10575647"/>
                <a:gd name="connsiteY115" fmla="*/ 359885 h 1701544"/>
                <a:gd name="connsiteX116" fmla="*/ 6863625 w 10575647"/>
                <a:gd name="connsiteY116" fmla="*/ 463694 h 1701544"/>
                <a:gd name="connsiteX117" fmla="*/ 6863625 w 10575647"/>
                <a:gd name="connsiteY117" fmla="*/ 380187 h 1701544"/>
                <a:gd name="connsiteX118" fmla="*/ 6682836 w 10575647"/>
                <a:gd name="connsiteY118" fmla="*/ 380187 h 1701544"/>
                <a:gd name="connsiteX119" fmla="*/ 6682836 w 10575647"/>
                <a:gd name="connsiteY119" fmla="*/ 1271563 h 1701544"/>
                <a:gd name="connsiteX120" fmla="*/ 6863625 w 10575647"/>
                <a:gd name="connsiteY120" fmla="*/ 1271563 h 1701544"/>
                <a:gd name="connsiteX121" fmla="*/ 6863625 w 10575647"/>
                <a:gd name="connsiteY121" fmla="*/ 732701 h 1701544"/>
                <a:gd name="connsiteX122" fmla="*/ 6913971 w 10575647"/>
                <a:gd name="connsiteY122" fmla="*/ 591066 h 1701544"/>
                <a:gd name="connsiteX123" fmla="*/ 7061143 w 10575647"/>
                <a:gd name="connsiteY123" fmla="*/ 525990 h 1701544"/>
                <a:gd name="connsiteX124" fmla="*/ 7177769 w 10575647"/>
                <a:gd name="connsiteY124" fmla="*/ 575089 h 1701544"/>
                <a:gd name="connsiteX125" fmla="*/ 7205139 w 10575647"/>
                <a:gd name="connsiteY125" fmla="*/ 708709 h 1701544"/>
                <a:gd name="connsiteX126" fmla="*/ 7205139 w 10575647"/>
                <a:gd name="connsiteY126" fmla="*/ 1271563 h 1701544"/>
                <a:gd name="connsiteX127" fmla="*/ 7822309 w 10575647"/>
                <a:gd name="connsiteY127" fmla="*/ 162418 h 1701544"/>
                <a:gd name="connsiteX128" fmla="*/ 7713412 w 10575647"/>
                <a:gd name="connsiteY128" fmla="*/ 49847 h 1701544"/>
                <a:gd name="connsiteX129" fmla="*/ 7602662 w 10575647"/>
                <a:gd name="connsiteY129" fmla="*/ 160549 h 1701544"/>
                <a:gd name="connsiteX130" fmla="*/ 7711560 w 10575647"/>
                <a:gd name="connsiteY130" fmla="*/ 271303 h 1701544"/>
                <a:gd name="connsiteX131" fmla="*/ 7822309 w 10575647"/>
                <a:gd name="connsiteY131" fmla="*/ 162418 h 1701544"/>
                <a:gd name="connsiteX132" fmla="*/ 8704760 w 10575647"/>
                <a:gd name="connsiteY132" fmla="*/ 826838 h 1701544"/>
                <a:gd name="connsiteX133" fmla="*/ 8437150 w 10575647"/>
                <a:gd name="connsiteY133" fmla="*/ 1122077 h 1701544"/>
                <a:gd name="connsiteX134" fmla="*/ 8167740 w 10575647"/>
                <a:gd name="connsiteY134" fmla="*/ 826838 h 1701544"/>
                <a:gd name="connsiteX135" fmla="*/ 8439003 w 10575647"/>
                <a:gd name="connsiteY135" fmla="*/ 529677 h 1701544"/>
                <a:gd name="connsiteX136" fmla="*/ 8704760 w 10575647"/>
                <a:gd name="connsiteY136" fmla="*/ 826838 h 1701544"/>
                <a:gd name="connsiteX137" fmla="*/ 8889307 w 10575647"/>
                <a:gd name="connsiteY137" fmla="*/ 828654 h 1701544"/>
                <a:gd name="connsiteX138" fmla="*/ 8439003 w 10575647"/>
                <a:gd name="connsiteY138" fmla="*/ 359885 h 1701544"/>
                <a:gd name="connsiteX139" fmla="*/ 7983193 w 10575647"/>
                <a:gd name="connsiteY139" fmla="*/ 824916 h 1701544"/>
                <a:gd name="connsiteX140" fmla="*/ 8433444 w 10575647"/>
                <a:gd name="connsiteY140" fmla="*/ 1291865 h 1701544"/>
                <a:gd name="connsiteX141" fmla="*/ 8889307 w 10575647"/>
                <a:gd name="connsiteY141" fmla="*/ 828654 h 1701544"/>
                <a:gd name="connsiteX142" fmla="*/ 9658150 w 10575647"/>
                <a:gd name="connsiteY142" fmla="*/ 1197940 h 1701544"/>
                <a:gd name="connsiteX143" fmla="*/ 9749630 w 10575647"/>
                <a:gd name="connsiteY143" fmla="*/ 944968 h 1701544"/>
                <a:gd name="connsiteX144" fmla="*/ 9749630 w 10575647"/>
                <a:gd name="connsiteY144" fmla="*/ 380187 h 1701544"/>
                <a:gd name="connsiteX145" fmla="*/ 9566988 w 10575647"/>
                <a:gd name="connsiteY145" fmla="*/ 380187 h 1701544"/>
                <a:gd name="connsiteX146" fmla="*/ 9566988 w 10575647"/>
                <a:gd name="connsiteY146" fmla="*/ 944968 h 1701544"/>
                <a:gd name="connsiteX147" fmla="*/ 9535012 w 10575647"/>
                <a:gd name="connsiteY147" fmla="*/ 1068222 h 1701544"/>
                <a:gd name="connsiteX148" fmla="*/ 9399010 w 10575647"/>
                <a:gd name="connsiteY148" fmla="*/ 1125815 h 1701544"/>
                <a:gd name="connsiteX149" fmla="*/ 9229233 w 10575647"/>
                <a:gd name="connsiteY149" fmla="*/ 941225 h 1701544"/>
                <a:gd name="connsiteX150" fmla="*/ 9229233 w 10575647"/>
                <a:gd name="connsiteY150" fmla="*/ 380187 h 1701544"/>
                <a:gd name="connsiteX151" fmla="*/ 9048391 w 10575647"/>
                <a:gd name="connsiteY151" fmla="*/ 380187 h 1701544"/>
                <a:gd name="connsiteX152" fmla="*/ 9048391 w 10575647"/>
                <a:gd name="connsiteY152" fmla="*/ 944968 h 1701544"/>
                <a:gd name="connsiteX153" fmla="*/ 9139659 w 10575647"/>
                <a:gd name="connsiteY153" fmla="*/ 1195965 h 1701544"/>
                <a:gd name="connsiteX154" fmla="*/ 9399010 w 10575647"/>
                <a:gd name="connsiteY154" fmla="*/ 1291865 h 1701544"/>
                <a:gd name="connsiteX155" fmla="*/ 9658150 w 10575647"/>
                <a:gd name="connsiteY155" fmla="*/ 1197945 h 1701544"/>
                <a:gd name="connsiteX156" fmla="*/ 10385594 w 10575647"/>
                <a:gd name="connsiteY156" fmla="*/ 653307 h 1701544"/>
                <a:gd name="connsiteX157" fmla="*/ 10567335 w 10575647"/>
                <a:gd name="connsiteY157" fmla="*/ 653307 h 1701544"/>
                <a:gd name="connsiteX158" fmla="*/ 10566383 w 10575647"/>
                <a:gd name="connsiteY158" fmla="*/ 632041 h 1701544"/>
                <a:gd name="connsiteX159" fmla="*/ 10249009 w 10575647"/>
                <a:gd name="connsiteY159" fmla="*/ 359885 h 1701544"/>
                <a:gd name="connsiteX160" fmla="*/ 9929730 w 10575647"/>
                <a:gd name="connsiteY160" fmla="*/ 627446 h 1701544"/>
                <a:gd name="connsiteX161" fmla="*/ 10212587 w 10575647"/>
                <a:gd name="connsiteY161" fmla="*/ 903611 h 1701544"/>
                <a:gd name="connsiteX162" fmla="*/ 10391099 w 10575647"/>
                <a:gd name="connsiteY162" fmla="*/ 1031625 h 1701544"/>
                <a:gd name="connsiteX163" fmla="*/ 10252715 w 10575647"/>
                <a:gd name="connsiteY163" fmla="*/ 1136874 h 1701544"/>
                <a:gd name="connsiteX164" fmla="*/ 10093843 w 10575647"/>
                <a:gd name="connsiteY164" fmla="*/ 1007579 h 1701544"/>
                <a:gd name="connsiteX165" fmla="*/ 10092096 w 10575647"/>
                <a:gd name="connsiteY165" fmla="*/ 989257 h 1701544"/>
                <a:gd name="connsiteX166" fmla="*/ 9913054 w 10575647"/>
                <a:gd name="connsiteY166" fmla="*/ 989257 h 1701544"/>
                <a:gd name="connsiteX167" fmla="*/ 9915066 w 10575647"/>
                <a:gd name="connsiteY167" fmla="*/ 1011216 h 1701544"/>
                <a:gd name="connsiteX168" fmla="*/ 10252715 w 10575647"/>
                <a:gd name="connsiteY168" fmla="*/ 1291865 h 1701544"/>
                <a:gd name="connsiteX169" fmla="*/ 10575647 w 10575647"/>
                <a:gd name="connsiteY169" fmla="*/ 1024303 h 1701544"/>
                <a:gd name="connsiteX170" fmla="*/ 10501426 w 10575647"/>
                <a:gd name="connsiteY170" fmla="*/ 843879 h 1701544"/>
                <a:gd name="connsiteX171" fmla="*/ 10285750 w 10575647"/>
                <a:gd name="connsiteY171" fmla="*/ 740769 h 1701544"/>
                <a:gd name="connsiteX172" fmla="*/ 10110519 w 10575647"/>
                <a:gd name="connsiteY172" fmla="*/ 616440 h 1701544"/>
                <a:gd name="connsiteX173" fmla="*/ 10243398 w 10575647"/>
                <a:gd name="connsiteY173" fmla="*/ 514877 h 1701544"/>
                <a:gd name="connsiteX174" fmla="*/ 10385594 w 10575647"/>
                <a:gd name="connsiteY174" fmla="*/ 623762 h 1701544"/>
                <a:gd name="connsiteX175" fmla="*/ 10385594 w 10575647"/>
                <a:gd name="connsiteY175" fmla="*/ 653307 h 170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10575647" h="1701544">
                  <a:moveTo>
                    <a:pt x="7802033" y="380187"/>
                  </a:moveTo>
                  <a:lnTo>
                    <a:pt x="7621138" y="380187"/>
                  </a:lnTo>
                  <a:lnTo>
                    <a:pt x="7621138" y="1271563"/>
                  </a:lnTo>
                  <a:lnTo>
                    <a:pt x="7802033" y="1271563"/>
                  </a:lnTo>
                  <a:lnTo>
                    <a:pt x="7802033" y="380187"/>
                  </a:lnTo>
                  <a:close/>
                  <a:moveTo>
                    <a:pt x="706522" y="1271563"/>
                  </a:moveTo>
                  <a:lnTo>
                    <a:pt x="902065" y="1271563"/>
                  </a:lnTo>
                  <a:lnTo>
                    <a:pt x="902065" y="0"/>
                  </a:lnTo>
                  <a:lnTo>
                    <a:pt x="706522" y="0"/>
                  </a:lnTo>
                  <a:lnTo>
                    <a:pt x="706522" y="553717"/>
                  </a:lnTo>
                  <a:lnTo>
                    <a:pt x="195543" y="553717"/>
                  </a:lnTo>
                  <a:lnTo>
                    <a:pt x="195543" y="0"/>
                  </a:lnTo>
                  <a:lnTo>
                    <a:pt x="0" y="0"/>
                  </a:lnTo>
                  <a:lnTo>
                    <a:pt x="0" y="1271563"/>
                  </a:lnTo>
                  <a:lnTo>
                    <a:pt x="195543" y="1271563"/>
                  </a:lnTo>
                  <a:lnTo>
                    <a:pt x="195543" y="727142"/>
                  </a:lnTo>
                  <a:lnTo>
                    <a:pt x="706522" y="727142"/>
                  </a:lnTo>
                  <a:lnTo>
                    <a:pt x="706522" y="1271563"/>
                  </a:lnTo>
                  <a:close/>
                  <a:moveTo>
                    <a:pt x="1306185" y="1690649"/>
                  </a:moveTo>
                  <a:lnTo>
                    <a:pt x="1654904" y="1036061"/>
                  </a:lnTo>
                  <a:lnTo>
                    <a:pt x="1306185" y="381469"/>
                  </a:lnTo>
                  <a:lnTo>
                    <a:pt x="1090234" y="381469"/>
                  </a:lnTo>
                  <a:lnTo>
                    <a:pt x="1438900" y="1036061"/>
                  </a:lnTo>
                  <a:lnTo>
                    <a:pt x="1090234" y="1690649"/>
                  </a:lnTo>
                  <a:lnTo>
                    <a:pt x="1306185" y="1690649"/>
                  </a:lnTo>
                  <a:close/>
                  <a:moveTo>
                    <a:pt x="2581808" y="828654"/>
                  </a:moveTo>
                  <a:cubicBezTo>
                    <a:pt x="2581808" y="1002989"/>
                    <a:pt x="2470789" y="1129505"/>
                    <a:pt x="2317883" y="1129505"/>
                  </a:cubicBezTo>
                  <a:cubicBezTo>
                    <a:pt x="2168980" y="1129505"/>
                    <a:pt x="2065011" y="1007262"/>
                    <a:pt x="2065011" y="832338"/>
                  </a:cubicBezTo>
                  <a:cubicBezTo>
                    <a:pt x="2065011" y="649088"/>
                    <a:pt x="2170314" y="525990"/>
                    <a:pt x="2327068" y="525990"/>
                  </a:cubicBezTo>
                  <a:cubicBezTo>
                    <a:pt x="2479444" y="525990"/>
                    <a:pt x="2581808" y="647590"/>
                    <a:pt x="2581808" y="828654"/>
                  </a:cubicBezTo>
                  <a:moveTo>
                    <a:pt x="2581808" y="1271563"/>
                  </a:moveTo>
                  <a:lnTo>
                    <a:pt x="2762608" y="1271563"/>
                  </a:lnTo>
                  <a:lnTo>
                    <a:pt x="2762608" y="0"/>
                  </a:lnTo>
                  <a:lnTo>
                    <a:pt x="2581808" y="0"/>
                  </a:lnTo>
                  <a:lnTo>
                    <a:pt x="2581808" y="476356"/>
                  </a:lnTo>
                  <a:cubicBezTo>
                    <a:pt x="2503431" y="397017"/>
                    <a:pt x="2412449" y="359885"/>
                    <a:pt x="2297581" y="359885"/>
                  </a:cubicBezTo>
                  <a:cubicBezTo>
                    <a:pt x="2057690" y="359885"/>
                    <a:pt x="1876785" y="562214"/>
                    <a:pt x="1876785" y="830470"/>
                  </a:cubicBezTo>
                  <a:cubicBezTo>
                    <a:pt x="1876785" y="1102145"/>
                    <a:pt x="2049839" y="1291865"/>
                    <a:pt x="2297581" y="1291865"/>
                  </a:cubicBezTo>
                  <a:cubicBezTo>
                    <a:pt x="2414371" y="1291865"/>
                    <a:pt x="2503061" y="1251959"/>
                    <a:pt x="2581808" y="1163217"/>
                  </a:cubicBezTo>
                  <a:lnTo>
                    <a:pt x="2581808" y="1271563"/>
                  </a:lnTo>
                  <a:close/>
                  <a:moveTo>
                    <a:pt x="3437445" y="542393"/>
                  </a:moveTo>
                  <a:lnTo>
                    <a:pt x="3460310" y="545331"/>
                  </a:lnTo>
                  <a:lnTo>
                    <a:pt x="3460310" y="359885"/>
                  </a:lnTo>
                  <a:lnTo>
                    <a:pt x="3406830" y="359885"/>
                  </a:lnTo>
                  <a:cubicBezTo>
                    <a:pt x="3341169" y="359885"/>
                    <a:pt x="3277430" y="380294"/>
                    <a:pt x="3231965" y="415877"/>
                  </a:cubicBezTo>
                  <a:cubicBezTo>
                    <a:pt x="3213690" y="430035"/>
                    <a:pt x="3199693" y="444353"/>
                    <a:pt x="3187194" y="462091"/>
                  </a:cubicBezTo>
                  <a:lnTo>
                    <a:pt x="3187194" y="380187"/>
                  </a:lnTo>
                  <a:lnTo>
                    <a:pt x="3006395" y="380187"/>
                  </a:lnTo>
                  <a:lnTo>
                    <a:pt x="3006395" y="1271563"/>
                  </a:lnTo>
                  <a:lnTo>
                    <a:pt x="3187194" y="1271563"/>
                  </a:lnTo>
                  <a:lnTo>
                    <a:pt x="3187194" y="819411"/>
                  </a:lnTo>
                  <a:cubicBezTo>
                    <a:pt x="3187194" y="727783"/>
                    <a:pt x="3198894" y="679915"/>
                    <a:pt x="3233517" y="629638"/>
                  </a:cubicBezTo>
                  <a:cubicBezTo>
                    <a:pt x="3272300" y="572310"/>
                    <a:pt x="3331926" y="540683"/>
                    <a:pt x="3401277" y="540683"/>
                  </a:cubicBezTo>
                  <a:cubicBezTo>
                    <a:pt x="3410356" y="540683"/>
                    <a:pt x="3423983" y="540683"/>
                    <a:pt x="3437445" y="542393"/>
                  </a:cubicBezTo>
                  <a:moveTo>
                    <a:pt x="4250980" y="826838"/>
                  </a:moveTo>
                  <a:cubicBezTo>
                    <a:pt x="4250980" y="1000692"/>
                    <a:pt x="4140918" y="1122077"/>
                    <a:pt x="3983364" y="1122077"/>
                  </a:cubicBezTo>
                  <a:cubicBezTo>
                    <a:pt x="3822174" y="1122077"/>
                    <a:pt x="3713875" y="1003466"/>
                    <a:pt x="3713875" y="826838"/>
                  </a:cubicBezTo>
                  <a:cubicBezTo>
                    <a:pt x="3713875" y="649088"/>
                    <a:pt x="3822920" y="529677"/>
                    <a:pt x="3985180" y="529677"/>
                  </a:cubicBezTo>
                  <a:cubicBezTo>
                    <a:pt x="4144179" y="529677"/>
                    <a:pt x="4250980" y="649088"/>
                    <a:pt x="4250980" y="826838"/>
                  </a:cubicBezTo>
                  <a:moveTo>
                    <a:pt x="4435464" y="828654"/>
                  </a:moveTo>
                  <a:cubicBezTo>
                    <a:pt x="4435464" y="557084"/>
                    <a:pt x="4246120" y="359885"/>
                    <a:pt x="3985180" y="359885"/>
                  </a:cubicBezTo>
                  <a:cubicBezTo>
                    <a:pt x="3716818" y="359885"/>
                    <a:pt x="3529338" y="551155"/>
                    <a:pt x="3529338" y="824916"/>
                  </a:cubicBezTo>
                  <a:cubicBezTo>
                    <a:pt x="3529338" y="1099848"/>
                    <a:pt x="3714521" y="1291865"/>
                    <a:pt x="3979622" y="1291865"/>
                  </a:cubicBezTo>
                  <a:cubicBezTo>
                    <a:pt x="4235272" y="1291865"/>
                    <a:pt x="4435464" y="1088418"/>
                    <a:pt x="4435464" y="828654"/>
                  </a:cubicBezTo>
                  <a:moveTo>
                    <a:pt x="5261608" y="828654"/>
                  </a:moveTo>
                  <a:cubicBezTo>
                    <a:pt x="5261608" y="909382"/>
                    <a:pt x="5239596" y="986748"/>
                    <a:pt x="5205508" y="1025854"/>
                  </a:cubicBezTo>
                  <a:cubicBezTo>
                    <a:pt x="5153150" y="1087026"/>
                    <a:pt x="5080062" y="1122077"/>
                    <a:pt x="5005052" y="1122077"/>
                  </a:cubicBezTo>
                  <a:cubicBezTo>
                    <a:pt x="4855296" y="1122077"/>
                    <a:pt x="4746675" y="996361"/>
                    <a:pt x="4746675" y="823153"/>
                  </a:cubicBezTo>
                  <a:cubicBezTo>
                    <a:pt x="4746675" y="650316"/>
                    <a:pt x="4854386" y="529677"/>
                    <a:pt x="5008683" y="529677"/>
                  </a:cubicBezTo>
                  <a:cubicBezTo>
                    <a:pt x="5078193" y="529677"/>
                    <a:pt x="5151652" y="563177"/>
                    <a:pt x="5200378" y="617081"/>
                  </a:cubicBezTo>
                  <a:cubicBezTo>
                    <a:pt x="5246112" y="667892"/>
                    <a:pt x="5261608" y="721266"/>
                    <a:pt x="5261608" y="828654"/>
                  </a:cubicBezTo>
                  <a:moveTo>
                    <a:pt x="5327264" y="1583314"/>
                  </a:moveTo>
                  <a:cubicBezTo>
                    <a:pt x="5409426" y="1504990"/>
                    <a:pt x="5446113" y="1404277"/>
                    <a:pt x="5446113" y="1256819"/>
                  </a:cubicBezTo>
                  <a:lnTo>
                    <a:pt x="5446113" y="380187"/>
                  </a:lnTo>
                  <a:lnTo>
                    <a:pt x="5265239" y="380187"/>
                  </a:lnTo>
                  <a:lnTo>
                    <a:pt x="5265239" y="488537"/>
                  </a:lnTo>
                  <a:cubicBezTo>
                    <a:pt x="5186005" y="398673"/>
                    <a:pt x="5100153" y="359885"/>
                    <a:pt x="4982875" y="359885"/>
                  </a:cubicBezTo>
                  <a:cubicBezTo>
                    <a:pt x="4866567" y="359885"/>
                    <a:pt x="4771201" y="395361"/>
                    <a:pt x="4699394" y="465190"/>
                  </a:cubicBezTo>
                  <a:cubicBezTo>
                    <a:pt x="4611080" y="549710"/>
                    <a:pt x="4558400" y="685574"/>
                    <a:pt x="4558400" y="828654"/>
                  </a:cubicBezTo>
                  <a:cubicBezTo>
                    <a:pt x="4558400" y="1092743"/>
                    <a:pt x="4736097" y="1291865"/>
                    <a:pt x="4971816" y="1291865"/>
                  </a:cubicBezTo>
                  <a:cubicBezTo>
                    <a:pt x="5092032" y="1291865"/>
                    <a:pt x="5185952" y="1246830"/>
                    <a:pt x="5265239" y="1150553"/>
                  </a:cubicBezTo>
                  <a:lnTo>
                    <a:pt x="5265239" y="1267931"/>
                  </a:lnTo>
                  <a:cubicBezTo>
                    <a:pt x="5265239" y="1350745"/>
                    <a:pt x="5245313" y="1414431"/>
                    <a:pt x="5206095" y="1457116"/>
                  </a:cubicBezTo>
                  <a:cubicBezTo>
                    <a:pt x="5162288" y="1504291"/>
                    <a:pt x="5083159" y="1533625"/>
                    <a:pt x="4999546" y="1533625"/>
                  </a:cubicBezTo>
                  <a:cubicBezTo>
                    <a:pt x="4932122" y="1533625"/>
                    <a:pt x="4856471" y="1514979"/>
                    <a:pt x="4811695" y="1487409"/>
                  </a:cubicBezTo>
                  <a:cubicBezTo>
                    <a:pt x="4788777" y="1471596"/>
                    <a:pt x="4771254" y="1455624"/>
                    <a:pt x="4733588" y="1416300"/>
                  </a:cubicBezTo>
                  <a:lnTo>
                    <a:pt x="4719215" y="1401339"/>
                  </a:lnTo>
                  <a:lnTo>
                    <a:pt x="4595103" y="1525451"/>
                  </a:lnTo>
                  <a:lnTo>
                    <a:pt x="4607819" y="1539824"/>
                  </a:lnTo>
                  <a:cubicBezTo>
                    <a:pt x="4703719" y="1647106"/>
                    <a:pt x="4835528" y="1701544"/>
                    <a:pt x="4999546" y="1701544"/>
                  </a:cubicBezTo>
                  <a:cubicBezTo>
                    <a:pt x="5134664" y="1701544"/>
                    <a:pt x="5247981" y="1660675"/>
                    <a:pt x="5327264" y="1583314"/>
                  </a:cubicBezTo>
                  <a:moveTo>
                    <a:pt x="6317923" y="747497"/>
                  </a:moveTo>
                  <a:lnTo>
                    <a:pt x="5805203" y="747497"/>
                  </a:lnTo>
                  <a:cubicBezTo>
                    <a:pt x="5814785" y="696051"/>
                    <a:pt x="5825267" y="667627"/>
                    <a:pt x="5845913" y="635144"/>
                  </a:cubicBezTo>
                  <a:cubicBezTo>
                    <a:pt x="5892024" y="566756"/>
                    <a:pt x="5971327" y="525990"/>
                    <a:pt x="6057989" y="525990"/>
                  </a:cubicBezTo>
                  <a:cubicBezTo>
                    <a:pt x="6144228" y="525990"/>
                    <a:pt x="6225702" y="566274"/>
                    <a:pt x="6275730" y="633487"/>
                  </a:cubicBezTo>
                  <a:cubicBezTo>
                    <a:pt x="6300453" y="669067"/>
                    <a:pt x="6312047" y="699841"/>
                    <a:pt x="6317923" y="747497"/>
                  </a:cubicBezTo>
                  <a:moveTo>
                    <a:pt x="6508188" y="872890"/>
                  </a:moveTo>
                  <a:cubicBezTo>
                    <a:pt x="6510094" y="851683"/>
                    <a:pt x="6510094" y="827426"/>
                    <a:pt x="6510094" y="815779"/>
                  </a:cubicBezTo>
                  <a:cubicBezTo>
                    <a:pt x="6510094" y="555909"/>
                    <a:pt x="6315700" y="359885"/>
                    <a:pt x="6057989" y="359885"/>
                  </a:cubicBezTo>
                  <a:cubicBezTo>
                    <a:pt x="5798109" y="359885"/>
                    <a:pt x="5609538" y="557084"/>
                    <a:pt x="5609538" y="828654"/>
                  </a:cubicBezTo>
                  <a:cubicBezTo>
                    <a:pt x="5609538" y="1097074"/>
                    <a:pt x="5800491" y="1291865"/>
                    <a:pt x="6063495" y="1291865"/>
                  </a:cubicBezTo>
                  <a:cubicBezTo>
                    <a:pt x="6235020" y="1291865"/>
                    <a:pt x="6386956" y="1199867"/>
                    <a:pt x="6460066" y="1051710"/>
                  </a:cubicBezTo>
                  <a:lnTo>
                    <a:pt x="6469966" y="1031572"/>
                  </a:lnTo>
                  <a:lnTo>
                    <a:pt x="6308923" y="971517"/>
                  </a:lnTo>
                  <a:lnTo>
                    <a:pt x="6300559" y="986689"/>
                  </a:lnTo>
                  <a:cubicBezTo>
                    <a:pt x="6254237" y="1068968"/>
                    <a:pt x="6161169" y="1122077"/>
                    <a:pt x="6063495" y="1122077"/>
                  </a:cubicBezTo>
                  <a:cubicBezTo>
                    <a:pt x="5977415" y="1122077"/>
                    <a:pt x="5901923" y="1083664"/>
                    <a:pt x="5850784" y="1013832"/>
                  </a:cubicBezTo>
                  <a:cubicBezTo>
                    <a:pt x="5821932" y="975900"/>
                    <a:pt x="5809438" y="945021"/>
                    <a:pt x="5802132" y="891377"/>
                  </a:cubicBezTo>
                  <a:lnTo>
                    <a:pt x="6506547" y="891377"/>
                  </a:lnTo>
                  <a:lnTo>
                    <a:pt x="6508188" y="872890"/>
                  </a:lnTo>
                  <a:close/>
                  <a:moveTo>
                    <a:pt x="7205139" y="1271563"/>
                  </a:moveTo>
                  <a:lnTo>
                    <a:pt x="7385928" y="1271563"/>
                  </a:lnTo>
                  <a:lnTo>
                    <a:pt x="7385928" y="677294"/>
                  </a:lnTo>
                  <a:cubicBezTo>
                    <a:pt x="7385928" y="554734"/>
                    <a:pt x="7365387" y="491422"/>
                    <a:pt x="7307154" y="435163"/>
                  </a:cubicBezTo>
                  <a:cubicBezTo>
                    <a:pt x="7252520" y="386599"/>
                    <a:pt x="7177557" y="359885"/>
                    <a:pt x="7096189" y="359885"/>
                  </a:cubicBezTo>
                  <a:cubicBezTo>
                    <a:pt x="7000739" y="359885"/>
                    <a:pt x="6929853" y="391193"/>
                    <a:pt x="6863625" y="463694"/>
                  </a:cubicBezTo>
                  <a:lnTo>
                    <a:pt x="6863625" y="380187"/>
                  </a:lnTo>
                  <a:lnTo>
                    <a:pt x="6682836" y="380187"/>
                  </a:lnTo>
                  <a:lnTo>
                    <a:pt x="6682836" y="1271563"/>
                  </a:lnTo>
                  <a:lnTo>
                    <a:pt x="6863625" y="1271563"/>
                  </a:lnTo>
                  <a:lnTo>
                    <a:pt x="6863625" y="732701"/>
                  </a:lnTo>
                  <a:cubicBezTo>
                    <a:pt x="6863625" y="667839"/>
                    <a:pt x="6876278" y="632147"/>
                    <a:pt x="6913971" y="591066"/>
                  </a:cubicBezTo>
                  <a:cubicBezTo>
                    <a:pt x="6951505" y="548481"/>
                    <a:pt x="7002433" y="525990"/>
                    <a:pt x="7061143" y="525990"/>
                  </a:cubicBezTo>
                  <a:cubicBezTo>
                    <a:pt x="7110748" y="525990"/>
                    <a:pt x="7155428" y="544744"/>
                    <a:pt x="7177769" y="575089"/>
                  </a:cubicBezTo>
                  <a:cubicBezTo>
                    <a:pt x="7197410" y="601215"/>
                    <a:pt x="7205139" y="638722"/>
                    <a:pt x="7205139" y="708709"/>
                  </a:cubicBezTo>
                  <a:lnTo>
                    <a:pt x="7205139" y="1271563"/>
                  </a:lnTo>
                  <a:close/>
                  <a:moveTo>
                    <a:pt x="7822309" y="162418"/>
                  </a:moveTo>
                  <a:cubicBezTo>
                    <a:pt x="7822309" y="99268"/>
                    <a:pt x="7774452" y="49847"/>
                    <a:pt x="7713412" y="49847"/>
                  </a:cubicBezTo>
                  <a:cubicBezTo>
                    <a:pt x="7650255" y="49847"/>
                    <a:pt x="7602662" y="97451"/>
                    <a:pt x="7602662" y="160549"/>
                  </a:cubicBezTo>
                  <a:cubicBezTo>
                    <a:pt x="7602662" y="223699"/>
                    <a:pt x="7649514" y="271303"/>
                    <a:pt x="7711560" y="271303"/>
                  </a:cubicBezTo>
                  <a:cubicBezTo>
                    <a:pt x="7773711" y="271303"/>
                    <a:pt x="7822309" y="223432"/>
                    <a:pt x="7822309" y="162418"/>
                  </a:cubicBezTo>
                  <a:moveTo>
                    <a:pt x="8704760" y="826838"/>
                  </a:moveTo>
                  <a:cubicBezTo>
                    <a:pt x="8704760" y="1000692"/>
                    <a:pt x="8594751" y="1122077"/>
                    <a:pt x="8437150" y="1122077"/>
                  </a:cubicBezTo>
                  <a:cubicBezTo>
                    <a:pt x="8276002" y="1122077"/>
                    <a:pt x="8167740" y="1003466"/>
                    <a:pt x="8167740" y="826838"/>
                  </a:cubicBezTo>
                  <a:cubicBezTo>
                    <a:pt x="8167740" y="649088"/>
                    <a:pt x="8276743" y="529677"/>
                    <a:pt x="8439003" y="529677"/>
                  </a:cubicBezTo>
                  <a:cubicBezTo>
                    <a:pt x="8597980" y="529677"/>
                    <a:pt x="8704760" y="649088"/>
                    <a:pt x="8704760" y="826838"/>
                  </a:cubicBezTo>
                  <a:moveTo>
                    <a:pt x="8889307" y="828654"/>
                  </a:moveTo>
                  <a:cubicBezTo>
                    <a:pt x="8889307" y="557084"/>
                    <a:pt x="8699942" y="359885"/>
                    <a:pt x="8439003" y="359885"/>
                  </a:cubicBezTo>
                  <a:cubicBezTo>
                    <a:pt x="8170652" y="359885"/>
                    <a:pt x="7983193" y="551155"/>
                    <a:pt x="7983193" y="824916"/>
                  </a:cubicBezTo>
                  <a:cubicBezTo>
                    <a:pt x="7983193" y="1099848"/>
                    <a:pt x="8168375" y="1291865"/>
                    <a:pt x="8433444" y="1291865"/>
                  </a:cubicBezTo>
                  <a:cubicBezTo>
                    <a:pt x="8689089" y="1291865"/>
                    <a:pt x="8889307" y="1088418"/>
                    <a:pt x="8889307" y="828654"/>
                  </a:cubicBezTo>
                  <a:moveTo>
                    <a:pt x="9658150" y="1197940"/>
                  </a:moveTo>
                  <a:cubicBezTo>
                    <a:pt x="9724854" y="1137144"/>
                    <a:pt x="9749630" y="1068539"/>
                    <a:pt x="9749630" y="944968"/>
                  </a:cubicBezTo>
                  <a:lnTo>
                    <a:pt x="9749630" y="380187"/>
                  </a:lnTo>
                  <a:lnTo>
                    <a:pt x="9566988" y="380187"/>
                  </a:lnTo>
                  <a:lnTo>
                    <a:pt x="9566988" y="944968"/>
                  </a:lnTo>
                  <a:cubicBezTo>
                    <a:pt x="9566988" y="1008437"/>
                    <a:pt x="9558835" y="1039587"/>
                    <a:pt x="9535012" y="1068222"/>
                  </a:cubicBezTo>
                  <a:cubicBezTo>
                    <a:pt x="9503831" y="1104284"/>
                    <a:pt x="9453009" y="1125815"/>
                    <a:pt x="9399010" y="1125815"/>
                  </a:cubicBezTo>
                  <a:cubicBezTo>
                    <a:pt x="9299060" y="1125815"/>
                    <a:pt x="9229233" y="1049947"/>
                    <a:pt x="9229233" y="941225"/>
                  </a:cubicBezTo>
                  <a:lnTo>
                    <a:pt x="9229233" y="380187"/>
                  </a:lnTo>
                  <a:lnTo>
                    <a:pt x="9048391" y="380187"/>
                  </a:lnTo>
                  <a:lnTo>
                    <a:pt x="9048391" y="944968"/>
                  </a:lnTo>
                  <a:cubicBezTo>
                    <a:pt x="9048391" y="1054330"/>
                    <a:pt x="9078249" y="1136392"/>
                    <a:pt x="9139659" y="1195965"/>
                  </a:cubicBezTo>
                  <a:cubicBezTo>
                    <a:pt x="9204563" y="1256925"/>
                    <a:pt x="9299113" y="1291865"/>
                    <a:pt x="9399010" y="1291865"/>
                  </a:cubicBezTo>
                  <a:cubicBezTo>
                    <a:pt x="9499701" y="1291865"/>
                    <a:pt x="9591763" y="1258529"/>
                    <a:pt x="9658150" y="1197945"/>
                  </a:cubicBezTo>
                  <a:moveTo>
                    <a:pt x="10385594" y="653307"/>
                  </a:moveTo>
                  <a:lnTo>
                    <a:pt x="10567335" y="653307"/>
                  </a:lnTo>
                  <a:lnTo>
                    <a:pt x="10566383" y="632041"/>
                  </a:lnTo>
                  <a:cubicBezTo>
                    <a:pt x="10558442" y="459099"/>
                    <a:pt x="10442768" y="359885"/>
                    <a:pt x="10249009" y="359885"/>
                  </a:cubicBezTo>
                  <a:cubicBezTo>
                    <a:pt x="10058003" y="359885"/>
                    <a:pt x="9929730" y="467434"/>
                    <a:pt x="9929730" y="627446"/>
                  </a:cubicBezTo>
                  <a:cubicBezTo>
                    <a:pt x="9929730" y="765666"/>
                    <a:pt x="10016922" y="850825"/>
                    <a:pt x="10212587" y="903611"/>
                  </a:cubicBezTo>
                  <a:cubicBezTo>
                    <a:pt x="10347689" y="937858"/>
                    <a:pt x="10391099" y="968955"/>
                    <a:pt x="10391099" y="1031625"/>
                  </a:cubicBezTo>
                  <a:cubicBezTo>
                    <a:pt x="10391099" y="1095576"/>
                    <a:pt x="10336730" y="1136874"/>
                    <a:pt x="10252715" y="1136874"/>
                  </a:cubicBezTo>
                  <a:cubicBezTo>
                    <a:pt x="10155517" y="1136874"/>
                    <a:pt x="10102102" y="1093384"/>
                    <a:pt x="10093843" y="1007579"/>
                  </a:cubicBezTo>
                  <a:lnTo>
                    <a:pt x="10092096" y="989257"/>
                  </a:lnTo>
                  <a:lnTo>
                    <a:pt x="9913054" y="989257"/>
                  </a:lnTo>
                  <a:lnTo>
                    <a:pt x="9915066" y="1011216"/>
                  </a:lnTo>
                  <a:cubicBezTo>
                    <a:pt x="9930789" y="1194843"/>
                    <a:pt x="10047626" y="1291865"/>
                    <a:pt x="10252715" y="1291865"/>
                  </a:cubicBezTo>
                  <a:cubicBezTo>
                    <a:pt x="10445839" y="1291865"/>
                    <a:pt x="10575647" y="1184371"/>
                    <a:pt x="10575647" y="1024303"/>
                  </a:cubicBezTo>
                  <a:cubicBezTo>
                    <a:pt x="10575647" y="956667"/>
                    <a:pt x="10548542" y="890948"/>
                    <a:pt x="10501426" y="843879"/>
                  </a:cubicBezTo>
                  <a:cubicBezTo>
                    <a:pt x="10457485" y="799913"/>
                    <a:pt x="10397028" y="770955"/>
                    <a:pt x="10285750" y="740769"/>
                  </a:cubicBezTo>
                  <a:cubicBezTo>
                    <a:pt x="10125660" y="696474"/>
                    <a:pt x="10110519" y="671471"/>
                    <a:pt x="10110519" y="616440"/>
                  </a:cubicBezTo>
                  <a:cubicBezTo>
                    <a:pt x="10110519" y="553823"/>
                    <a:pt x="10161447" y="514877"/>
                    <a:pt x="10243398" y="514877"/>
                  </a:cubicBezTo>
                  <a:cubicBezTo>
                    <a:pt x="10329795" y="514877"/>
                    <a:pt x="10385594" y="557672"/>
                    <a:pt x="10385594" y="623762"/>
                  </a:cubicBezTo>
                  <a:lnTo>
                    <a:pt x="10385594" y="653307"/>
                  </a:ln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9EC81B7C-EF5D-4BC6-0AEA-11CC43760730}"/>
              </a:ext>
            </a:extLst>
          </p:cNvPr>
          <p:cNvGrpSpPr/>
          <p:nvPr userDrawn="1"/>
        </p:nvGrpSpPr>
        <p:grpSpPr>
          <a:xfrm rot="5400000">
            <a:off x="-3617983" y="3323777"/>
            <a:ext cx="6854690" cy="213756"/>
            <a:chOff x="-1" y="-286346"/>
            <a:chExt cx="5820565" cy="181508"/>
          </a:xfrm>
        </p:grpSpPr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D0956DE3-6D18-81AE-3163-68844979821C}"/>
                </a:ext>
              </a:extLst>
            </p:cNvPr>
            <p:cNvGrpSpPr/>
            <p:nvPr userDrawn="1"/>
          </p:nvGrpSpPr>
          <p:grpSpPr>
            <a:xfrm rot="16200000">
              <a:off x="363007" y="-649354"/>
              <a:ext cx="181503" cy="907520"/>
              <a:chOff x="1319213" y="-1663170"/>
              <a:chExt cx="181503" cy="907520"/>
            </a:xfrm>
          </p:grpSpPr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C54F73CC-E2CA-4457-3FB7-2BF4828F3A9F}"/>
                  </a:ext>
                </a:extLst>
              </p:cNvPr>
              <p:cNvSpPr/>
              <p:nvPr/>
            </p:nvSpPr>
            <p:spPr>
              <a:xfrm>
                <a:off x="1319213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44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0F53B45A-D939-EF57-F377-6D648ECD3AB1}"/>
                  </a:ext>
                </a:extLst>
              </p:cNvPr>
              <p:cNvSpPr/>
              <p:nvPr/>
            </p:nvSpPr>
            <p:spPr>
              <a:xfrm>
                <a:off x="1319213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69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B23366B5-3C20-CF6A-3C50-ED108C4FA7A2}"/>
                  </a:ext>
                </a:extLst>
              </p:cNvPr>
              <p:cNvSpPr/>
              <p:nvPr/>
            </p:nvSpPr>
            <p:spPr>
              <a:xfrm>
                <a:off x="1319213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FE8F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5F45DC08-4D01-7D17-30E4-1DB98CD18CD0}"/>
                  </a:ext>
                </a:extLst>
              </p:cNvPr>
              <p:cNvSpPr/>
              <p:nvPr/>
            </p:nvSpPr>
            <p:spPr>
              <a:xfrm>
                <a:off x="1319213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B4B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DD9ACDD3-9BFE-D606-5F7F-7FDEE36664BD}"/>
                  </a:ext>
                </a:extLst>
              </p:cNvPr>
              <p:cNvSpPr/>
              <p:nvPr/>
            </p:nvSpPr>
            <p:spPr>
              <a:xfrm>
                <a:off x="1319213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D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77F43E63-695E-5301-8E6F-5FE631CA1BA7}"/>
                </a:ext>
              </a:extLst>
            </p:cNvPr>
            <p:cNvGrpSpPr/>
            <p:nvPr userDrawn="1"/>
          </p:nvGrpSpPr>
          <p:grpSpPr>
            <a:xfrm rot="16200000">
              <a:off x="1345616" y="-649354"/>
              <a:ext cx="181503" cy="907520"/>
              <a:chOff x="1319213" y="-664912"/>
              <a:chExt cx="181503" cy="907520"/>
            </a:xfrm>
          </p:grpSpPr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FD4EAAA5-DBEE-E3E9-788C-F5BD7C0A13FA}"/>
                  </a:ext>
                </a:extLst>
              </p:cNvPr>
              <p:cNvSpPr/>
              <p:nvPr/>
            </p:nvSpPr>
            <p:spPr>
              <a:xfrm>
                <a:off x="1319213" y="-66491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6400A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66065ABD-00E7-7D90-503C-90E361AC2059}"/>
                  </a:ext>
                </a:extLst>
              </p:cNvPr>
              <p:cNvSpPr/>
              <p:nvPr/>
            </p:nvSpPr>
            <p:spPr>
              <a:xfrm>
                <a:off x="1319213" y="-483404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33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C81639FD-5405-9E87-020F-E2245B6F613A}"/>
                  </a:ext>
                </a:extLst>
              </p:cNvPr>
              <p:cNvSpPr/>
              <p:nvPr/>
            </p:nvSpPr>
            <p:spPr>
              <a:xfrm>
                <a:off x="1319213" y="-30189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266C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9062746B-DCE4-8DD4-97D3-D3BA62596585}"/>
                  </a:ext>
                </a:extLst>
              </p:cNvPr>
              <p:cNvSpPr/>
              <p:nvPr/>
            </p:nvSpPr>
            <p:spPr>
              <a:xfrm>
                <a:off x="1319213" y="-120387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199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3C5CFEE3-971B-8414-DC6F-88C92B86CAA3}"/>
                  </a:ext>
                </a:extLst>
              </p:cNvPr>
              <p:cNvSpPr/>
              <p:nvPr/>
            </p:nvSpPr>
            <p:spPr>
              <a:xfrm>
                <a:off x="1319213" y="6110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0CC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2DB94D59-4926-276E-CCD0-A0C21A5199BA}"/>
                </a:ext>
              </a:extLst>
            </p:cNvPr>
            <p:cNvGrpSpPr/>
            <p:nvPr userDrawn="1"/>
          </p:nvGrpSpPr>
          <p:grpSpPr>
            <a:xfrm rot="16200000">
              <a:off x="2328223" y="-649352"/>
              <a:ext cx="181508" cy="907520"/>
              <a:chOff x="1682219" y="-1663170"/>
              <a:chExt cx="181508" cy="907520"/>
            </a:xfrm>
          </p:grpSpPr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FA031655-6C88-2EAC-64AE-81BBC8DDC781}"/>
                  </a:ext>
                </a:extLst>
              </p:cNvPr>
              <p:cNvSpPr/>
              <p:nvPr/>
            </p:nvSpPr>
            <p:spPr>
              <a:xfrm>
                <a:off x="1682219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CC8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563B57D9-6A94-D154-6797-B06722A1AF70}"/>
                  </a:ext>
                </a:extLst>
              </p:cNvPr>
              <p:cNvSpPr/>
              <p:nvPr/>
            </p:nvSpPr>
            <p:spPr>
              <a:xfrm>
                <a:off x="1682224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3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6F118C2F-3A7F-992E-9506-C15C08D6292A}"/>
                  </a:ext>
                </a:extLst>
              </p:cNvPr>
              <p:cNvSpPr/>
              <p:nvPr/>
            </p:nvSpPr>
            <p:spPr>
              <a:xfrm>
                <a:off x="1682224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ADE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6DF50032-8BFB-8809-5A89-09AB520D8BA0}"/>
                  </a:ext>
                </a:extLst>
              </p:cNvPr>
              <p:cNvSpPr/>
              <p:nvPr/>
            </p:nvSpPr>
            <p:spPr>
              <a:xfrm>
                <a:off x="1682224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E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0206DEAC-639E-DC5D-D06B-9847D0E857C5}"/>
                  </a:ext>
                </a:extLst>
              </p:cNvPr>
              <p:cNvSpPr/>
              <p:nvPr/>
            </p:nvSpPr>
            <p:spPr>
              <a:xfrm>
                <a:off x="1682219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8F4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F9EE667A-F189-CEAF-2479-388DA97E4AF2}"/>
                </a:ext>
              </a:extLst>
            </p:cNvPr>
            <p:cNvGrpSpPr/>
            <p:nvPr userDrawn="1"/>
          </p:nvGrpSpPr>
          <p:grpSpPr>
            <a:xfrm rot="16200000">
              <a:off x="5276052" y="-649354"/>
              <a:ext cx="181503" cy="907520"/>
              <a:chOff x="2226738" y="-1663170"/>
              <a:chExt cx="181503" cy="907520"/>
            </a:xfrm>
          </p:grpSpPr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BD4C5D9A-1D30-CB96-D8F3-6FC423B98A20}"/>
                  </a:ext>
                </a:extLst>
              </p:cNvPr>
              <p:cNvSpPr/>
              <p:nvPr/>
            </p:nvSpPr>
            <p:spPr>
              <a:xfrm>
                <a:off x="2226738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5A911156-545F-270D-4831-8C026877520A}"/>
                  </a:ext>
                </a:extLst>
              </p:cNvPr>
              <p:cNvSpPr/>
              <p:nvPr/>
            </p:nvSpPr>
            <p:spPr>
              <a:xfrm>
                <a:off x="2226738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5757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05D7D546-D8A8-F212-8C4E-9620FDEA1ED5}"/>
                  </a:ext>
                </a:extLst>
              </p:cNvPr>
              <p:cNvSpPr/>
              <p:nvPr/>
            </p:nvSpPr>
            <p:spPr>
              <a:xfrm>
                <a:off x="2226738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8787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E38807F3-089F-0050-9676-B7C3073BBB24}"/>
                  </a:ext>
                </a:extLst>
              </p:cNvPr>
              <p:cNvSpPr/>
              <p:nvPr/>
            </p:nvSpPr>
            <p:spPr>
              <a:xfrm>
                <a:off x="2226738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2B2B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D1C9EA66-73A4-C2DB-9F8A-1263D160C22C}"/>
                  </a:ext>
                </a:extLst>
              </p:cNvPr>
              <p:cNvSpPr/>
              <p:nvPr/>
            </p:nvSpPr>
            <p:spPr>
              <a:xfrm>
                <a:off x="2226738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DA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B97E2920-FFB8-307D-979B-488B43616229}"/>
                </a:ext>
              </a:extLst>
            </p:cNvPr>
            <p:cNvGrpSpPr/>
            <p:nvPr userDrawn="1"/>
          </p:nvGrpSpPr>
          <p:grpSpPr>
            <a:xfrm rot="16200000">
              <a:off x="3310834" y="-649354"/>
              <a:ext cx="181503" cy="907520"/>
              <a:chOff x="1863727" y="-1663170"/>
              <a:chExt cx="181503" cy="907520"/>
            </a:xfrm>
          </p:grpSpPr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2E8ACA9C-CA83-E9A4-5FFE-E922D358A94F}"/>
                  </a:ext>
                </a:extLst>
              </p:cNvPr>
              <p:cNvSpPr/>
              <p:nvPr/>
            </p:nvSpPr>
            <p:spPr>
              <a:xfrm>
                <a:off x="1863727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2A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CB229956-DF4C-B3C9-9EB0-475B54BD1057}"/>
                  </a:ext>
                </a:extLst>
              </p:cNvPr>
              <p:cNvSpPr/>
              <p:nvPr/>
            </p:nvSpPr>
            <p:spPr>
              <a:xfrm>
                <a:off x="1863727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5DB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C9D3A8CF-9870-75BD-84D6-683B0BEC200E}"/>
                  </a:ext>
                </a:extLst>
              </p:cNvPr>
              <p:cNvSpPr/>
              <p:nvPr/>
            </p:nvSpPr>
            <p:spPr>
              <a:xfrm>
                <a:off x="1863727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8E4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D512801E-3026-108A-C86B-14A931BDC664}"/>
                  </a:ext>
                </a:extLst>
              </p:cNvPr>
              <p:cNvSpPr/>
              <p:nvPr/>
            </p:nvSpPr>
            <p:spPr>
              <a:xfrm>
                <a:off x="1863727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ED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28EEE004-38D2-38D1-A162-1C2E6A8FF63F}"/>
                  </a:ext>
                </a:extLst>
              </p:cNvPr>
              <p:cNvSpPr/>
              <p:nvPr/>
            </p:nvSpPr>
            <p:spPr>
              <a:xfrm>
                <a:off x="1863727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DF6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4B7728A8-B144-3EA3-7ADB-40AF3CEE0CB4}"/>
                </a:ext>
              </a:extLst>
            </p:cNvPr>
            <p:cNvGrpSpPr/>
            <p:nvPr userDrawn="1"/>
          </p:nvGrpSpPr>
          <p:grpSpPr>
            <a:xfrm rot="16200000">
              <a:off x="4293441" y="-649352"/>
              <a:ext cx="181508" cy="907520"/>
              <a:chOff x="2045230" y="-1663170"/>
              <a:chExt cx="181508" cy="907520"/>
            </a:xfrm>
          </p:grpSpPr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AF1D6FF3-8FC1-F220-C513-0B589D3ECAB1}"/>
                  </a:ext>
                </a:extLst>
              </p:cNvPr>
              <p:cNvSpPr/>
              <p:nvPr/>
            </p:nvSpPr>
            <p:spPr>
              <a:xfrm>
                <a:off x="2045230" y="-937158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9F7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E127A5CD-7B13-B2CA-9082-2A9CE050A2B7}"/>
                  </a:ext>
                </a:extLst>
              </p:cNvPr>
              <p:cNvSpPr/>
              <p:nvPr/>
            </p:nvSpPr>
            <p:spPr>
              <a:xfrm>
                <a:off x="2045230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FED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A58D6D31-B442-224E-AC12-09AC843E4928}"/>
                  </a:ext>
                </a:extLst>
              </p:cNvPr>
              <p:cNvSpPr/>
              <p:nvPr/>
            </p:nvSpPr>
            <p:spPr>
              <a:xfrm>
                <a:off x="2045230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5E3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EC181173-F317-B2E1-DEFD-249E994008A1}"/>
                  </a:ext>
                </a:extLst>
              </p:cNvPr>
              <p:cNvSpPr/>
              <p:nvPr/>
            </p:nvSpPr>
            <p:spPr>
              <a:xfrm>
                <a:off x="2045230" y="-1663170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CFC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E9404851-DFDD-F8B3-569F-E543902A1D0E}"/>
                  </a:ext>
                </a:extLst>
              </p:cNvPr>
              <p:cNvSpPr/>
              <p:nvPr/>
            </p:nvSpPr>
            <p:spPr>
              <a:xfrm>
                <a:off x="2045230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BD9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0252710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10729649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85B802-91F6-F7EE-88EA-BB582C3AFC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0AFC21E-DC79-E3F6-7350-B246755631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E9401D-45E8-B222-F47C-5E7A8F95D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A8DE31C-7809-9533-308F-EAE4CB4DC0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6" name="Textplatzhalter 9">
            <a:extLst>
              <a:ext uri="{FF2B5EF4-FFF2-40B4-BE49-F238E27FC236}">
                <a16:creationId xmlns:a16="http://schemas.microsoft.com/office/drawing/2014/main" id="{6A44BC99-53AB-7DEF-9492-07E284FFDA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2C1AEA3D-6AA0-7030-7E96-1774190C89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8813" y="1700213"/>
            <a:ext cx="10874375" cy="4654305"/>
          </a:xfrm>
        </p:spPr>
        <p:txBody>
          <a:bodyPr/>
          <a:lstStyle/>
          <a:p>
            <a:pPr lvl="0"/>
            <a:r>
              <a:rPr lang="en-GB" noProof="0"/>
              <a:t>Level 1 (</a:t>
            </a:r>
            <a:r>
              <a:rPr lang="en-GB" noProof="0" err="1"/>
              <a:t>Subheadline</a:t>
            </a:r>
            <a:r>
              <a:rPr lang="en-GB" noProof="0"/>
              <a:t>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</p:spTree>
    <p:extLst>
      <p:ext uri="{BB962C8B-B14F-4D97-AF65-F5344CB8AC3E}">
        <p14:creationId xmlns:p14="http://schemas.microsoft.com/office/powerpoint/2010/main" val="35306945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85B802-91F6-F7EE-88EA-BB582C3AFC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0AFC21E-DC79-E3F6-7350-B246755631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E9401D-45E8-B222-F47C-5E7A8F95D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A8DE31C-7809-9533-308F-EAE4CB4DC0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6" name="Textplatzhalter 9">
            <a:extLst>
              <a:ext uri="{FF2B5EF4-FFF2-40B4-BE49-F238E27FC236}">
                <a16:creationId xmlns:a16="http://schemas.microsoft.com/office/drawing/2014/main" id="{6A44BC99-53AB-7DEF-9492-07E284FFDA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</p:spTree>
    <p:extLst>
      <p:ext uri="{BB962C8B-B14F-4D97-AF65-F5344CB8AC3E}">
        <p14:creationId xmlns:p14="http://schemas.microsoft.com/office/powerpoint/2010/main" val="39043299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left (red)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2" y="843892"/>
            <a:ext cx="10874373" cy="5512458"/>
          </a:xfrm>
        </p:spPr>
        <p:txBody>
          <a:bodyPr/>
          <a:lstStyle>
            <a:lvl1pPr>
              <a:lnSpc>
                <a:spcPct val="95000"/>
              </a:lnSpc>
              <a:spcAft>
                <a:spcPts val="2400"/>
              </a:spcAft>
              <a:defRPr sz="40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en-GB" noProof="0"/>
              <a:t>Level 1 (Big Text)</a:t>
            </a:r>
          </a:p>
          <a:p>
            <a:pPr lvl="1"/>
            <a:r>
              <a:rPr lang="en-GB" noProof="0"/>
              <a:t>Level 2 (Subline or Source)</a:t>
            </a:r>
          </a:p>
          <a:p>
            <a:pPr lvl="2"/>
            <a:r>
              <a:rPr lang="en-GB" noProof="0"/>
              <a:t>Level 3 (Copy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D2303871-EAD0-3D02-93E1-2BB4961AD03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415668" y="503483"/>
            <a:ext cx="1289916" cy="180000"/>
            <a:chOff x="-161925" y="-1630732"/>
            <a:chExt cx="12193587" cy="1701544"/>
          </a:xfrm>
          <a:solidFill>
            <a:schemeClr val="bg1"/>
          </a:solidFill>
        </p:grpSpPr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2890BDD6-49F5-777B-32A0-19CC3C6CAACC}"/>
                </a:ext>
              </a:extLst>
            </p:cNvPr>
            <p:cNvSpPr/>
            <p:nvPr/>
          </p:nvSpPr>
          <p:spPr>
            <a:xfrm>
              <a:off x="10774928" y="-1247713"/>
              <a:ext cx="1256734" cy="356304"/>
            </a:xfrm>
            <a:custGeom>
              <a:avLst/>
              <a:gdLst>
                <a:gd name="connsiteX0" fmla="*/ 1226823 w 1256734"/>
                <a:gd name="connsiteY0" fmla="*/ 269166 h 356304"/>
                <a:gd name="connsiteX1" fmla="*/ 1133491 w 1256734"/>
                <a:gd name="connsiteY1" fmla="*/ 316610 h 356304"/>
                <a:gd name="connsiteX2" fmla="*/ 1010248 w 1256734"/>
                <a:gd name="connsiteY2" fmla="*/ 178448 h 356304"/>
                <a:gd name="connsiteX3" fmla="*/ 1131426 w 1256734"/>
                <a:gd name="connsiteY3" fmla="*/ 39696 h 356304"/>
                <a:gd name="connsiteX4" fmla="*/ 1226823 w 1256734"/>
                <a:gd name="connsiteY4" fmla="*/ 86659 h 356304"/>
                <a:gd name="connsiteX5" fmla="*/ 1256735 w 1256734"/>
                <a:gd name="connsiteY5" fmla="*/ 58823 h 356304"/>
                <a:gd name="connsiteX6" fmla="*/ 1216553 w 1256734"/>
                <a:gd name="connsiteY6" fmla="*/ 23241 h 356304"/>
                <a:gd name="connsiteX7" fmla="*/ 1130420 w 1256734"/>
                <a:gd name="connsiteY7" fmla="*/ 0 h 356304"/>
                <a:gd name="connsiteX8" fmla="*/ 965885 w 1256734"/>
                <a:gd name="connsiteY8" fmla="*/ 178448 h 356304"/>
                <a:gd name="connsiteX9" fmla="*/ 1011783 w 1256734"/>
                <a:gd name="connsiteY9" fmla="*/ 305763 h 356304"/>
                <a:gd name="connsiteX10" fmla="*/ 1129892 w 1256734"/>
                <a:gd name="connsiteY10" fmla="*/ 356305 h 356304"/>
                <a:gd name="connsiteX11" fmla="*/ 1255676 w 1256734"/>
                <a:gd name="connsiteY11" fmla="*/ 298071 h 356304"/>
                <a:gd name="connsiteX12" fmla="*/ 1226823 w 1256734"/>
                <a:gd name="connsiteY12" fmla="*/ 269166 h 356304"/>
                <a:gd name="connsiteX13" fmla="*/ 679216 w 1256734"/>
                <a:gd name="connsiteY13" fmla="*/ 197999 h 356304"/>
                <a:gd name="connsiteX14" fmla="*/ 846824 w 1256734"/>
                <a:gd name="connsiteY14" fmla="*/ 197999 h 356304"/>
                <a:gd name="connsiteX15" fmla="*/ 846824 w 1256734"/>
                <a:gd name="connsiteY15" fmla="*/ 350105 h 356304"/>
                <a:gd name="connsiteX16" fmla="*/ 890075 w 1256734"/>
                <a:gd name="connsiteY16" fmla="*/ 350105 h 356304"/>
                <a:gd name="connsiteX17" fmla="*/ 890075 w 1256734"/>
                <a:gd name="connsiteY17" fmla="*/ 6198 h 356304"/>
                <a:gd name="connsiteX18" fmla="*/ 846824 w 1256734"/>
                <a:gd name="connsiteY18" fmla="*/ 6198 h 356304"/>
                <a:gd name="connsiteX19" fmla="*/ 846824 w 1256734"/>
                <a:gd name="connsiteY19" fmla="*/ 160920 h 356304"/>
                <a:gd name="connsiteX20" fmla="*/ 679216 w 1256734"/>
                <a:gd name="connsiteY20" fmla="*/ 160920 h 356304"/>
                <a:gd name="connsiteX21" fmla="*/ 679216 w 1256734"/>
                <a:gd name="connsiteY21" fmla="*/ 6198 h 356304"/>
                <a:gd name="connsiteX22" fmla="*/ 635912 w 1256734"/>
                <a:gd name="connsiteY22" fmla="*/ 6198 h 356304"/>
                <a:gd name="connsiteX23" fmla="*/ 635912 w 1256734"/>
                <a:gd name="connsiteY23" fmla="*/ 350105 h 356304"/>
                <a:gd name="connsiteX24" fmla="*/ 679216 w 1256734"/>
                <a:gd name="connsiteY24" fmla="*/ 350105 h 356304"/>
                <a:gd name="connsiteX25" fmla="*/ 679216 w 1256734"/>
                <a:gd name="connsiteY25" fmla="*/ 197999 h 356304"/>
                <a:gd name="connsiteX26" fmla="*/ 392018 w 1256734"/>
                <a:gd name="connsiteY26" fmla="*/ 40230 h 356304"/>
                <a:gd name="connsiteX27" fmla="*/ 476563 w 1256734"/>
                <a:gd name="connsiteY27" fmla="*/ 75813 h 356304"/>
                <a:gd name="connsiteX28" fmla="*/ 515792 w 1256734"/>
                <a:gd name="connsiteY28" fmla="*/ 181011 h 356304"/>
                <a:gd name="connsiteX29" fmla="*/ 482758 w 1256734"/>
                <a:gd name="connsiteY29" fmla="*/ 275365 h 356304"/>
                <a:gd name="connsiteX30" fmla="*/ 390960 w 1256734"/>
                <a:gd name="connsiteY30" fmla="*/ 316610 h 356304"/>
                <a:gd name="connsiteX31" fmla="*/ 267239 w 1256734"/>
                <a:gd name="connsiteY31" fmla="*/ 178448 h 356304"/>
                <a:gd name="connsiteX32" fmla="*/ 392018 w 1256734"/>
                <a:gd name="connsiteY32" fmla="*/ 40230 h 356304"/>
                <a:gd name="connsiteX33" fmla="*/ 393077 w 1256734"/>
                <a:gd name="connsiteY33" fmla="*/ 0 h 356304"/>
                <a:gd name="connsiteX34" fmla="*/ 222876 w 1256734"/>
                <a:gd name="connsiteY34" fmla="*/ 179994 h 356304"/>
                <a:gd name="connsiteX35" fmla="*/ 258982 w 1256734"/>
                <a:gd name="connsiteY35" fmla="*/ 291872 h 356304"/>
                <a:gd name="connsiteX36" fmla="*/ 392018 w 1256734"/>
                <a:gd name="connsiteY36" fmla="*/ 356305 h 356304"/>
                <a:gd name="connsiteX37" fmla="*/ 501868 w 1256734"/>
                <a:gd name="connsiteY37" fmla="*/ 315059 h 356304"/>
                <a:gd name="connsiteX38" fmla="*/ 560155 w 1256734"/>
                <a:gd name="connsiteY38" fmla="*/ 181545 h 356304"/>
                <a:gd name="connsiteX39" fmla="*/ 519921 w 1256734"/>
                <a:gd name="connsiteY39" fmla="*/ 59304 h 356304"/>
                <a:gd name="connsiteX40" fmla="*/ 393077 w 1256734"/>
                <a:gd name="connsiteY40" fmla="*/ 0 h 356304"/>
                <a:gd name="connsiteX41" fmla="*/ 43306 w 1256734"/>
                <a:gd name="connsiteY41" fmla="*/ 310946 h 356304"/>
                <a:gd name="connsiteX42" fmla="*/ 43306 w 1256734"/>
                <a:gd name="connsiteY42" fmla="*/ 6198 h 356304"/>
                <a:gd name="connsiteX43" fmla="*/ 0 w 1256734"/>
                <a:gd name="connsiteY43" fmla="*/ 6198 h 356304"/>
                <a:gd name="connsiteX44" fmla="*/ 0 w 1256734"/>
                <a:gd name="connsiteY44" fmla="*/ 350105 h 356304"/>
                <a:gd name="connsiteX45" fmla="*/ 194237 w 1256734"/>
                <a:gd name="connsiteY45" fmla="*/ 350105 h 356304"/>
                <a:gd name="connsiteX46" fmla="*/ 194237 w 1256734"/>
                <a:gd name="connsiteY46" fmla="*/ 310946 h 356304"/>
                <a:gd name="connsiteX47" fmla="*/ 43306 w 1256734"/>
                <a:gd name="connsiteY47" fmla="*/ 310946 h 35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256734" h="356304">
                  <a:moveTo>
                    <a:pt x="1226823" y="269166"/>
                  </a:moveTo>
                  <a:cubicBezTo>
                    <a:pt x="1200037" y="301650"/>
                    <a:pt x="1171131" y="316610"/>
                    <a:pt x="1133491" y="316610"/>
                  </a:cubicBezTo>
                  <a:cubicBezTo>
                    <a:pt x="1062341" y="316610"/>
                    <a:pt x="1010248" y="258371"/>
                    <a:pt x="1010248" y="178448"/>
                  </a:cubicBezTo>
                  <a:cubicBezTo>
                    <a:pt x="1010248" y="97985"/>
                    <a:pt x="1061334" y="39696"/>
                    <a:pt x="1131426" y="39696"/>
                  </a:cubicBezTo>
                  <a:cubicBezTo>
                    <a:pt x="1168008" y="39696"/>
                    <a:pt x="1193313" y="52092"/>
                    <a:pt x="1226823" y="86659"/>
                  </a:cubicBezTo>
                  <a:lnTo>
                    <a:pt x="1256735" y="58823"/>
                  </a:lnTo>
                  <a:cubicBezTo>
                    <a:pt x="1239742" y="40230"/>
                    <a:pt x="1230424" y="32003"/>
                    <a:pt x="1216553" y="23241"/>
                  </a:cubicBezTo>
                  <a:cubicBezTo>
                    <a:pt x="1191725" y="8281"/>
                    <a:pt x="1161338" y="0"/>
                    <a:pt x="1130420" y="0"/>
                  </a:cubicBezTo>
                  <a:cubicBezTo>
                    <a:pt x="1035500" y="0"/>
                    <a:pt x="965885" y="75279"/>
                    <a:pt x="965885" y="178448"/>
                  </a:cubicBezTo>
                  <a:cubicBezTo>
                    <a:pt x="965885" y="226369"/>
                    <a:pt x="982931" y="273279"/>
                    <a:pt x="1011783" y="305763"/>
                  </a:cubicBezTo>
                  <a:cubicBezTo>
                    <a:pt x="1041165" y="338782"/>
                    <a:pt x="1081928" y="356305"/>
                    <a:pt x="1129892" y="356305"/>
                  </a:cubicBezTo>
                  <a:cubicBezTo>
                    <a:pt x="1182990" y="356305"/>
                    <a:pt x="1221107" y="338782"/>
                    <a:pt x="1255676" y="298071"/>
                  </a:cubicBezTo>
                  <a:lnTo>
                    <a:pt x="1226823" y="269166"/>
                  </a:lnTo>
                  <a:close/>
                  <a:moveTo>
                    <a:pt x="679216" y="197999"/>
                  </a:moveTo>
                  <a:lnTo>
                    <a:pt x="846824" y="197999"/>
                  </a:lnTo>
                  <a:lnTo>
                    <a:pt x="846824" y="350105"/>
                  </a:lnTo>
                  <a:lnTo>
                    <a:pt x="890075" y="350105"/>
                  </a:lnTo>
                  <a:lnTo>
                    <a:pt x="890075" y="6198"/>
                  </a:lnTo>
                  <a:lnTo>
                    <a:pt x="846824" y="6198"/>
                  </a:lnTo>
                  <a:lnTo>
                    <a:pt x="846824" y="160920"/>
                  </a:lnTo>
                  <a:lnTo>
                    <a:pt x="679216" y="160920"/>
                  </a:lnTo>
                  <a:lnTo>
                    <a:pt x="679216" y="6198"/>
                  </a:lnTo>
                  <a:lnTo>
                    <a:pt x="635912" y="6198"/>
                  </a:lnTo>
                  <a:lnTo>
                    <a:pt x="635912" y="350105"/>
                  </a:lnTo>
                  <a:lnTo>
                    <a:pt x="679216" y="350105"/>
                  </a:lnTo>
                  <a:lnTo>
                    <a:pt x="679216" y="197999"/>
                  </a:lnTo>
                  <a:close/>
                  <a:moveTo>
                    <a:pt x="392018" y="40230"/>
                  </a:moveTo>
                  <a:cubicBezTo>
                    <a:pt x="422459" y="40230"/>
                    <a:pt x="453904" y="53641"/>
                    <a:pt x="476563" y="75813"/>
                  </a:cubicBezTo>
                  <a:cubicBezTo>
                    <a:pt x="503404" y="101618"/>
                    <a:pt x="515792" y="135117"/>
                    <a:pt x="515792" y="181011"/>
                  </a:cubicBezTo>
                  <a:cubicBezTo>
                    <a:pt x="515792" y="216057"/>
                    <a:pt x="502874" y="253189"/>
                    <a:pt x="482758" y="275365"/>
                  </a:cubicBezTo>
                  <a:cubicBezTo>
                    <a:pt x="459569" y="301650"/>
                    <a:pt x="425530" y="316610"/>
                    <a:pt x="390960" y="316610"/>
                  </a:cubicBezTo>
                  <a:cubicBezTo>
                    <a:pt x="319809" y="316610"/>
                    <a:pt x="267239" y="258371"/>
                    <a:pt x="267239" y="178448"/>
                  </a:cubicBezTo>
                  <a:cubicBezTo>
                    <a:pt x="267239" y="99000"/>
                    <a:pt x="320338" y="40230"/>
                    <a:pt x="392018" y="40230"/>
                  </a:cubicBezTo>
                  <a:moveTo>
                    <a:pt x="393077" y="0"/>
                  </a:moveTo>
                  <a:cubicBezTo>
                    <a:pt x="295615" y="0"/>
                    <a:pt x="222876" y="77362"/>
                    <a:pt x="222876" y="179994"/>
                  </a:cubicBezTo>
                  <a:cubicBezTo>
                    <a:pt x="222876" y="223273"/>
                    <a:pt x="235318" y="261956"/>
                    <a:pt x="258982" y="291872"/>
                  </a:cubicBezTo>
                  <a:cubicBezTo>
                    <a:pt x="290957" y="332101"/>
                    <a:pt x="340985" y="356305"/>
                    <a:pt x="392018" y="356305"/>
                  </a:cubicBezTo>
                  <a:cubicBezTo>
                    <a:pt x="431723" y="356305"/>
                    <a:pt x="470899" y="341879"/>
                    <a:pt x="501868" y="315059"/>
                  </a:cubicBezTo>
                  <a:cubicBezTo>
                    <a:pt x="539509" y="283110"/>
                    <a:pt x="560155" y="235131"/>
                    <a:pt x="560155" y="181545"/>
                  </a:cubicBezTo>
                  <a:cubicBezTo>
                    <a:pt x="560155" y="129935"/>
                    <a:pt x="547715" y="91788"/>
                    <a:pt x="519921" y="59304"/>
                  </a:cubicBezTo>
                  <a:cubicBezTo>
                    <a:pt x="486886" y="21691"/>
                    <a:pt x="440988" y="0"/>
                    <a:pt x="393077" y="0"/>
                  </a:cubicBezTo>
                  <a:moveTo>
                    <a:pt x="43306" y="310946"/>
                  </a:moveTo>
                  <a:lnTo>
                    <a:pt x="43306" y="6198"/>
                  </a:lnTo>
                  <a:lnTo>
                    <a:pt x="0" y="6198"/>
                  </a:lnTo>
                  <a:lnTo>
                    <a:pt x="0" y="350105"/>
                  </a:lnTo>
                  <a:lnTo>
                    <a:pt x="194237" y="350105"/>
                  </a:lnTo>
                  <a:lnTo>
                    <a:pt x="194237" y="310946"/>
                  </a:lnTo>
                  <a:lnTo>
                    <a:pt x="43306" y="310946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21368F22-3748-394D-302D-AF0A7D69E1AF}"/>
                </a:ext>
              </a:extLst>
            </p:cNvPr>
            <p:cNvSpPr/>
            <p:nvPr/>
          </p:nvSpPr>
          <p:spPr>
            <a:xfrm>
              <a:off x="-161925" y="-1630732"/>
              <a:ext cx="10575647" cy="1701544"/>
            </a:xfrm>
            <a:custGeom>
              <a:avLst/>
              <a:gdLst>
                <a:gd name="connsiteX0" fmla="*/ 7802033 w 10575647"/>
                <a:gd name="connsiteY0" fmla="*/ 380187 h 1701544"/>
                <a:gd name="connsiteX1" fmla="*/ 7621138 w 10575647"/>
                <a:gd name="connsiteY1" fmla="*/ 380187 h 1701544"/>
                <a:gd name="connsiteX2" fmla="*/ 7621138 w 10575647"/>
                <a:gd name="connsiteY2" fmla="*/ 1271563 h 1701544"/>
                <a:gd name="connsiteX3" fmla="*/ 7802033 w 10575647"/>
                <a:gd name="connsiteY3" fmla="*/ 1271563 h 1701544"/>
                <a:gd name="connsiteX4" fmla="*/ 7802033 w 10575647"/>
                <a:gd name="connsiteY4" fmla="*/ 380187 h 1701544"/>
                <a:gd name="connsiteX5" fmla="*/ 706522 w 10575647"/>
                <a:gd name="connsiteY5" fmla="*/ 1271563 h 1701544"/>
                <a:gd name="connsiteX6" fmla="*/ 902065 w 10575647"/>
                <a:gd name="connsiteY6" fmla="*/ 1271563 h 1701544"/>
                <a:gd name="connsiteX7" fmla="*/ 902065 w 10575647"/>
                <a:gd name="connsiteY7" fmla="*/ 0 h 1701544"/>
                <a:gd name="connsiteX8" fmla="*/ 706522 w 10575647"/>
                <a:gd name="connsiteY8" fmla="*/ 0 h 1701544"/>
                <a:gd name="connsiteX9" fmla="*/ 706522 w 10575647"/>
                <a:gd name="connsiteY9" fmla="*/ 553717 h 1701544"/>
                <a:gd name="connsiteX10" fmla="*/ 195543 w 10575647"/>
                <a:gd name="connsiteY10" fmla="*/ 553717 h 1701544"/>
                <a:gd name="connsiteX11" fmla="*/ 195543 w 10575647"/>
                <a:gd name="connsiteY11" fmla="*/ 0 h 1701544"/>
                <a:gd name="connsiteX12" fmla="*/ 0 w 10575647"/>
                <a:gd name="connsiteY12" fmla="*/ 0 h 1701544"/>
                <a:gd name="connsiteX13" fmla="*/ 0 w 10575647"/>
                <a:gd name="connsiteY13" fmla="*/ 1271563 h 1701544"/>
                <a:gd name="connsiteX14" fmla="*/ 195543 w 10575647"/>
                <a:gd name="connsiteY14" fmla="*/ 1271563 h 1701544"/>
                <a:gd name="connsiteX15" fmla="*/ 195543 w 10575647"/>
                <a:gd name="connsiteY15" fmla="*/ 727142 h 1701544"/>
                <a:gd name="connsiteX16" fmla="*/ 706522 w 10575647"/>
                <a:gd name="connsiteY16" fmla="*/ 727142 h 1701544"/>
                <a:gd name="connsiteX17" fmla="*/ 706522 w 10575647"/>
                <a:gd name="connsiteY17" fmla="*/ 1271563 h 1701544"/>
                <a:gd name="connsiteX18" fmla="*/ 1306185 w 10575647"/>
                <a:gd name="connsiteY18" fmla="*/ 1690649 h 1701544"/>
                <a:gd name="connsiteX19" fmla="*/ 1654904 w 10575647"/>
                <a:gd name="connsiteY19" fmla="*/ 1036061 h 1701544"/>
                <a:gd name="connsiteX20" fmla="*/ 1306185 w 10575647"/>
                <a:gd name="connsiteY20" fmla="*/ 381469 h 1701544"/>
                <a:gd name="connsiteX21" fmla="*/ 1090234 w 10575647"/>
                <a:gd name="connsiteY21" fmla="*/ 381469 h 1701544"/>
                <a:gd name="connsiteX22" fmla="*/ 1438900 w 10575647"/>
                <a:gd name="connsiteY22" fmla="*/ 1036061 h 1701544"/>
                <a:gd name="connsiteX23" fmla="*/ 1090234 w 10575647"/>
                <a:gd name="connsiteY23" fmla="*/ 1690649 h 1701544"/>
                <a:gd name="connsiteX24" fmla="*/ 1306185 w 10575647"/>
                <a:gd name="connsiteY24" fmla="*/ 1690649 h 1701544"/>
                <a:gd name="connsiteX25" fmla="*/ 2581808 w 10575647"/>
                <a:gd name="connsiteY25" fmla="*/ 828654 h 1701544"/>
                <a:gd name="connsiteX26" fmla="*/ 2317883 w 10575647"/>
                <a:gd name="connsiteY26" fmla="*/ 1129505 h 1701544"/>
                <a:gd name="connsiteX27" fmla="*/ 2065011 w 10575647"/>
                <a:gd name="connsiteY27" fmla="*/ 832338 h 1701544"/>
                <a:gd name="connsiteX28" fmla="*/ 2327068 w 10575647"/>
                <a:gd name="connsiteY28" fmla="*/ 525990 h 1701544"/>
                <a:gd name="connsiteX29" fmla="*/ 2581808 w 10575647"/>
                <a:gd name="connsiteY29" fmla="*/ 828654 h 1701544"/>
                <a:gd name="connsiteX30" fmla="*/ 2581808 w 10575647"/>
                <a:gd name="connsiteY30" fmla="*/ 1271563 h 1701544"/>
                <a:gd name="connsiteX31" fmla="*/ 2762608 w 10575647"/>
                <a:gd name="connsiteY31" fmla="*/ 1271563 h 1701544"/>
                <a:gd name="connsiteX32" fmla="*/ 2762608 w 10575647"/>
                <a:gd name="connsiteY32" fmla="*/ 0 h 1701544"/>
                <a:gd name="connsiteX33" fmla="*/ 2581808 w 10575647"/>
                <a:gd name="connsiteY33" fmla="*/ 0 h 1701544"/>
                <a:gd name="connsiteX34" fmla="*/ 2581808 w 10575647"/>
                <a:gd name="connsiteY34" fmla="*/ 476356 h 1701544"/>
                <a:gd name="connsiteX35" fmla="*/ 2297581 w 10575647"/>
                <a:gd name="connsiteY35" fmla="*/ 359885 h 1701544"/>
                <a:gd name="connsiteX36" fmla="*/ 1876785 w 10575647"/>
                <a:gd name="connsiteY36" fmla="*/ 830470 h 1701544"/>
                <a:gd name="connsiteX37" fmla="*/ 2297581 w 10575647"/>
                <a:gd name="connsiteY37" fmla="*/ 1291865 h 1701544"/>
                <a:gd name="connsiteX38" fmla="*/ 2581808 w 10575647"/>
                <a:gd name="connsiteY38" fmla="*/ 1163217 h 1701544"/>
                <a:gd name="connsiteX39" fmla="*/ 2581808 w 10575647"/>
                <a:gd name="connsiteY39" fmla="*/ 1271563 h 1701544"/>
                <a:gd name="connsiteX40" fmla="*/ 3437445 w 10575647"/>
                <a:gd name="connsiteY40" fmla="*/ 542393 h 1701544"/>
                <a:gd name="connsiteX41" fmla="*/ 3460310 w 10575647"/>
                <a:gd name="connsiteY41" fmla="*/ 545331 h 1701544"/>
                <a:gd name="connsiteX42" fmla="*/ 3460310 w 10575647"/>
                <a:gd name="connsiteY42" fmla="*/ 359885 h 1701544"/>
                <a:gd name="connsiteX43" fmla="*/ 3406830 w 10575647"/>
                <a:gd name="connsiteY43" fmla="*/ 359885 h 1701544"/>
                <a:gd name="connsiteX44" fmla="*/ 3231965 w 10575647"/>
                <a:gd name="connsiteY44" fmla="*/ 415877 h 1701544"/>
                <a:gd name="connsiteX45" fmla="*/ 3187194 w 10575647"/>
                <a:gd name="connsiteY45" fmla="*/ 462091 h 1701544"/>
                <a:gd name="connsiteX46" fmla="*/ 3187194 w 10575647"/>
                <a:gd name="connsiteY46" fmla="*/ 380187 h 1701544"/>
                <a:gd name="connsiteX47" fmla="*/ 3006395 w 10575647"/>
                <a:gd name="connsiteY47" fmla="*/ 380187 h 1701544"/>
                <a:gd name="connsiteX48" fmla="*/ 3006395 w 10575647"/>
                <a:gd name="connsiteY48" fmla="*/ 1271563 h 1701544"/>
                <a:gd name="connsiteX49" fmla="*/ 3187194 w 10575647"/>
                <a:gd name="connsiteY49" fmla="*/ 1271563 h 1701544"/>
                <a:gd name="connsiteX50" fmla="*/ 3187194 w 10575647"/>
                <a:gd name="connsiteY50" fmla="*/ 819411 h 1701544"/>
                <a:gd name="connsiteX51" fmla="*/ 3233517 w 10575647"/>
                <a:gd name="connsiteY51" fmla="*/ 629638 h 1701544"/>
                <a:gd name="connsiteX52" fmla="*/ 3401277 w 10575647"/>
                <a:gd name="connsiteY52" fmla="*/ 540683 h 1701544"/>
                <a:gd name="connsiteX53" fmla="*/ 3437445 w 10575647"/>
                <a:gd name="connsiteY53" fmla="*/ 542393 h 1701544"/>
                <a:gd name="connsiteX54" fmla="*/ 4250980 w 10575647"/>
                <a:gd name="connsiteY54" fmla="*/ 826838 h 1701544"/>
                <a:gd name="connsiteX55" fmla="*/ 3983364 w 10575647"/>
                <a:gd name="connsiteY55" fmla="*/ 1122077 h 1701544"/>
                <a:gd name="connsiteX56" fmla="*/ 3713875 w 10575647"/>
                <a:gd name="connsiteY56" fmla="*/ 826838 h 1701544"/>
                <a:gd name="connsiteX57" fmla="*/ 3985180 w 10575647"/>
                <a:gd name="connsiteY57" fmla="*/ 529677 h 1701544"/>
                <a:gd name="connsiteX58" fmla="*/ 4250980 w 10575647"/>
                <a:gd name="connsiteY58" fmla="*/ 826838 h 1701544"/>
                <a:gd name="connsiteX59" fmla="*/ 4435464 w 10575647"/>
                <a:gd name="connsiteY59" fmla="*/ 828654 h 1701544"/>
                <a:gd name="connsiteX60" fmla="*/ 3985180 w 10575647"/>
                <a:gd name="connsiteY60" fmla="*/ 359885 h 1701544"/>
                <a:gd name="connsiteX61" fmla="*/ 3529338 w 10575647"/>
                <a:gd name="connsiteY61" fmla="*/ 824916 h 1701544"/>
                <a:gd name="connsiteX62" fmla="*/ 3979622 w 10575647"/>
                <a:gd name="connsiteY62" fmla="*/ 1291865 h 1701544"/>
                <a:gd name="connsiteX63" fmla="*/ 4435464 w 10575647"/>
                <a:gd name="connsiteY63" fmla="*/ 828654 h 1701544"/>
                <a:gd name="connsiteX64" fmla="*/ 5261608 w 10575647"/>
                <a:gd name="connsiteY64" fmla="*/ 828654 h 1701544"/>
                <a:gd name="connsiteX65" fmla="*/ 5205508 w 10575647"/>
                <a:gd name="connsiteY65" fmla="*/ 1025854 h 1701544"/>
                <a:gd name="connsiteX66" fmla="*/ 5005052 w 10575647"/>
                <a:gd name="connsiteY66" fmla="*/ 1122077 h 1701544"/>
                <a:gd name="connsiteX67" fmla="*/ 4746675 w 10575647"/>
                <a:gd name="connsiteY67" fmla="*/ 823153 h 1701544"/>
                <a:gd name="connsiteX68" fmla="*/ 5008683 w 10575647"/>
                <a:gd name="connsiteY68" fmla="*/ 529677 h 1701544"/>
                <a:gd name="connsiteX69" fmla="*/ 5200378 w 10575647"/>
                <a:gd name="connsiteY69" fmla="*/ 617081 h 1701544"/>
                <a:gd name="connsiteX70" fmla="*/ 5261608 w 10575647"/>
                <a:gd name="connsiteY70" fmla="*/ 828654 h 1701544"/>
                <a:gd name="connsiteX71" fmla="*/ 5327264 w 10575647"/>
                <a:gd name="connsiteY71" fmla="*/ 1583314 h 1701544"/>
                <a:gd name="connsiteX72" fmla="*/ 5446113 w 10575647"/>
                <a:gd name="connsiteY72" fmla="*/ 1256819 h 1701544"/>
                <a:gd name="connsiteX73" fmla="*/ 5446113 w 10575647"/>
                <a:gd name="connsiteY73" fmla="*/ 380187 h 1701544"/>
                <a:gd name="connsiteX74" fmla="*/ 5265239 w 10575647"/>
                <a:gd name="connsiteY74" fmla="*/ 380187 h 1701544"/>
                <a:gd name="connsiteX75" fmla="*/ 5265239 w 10575647"/>
                <a:gd name="connsiteY75" fmla="*/ 488537 h 1701544"/>
                <a:gd name="connsiteX76" fmla="*/ 4982875 w 10575647"/>
                <a:gd name="connsiteY76" fmla="*/ 359885 h 1701544"/>
                <a:gd name="connsiteX77" fmla="*/ 4699394 w 10575647"/>
                <a:gd name="connsiteY77" fmla="*/ 465190 h 1701544"/>
                <a:gd name="connsiteX78" fmla="*/ 4558400 w 10575647"/>
                <a:gd name="connsiteY78" fmla="*/ 828654 h 1701544"/>
                <a:gd name="connsiteX79" fmla="*/ 4971816 w 10575647"/>
                <a:gd name="connsiteY79" fmla="*/ 1291865 h 1701544"/>
                <a:gd name="connsiteX80" fmla="*/ 5265239 w 10575647"/>
                <a:gd name="connsiteY80" fmla="*/ 1150553 h 1701544"/>
                <a:gd name="connsiteX81" fmla="*/ 5265239 w 10575647"/>
                <a:gd name="connsiteY81" fmla="*/ 1267931 h 1701544"/>
                <a:gd name="connsiteX82" fmla="*/ 5206095 w 10575647"/>
                <a:gd name="connsiteY82" fmla="*/ 1457116 h 1701544"/>
                <a:gd name="connsiteX83" fmla="*/ 4999546 w 10575647"/>
                <a:gd name="connsiteY83" fmla="*/ 1533625 h 1701544"/>
                <a:gd name="connsiteX84" fmla="*/ 4811695 w 10575647"/>
                <a:gd name="connsiteY84" fmla="*/ 1487409 h 1701544"/>
                <a:gd name="connsiteX85" fmla="*/ 4733588 w 10575647"/>
                <a:gd name="connsiteY85" fmla="*/ 1416300 h 1701544"/>
                <a:gd name="connsiteX86" fmla="*/ 4719215 w 10575647"/>
                <a:gd name="connsiteY86" fmla="*/ 1401339 h 1701544"/>
                <a:gd name="connsiteX87" fmla="*/ 4595103 w 10575647"/>
                <a:gd name="connsiteY87" fmla="*/ 1525451 h 1701544"/>
                <a:gd name="connsiteX88" fmla="*/ 4607819 w 10575647"/>
                <a:gd name="connsiteY88" fmla="*/ 1539824 h 1701544"/>
                <a:gd name="connsiteX89" fmla="*/ 4999546 w 10575647"/>
                <a:gd name="connsiteY89" fmla="*/ 1701544 h 1701544"/>
                <a:gd name="connsiteX90" fmla="*/ 5327264 w 10575647"/>
                <a:gd name="connsiteY90" fmla="*/ 1583314 h 1701544"/>
                <a:gd name="connsiteX91" fmla="*/ 6317923 w 10575647"/>
                <a:gd name="connsiteY91" fmla="*/ 747497 h 1701544"/>
                <a:gd name="connsiteX92" fmla="*/ 5805203 w 10575647"/>
                <a:gd name="connsiteY92" fmla="*/ 747497 h 1701544"/>
                <a:gd name="connsiteX93" fmla="*/ 5845913 w 10575647"/>
                <a:gd name="connsiteY93" fmla="*/ 635144 h 1701544"/>
                <a:gd name="connsiteX94" fmla="*/ 6057989 w 10575647"/>
                <a:gd name="connsiteY94" fmla="*/ 525990 h 1701544"/>
                <a:gd name="connsiteX95" fmla="*/ 6275730 w 10575647"/>
                <a:gd name="connsiteY95" fmla="*/ 633487 h 1701544"/>
                <a:gd name="connsiteX96" fmla="*/ 6317923 w 10575647"/>
                <a:gd name="connsiteY96" fmla="*/ 747497 h 1701544"/>
                <a:gd name="connsiteX97" fmla="*/ 6508188 w 10575647"/>
                <a:gd name="connsiteY97" fmla="*/ 872890 h 1701544"/>
                <a:gd name="connsiteX98" fmla="*/ 6510094 w 10575647"/>
                <a:gd name="connsiteY98" fmla="*/ 815779 h 1701544"/>
                <a:gd name="connsiteX99" fmla="*/ 6057989 w 10575647"/>
                <a:gd name="connsiteY99" fmla="*/ 359885 h 1701544"/>
                <a:gd name="connsiteX100" fmla="*/ 5609538 w 10575647"/>
                <a:gd name="connsiteY100" fmla="*/ 828654 h 1701544"/>
                <a:gd name="connsiteX101" fmla="*/ 6063495 w 10575647"/>
                <a:gd name="connsiteY101" fmla="*/ 1291865 h 1701544"/>
                <a:gd name="connsiteX102" fmla="*/ 6460066 w 10575647"/>
                <a:gd name="connsiteY102" fmla="*/ 1051710 h 1701544"/>
                <a:gd name="connsiteX103" fmla="*/ 6469966 w 10575647"/>
                <a:gd name="connsiteY103" fmla="*/ 1031572 h 1701544"/>
                <a:gd name="connsiteX104" fmla="*/ 6308923 w 10575647"/>
                <a:gd name="connsiteY104" fmla="*/ 971517 h 1701544"/>
                <a:gd name="connsiteX105" fmla="*/ 6300559 w 10575647"/>
                <a:gd name="connsiteY105" fmla="*/ 986689 h 1701544"/>
                <a:gd name="connsiteX106" fmla="*/ 6063495 w 10575647"/>
                <a:gd name="connsiteY106" fmla="*/ 1122077 h 1701544"/>
                <a:gd name="connsiteX107" fmla="*/ 5850784 w 10575647"/>
                <a:gd name="connsiteY107" fmla="*/ 1013832 h 1701544"/>
                <a:gd name="connsiteX108" fmla="*/ 5802132 w 10575647"/>
                <a:gd name="connsiteY108" fmla="*/ 891377 h 1701544"/>
                <a:gd name="connsiteX109" fmla="*/ 6506547 w 10575647"/>
                <a:gd name="connsiteY109" fmla="*/ 891377 h 1701544"/>
                <a:gd name="connsiteX110" fmla="*/ 6508188 w 10575647"/>
                <a:gd name="connsiteY110" fmla="*/ 872890 h 1701544"/>
                <a:gd name="connsiteX111" fmla="*/ 7205139 w 10575647"/>
                <a:gd name="connsiteY111" fmla="*/ 1271563 h 1701544"/>
                <a:gd name="connsiteX112" fmla="*/ 7385928 w 10575647"/>
                <a:gd name="connsiteY112" fmla="*/ 1271563 h 1701544"/>
                <a:gd name="connsiteX113" fmla="*/ 7385928 w 10575647"/>
                <a:gd name="connsiteY113" fmla="*/ 677294 h 1701544"/>
                <a:gd name="connsiteX114" fmla="*/ 7307154 w 10575647"/>
                <a:gd name="connsiteY114" fmla="*/ 435163 h 1701544"/>
                <a:gd name="connsiteX115" fmla="*/ 7096189 w 10575647"/>
                <a:gd name="connsiteY115" fmla="*/ 359885 h 1701544"/>
                <a:gd name="connsiteX116" fmla="*/ 6863625 w 10575647"/>
                <a:gd name="connsiteY116" fmla="*/ 463694 h 1701544"/>
                <a:gd name="connsiteX117" fmla="*/ 6863625 w 10575647"/>
                <a:gd name="connsiteY117" fmla="*/ 380187 h 1701544"/>
                <a:gd name="connsiteX118" fmla="*/ 6682836 w 10575647"/>
                <a:gd name="connsiteY118" fmla="*/ 380187 h 1701544"/>
                <a:gd name="connsiteX119" fmla="*/ 6682836 w 10575647"/>
                <a:gd name="connsiteY119" fmla="*/ 1271563 h 1701544"/>
                <a:gd name="connsiteX120" fmla="*/ 6863625 w 10575647"/>
                <a:gd name="connsiteY120" fmla="*/ 1271563 h 1701544"/>
                <a:gd name="connsiteX121" fmla="*/ 6863625 w 10575647"/>
                <a:gd name="connsiteY121" fmla="*/ 732701 h 1701544"/>
                <a:gd name="connsiteX122" fmla="*/ 6913971 w 10575647"/>
                <a:gd name="connsiteY122" fmla="*/ 591066 h 1701544"/>
                <a:gd name="connsiteX123" fmla="*/ 7061143 w 10575647"/>
                <a:gd name="connsiteY123" fmla="*/ 525990 h 1701544"/>
                <a:gd name="connsiteX124" fmla="*/ 7177769 w 10575647"/>
                <a:gd name="connsiteY124" fmla="*/ 575089 h 1701544"/>
                <a:gd name="connsiteX125" fmla="*/ 7205139 w 10575647"/>
                <a:gd name="connsiteY125" fmla="*/ 708709 h 1701544"/>
                <a:gd name="connsiteX126" fmla="*/ 7205139 w 10575647"/>
                <a:gd name="connsiteY126" fmla="*/ 1271563 h 1701544"/>
                <a:gd name="connsiteX127" fmla="*/ 7822309 w 10575647"/>
                <a:gd name="connsiteY127" fmla="*/ 162418 h 1701544"/>
                <a:gd name="connsiteX128" fmla="*/ 7713412 w 10575647"/>
                <a:gd name="connsiteY128" fmla="*/ 49847 h 1701544"/>
                <a:gd name="connsiteX129" fmla="*/ 7602662 w 10575647"/>
                <a:gd name="connsiteY129" fmla="*/ 160549 h 1701544"/>
                <a:gd name="connsiteX130" fmla="*/ 7711560 w 10575647"/>
                <a:gd name="connsiteY130" fmla="*/ 271303 h 1701544"/>
                <a:gd name="connsiteX131" fmla="*/ 7822309 w 10575647"/>
                <a:gd name="connsiteY131" fmla="*/ 162418 h 1701544"/>
                <a:gd name="connsiteX132" fmla="*/ 8704760 w 10575647"/>
                <a:gd name="connsiteY132" fmla="*/ 826838 h 1701544"/>
                <a:gd name="connsiteX133" fmla="*/ 8437150 w 10575647"/>
                <a:gd name="connsiteY133" fmla="*/ 1122077 h 1701544"/>
                <a:gd name="connsiteX134" fmla="*/ 8167740 w 10575647"/>
                <a:gd name="connsiteY134" fmla="*/ 826838 h 1701544"/>
                <a:gd name="connsiteX135" fmla="*/ 8439003 w 10575647"/>
                <a:gd name="connsiteY135" fmla="*/ 529677 h 1701544"/>
                <a:gd name="connsiteX136" fmla="*/ 8704760 w 10575647"/>
                <a:gd name="connsiteY136" fmla="*/ 826838 h 1701544"/>
                <a:gd name="connsiteX137" fmla="*/ 8889307 w 10575647"/>
                <a:gd name="connsiteY137" fmla="*/ 828654 h 1701544"/>
                <a:gd name="connsiteX138" fmla="*/ 8439003 w 10575647"/>
                <a:gd name="connsiteY138" fmla="*/ 359885 h 1701544"/>
                <a:gd name="connsiteX139" fmla="*/ 7983193 w 10575647"/>
                <a:gd name="connsiteY139" fmla="*/ 824916 h 1701544"/>
                <a:gd name="connsiteX140" fmla="*/ 8433444 w 10575647"/>
                <a:gd name="connsiteY140" fmla="*/ 1291865 h 1701544"/>
                <a:gd name="connsiteX141" fmla="*/ 8889307 w 10575647"/>
                <a:gd name="connsiteY141" fmla="*/ 828654 h 1701544"/>
                <a:gd name="connsiteX142" fmla="*/ 9658150 w 10575647"/>
                <a:gd name="connsiteY142" fmla="*/ 1197940 h 1701544"/>
                <a:gd name="connsiteX143" fmla="*/ 9749630 w 10575647"/>
                <a:gd name="connsiteY143" fmla="*/ 944968 h 1701544"/>
                <a:gd name="connsiteX144" fmla="*/ 9749630 w 10575647"/>
                <a:gd name="connsiteY144" fmla="*/ 380187 h 1701544"/>
                <a:gd name="connsiteX145" fmla="*/ 9566988 w 10575647"/>
                <a:gd name="connsiteY145" fmla="*/ 380187 h 1701544"/>
                <a:gd name="connsiteX146" fmla="*/ 9566988 w 10575647"/>
                <a:gd name="connsiteY146" fmla="*/ 944968 h 1701544"/>
                <a:gd name="connsiteX147" fmla="*/ 9535012 w 10575647"/>
                <a:gd name="connsiteY147" fmla="*/ 1068222 h 1701544"/>
                <a:gd name="connsiteX148" fmla="*/ 9399010 w 10575647"/>
                <a:gd name="connsiteY148" fmla="*/ 1125815 h 1701544"/>
                <a:gd name="connsiteX149" fmla="*/ 9229233 w 10575647"/>
                <a:gd name="connsiteY149" fmla="*/ 941225 h 1701544"/>
                <a:gd name="connsiteX150" fmla="*/ 9229233 w 10575647"/>
                <a:gd name="connsiteY150" fmla="*/ 380187 h 1701544"/>
                <a:gd name="connsiteX151" fmla="*/ 9048391 w 10575647"/>
                <a:gd name="connsiteY151" fmla="*/ 380187 h 1701544"/>
                <a:gd name="connsiteX152" fmla="*/ 9048391 w 10575647"/>
                <a:gd name="connsiteY152" fmla="*/ 944968 h 1701544"/>
                <a:gd name="connsiteX153" fmla="*/ 9139659 w 10575647"/>
                <a:gd name="connsiteY153" fmla="*/ 1195965 h 1701544"/>
                <a:gd name="connsiteX154" fmla="*/ 9399010 w 10575647"/>
                <a:gd name="connsiteY154" fmla="*/ 1291865 h 1701544"/>
                <a:gd name="connsiteX155" fmla="*/ 9658150 w 10575647"/>
                <a:gd name="connsiteY155" fmla="*/ 1197945 h 1701544"/>
                <a:gd name="connsiteX156" fmla="*/ 10385594 w 10575647"/>
                <a:gd name="connsiteY156" fmla="*/ 653307 h 1701544"/>
                <a:gd name="connsiteX157" fmla="*/ 10567335 w 10575647"/>
                <a:gd name="connsiteY157" fmla="*/ 653307 h 1701544"/>
                <a:gd name="connsiteX158" fmla="*/ 10566383 w 10575647"/>
                <a:gd name="connsiteY158" fmla="*/ 632041 h 1701544"/>
                <a:gd name="connsiteX159" fmla="*/ 10249009 w 10575647"/>
                <a:gd name="connsiteY159" fmla="*/ 359885 h 1701544"/>
                <a:gd name="connsiteX160" fmla="*/ 9929730 w 10575647"/>
                <a:gd name="connsiteY160" fmla="*/ 627446 h 1701544"/>
                <a:gd name="connsiteX161" fmla="*/ 10212587 w 10575647"/>
                <a:gd name="connsiteY161" fmla="*/ 903611 h 1701544"/>
                <a:gd name="connsiteX162" fmla="*/ 10391099 w 10575647"/>
                <a:gd name="connsiteY162" fmla="*/ 1031625 h 1701544"/>
                <a:gd name="connsiteX163" fmla="*/ 10252715 w 10575647"/>
                <a:gd name="connsiteY163" fmla="*/ 1136874 h 1701544"/>
                <a:gd name="connsiteX164" fmla="*/ 10093843 w 10575647"/>
                <a:gd name="connsiteY164" fmla="*/ 1007579 h 1701544"/>
                <a:gd name="connsiteX165" fmla="*/ 10092096 w 10575647"/>
                <a:gd name="connsiteY165" fmla="*/ 989257 h 1701544"/>
                <a:gd name="connsiteX166" fmla="*/ 9913054 w 10575647"/>
                <a:gd name="connsiteY166" fmla="*/ 989257 h 1701544"/>
                <a:gd name="connsiteX167" fmla="*/ 9915066 w 10575647"/>
                <a:gd name="connsiteY167" fmla="*/ 1011216 h 1701544"/>
                <a:gd name="connsiteX168" fmla="*/ 10252715 w 10575647"/>
                <a:gd name="connsiteY168" fmla="*/ 1291865 h 1701544"/>
                <a:gd name="connsiteX169" fmla="*/ 10575647 w 10575647"/>
                <a:gd name="connsiteY169" fmla="*/ 1024303 h 1701544"/>
                <a:gd name="connsiteX170" fmla="*/ 10501426 w 10575647"/>
                <a:gd name="connsiteY170" fmla="*/ 843879 h 1701544"/>
                <a:gd name="connsiteX171" fmla="*/ 10285750 w 10575647"/>
                <a:gd name="connsiteY171" fmla="*/ 740769 h 1701544"/>
                <a:gd name="connsiteX172" fmla="*/ 10110519 w 10575647"/>
                <a:gd name="connsiteY172" fmla="*/ 616440 h 1701544"/>
                <a:gd name="connsiteX173" fmla="*/ 10243398 w 10575647"/>
                <a:gd name="connsiteY173" fmla="*/ 514877 h 1701544"/>
                <a:gd name="connsiteX174" fmla="*/ 10385594 w 10575647"/>
                <a:gd name="connsiteY174" fmla="*/ 623762 h 1701544"/>
                <a:gd name="connsiteX175" fmla="*/ 10385594 w 10575647"/>
                <a:gd name="connsiteY175" fmla="*/ 653307 h 170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10575647" h="1701544">
                  <a:moveTo>
                    <a:pt x="7802033" y="380187"/>
                  </a:moveTo>
                  <a:lnTo>
                    <a:pt x="7621138" y="380187"/>
                  </a:lnTo>
                  <a:lnTo>
                    <a:pt x="7621138" y="1271563"/>
                  </a:lnTo>
                  <a:lnTo>
                    <a:pt x="7802033" y="1271563"/>
                  </a:lnTo>
                  <a:lnTo>
                    <a:pt x="7802033" y="380187"/>
                  </a:lnTo>
                  <a:close/>
                  <a:moveTo>
                    <a:pt x="706522" y="1271563"/>
                  </a:moveTo>
                  <a:lnTo>
                    <a:pt x="902065" y="1271563"/>
                  </a:lnTo>
                  <a:lnTo>
                    <a:pt x="902065" y="0"/>
                  </a:lnTo>
                  <a:lnTo>
                    <a:pt x="706522" y="0"/>
                  </a:lnTo>
                  <a:lnTo>
                    <a:pt x="706522" y="553717"/>
                  </a:lnTo>
                  <a:lnTo>
                    <a:pt x="195543" y="553717"/>
                  </a:lnTo>
                  <a:lnTo>
                    <a:pt x="195543" y="0"/>
                  </a:lnTo>
                  <a:lnTo>
                    <a:pt x="0" y="0"/>
                  </a:lnTo>
                  <a:lnTo>
                    <a:pt x="0" y="1271563"/>
                  </a:lnTo>
                  <a:lnTo>
                    <a:pt x="195543" y="1271563"/>
                  </a:lnTo>
                  <a:lnTo>
                    <a:pt x="195543" y="727142"/>
                  </a:lnTo>
                  <a:lnTo>
                    <a:pt x="706522" y="727142"/>
                  </a:lnTo>
                  <a:lnTo>
                    <a:pt x="706522" y="1271563"/>
                  </a:lnTo>
                  <a:close/>
                  <a:moveTo>
                    <a:pt x="1306185" y="1690649"/>
                  </a:moveTo>
                  <a:lnTo>
                    <a:pt x="1654904" y="1036061"/>
                  </a:lnTo>
                  <a:lnTo>
                    <a:pt x="1306185" y="381469"/>
                  </a:lnTo>
                  <a:lnTo>
                    <a:pt x="1090234" y="381469"/>
                  </a:lnTo>
                  <a:lnTo>
                    <a:pt x="1438900" y="1036061"/>
                  </a:lnTo>
                  <a:lnTo>
                    <a:pt x="1090234" y="1690649"/>
                  </a:lnTo>
                  <a:lnTo>
                    <a:pt x="1306185" y="1690649"/>
                  </a:lnTo>
                  <a:close/>
                  <a:moveTo>
                    <a:pt x="2581808" y="828654"/>
                  </a:moveTo>
                  <a:cubicBezTo>
                    <a:pt x="2581808" y="1002989"/>
                    <a:pt x="2470789" y="1129505"/>
                    <a:pt x="2317883" y="1129505"/>
                  </a:cubicBezTo>
                  <a:cubicBezTo>
                    <a:pt x="2168980" y="1129505"/>
                    <a:pt x="2065011" y="1007262"/>
                    <a:pt x="2065011" y="832338"/>
                  </a:cubicBezTo>
                  <a:cubicBezTo>
                    <a:pt x="2065011" y="649088"/>
                    <a:pt x="2170314" y="525990"/>
                    <a:pt x="2327068" y="525990"/>
                  </a:cubicBezTo>
                  <a:cubicBezTo>
                    <a:pt x="2479444" y="525990"/>
                    <a:pt x="2581808" y="647590"/>
                    <a:pt x="2581808" y="828654"/>
                  </a:cubicBezTo>
                  <a:moveTo>
                    <a:pt x="2581808" y="1271563"/>
                  </a:moveTo>
                  <a:lnTo>
                    <a:pt x="2762608" y="1271563"/>
                  </a:lnTo>
                  <a:lnTo>
                    <a:pt x="2762608" y="0"/>
                  </a:lnTo>
                  <a:lnTo>
                    <a:pt x="2581808" y="0"/>
                  </a:lnTo>
                  <a:lnTo>
                    <a:pt x="2581808" y="476356"/>
                  </a:lnTo>
                  <a:cubicBezTo>
                    <a:pt x="2503431" y="397017"/>
                    <a:pt x="2412449" y="359885"/>
                    <a:pt x="2297581" y="359885"/>
                  </a:cubicBezTo>
                  <a:cubicBezTo>
                    <a:pt x="2057690" y="359885"/>
                    <a:pt x="1876785" y="562214"/>
                    <a:pt x="1876785" y="830470"/>
                  </a:cubicBezTo>
                  <a:cubicBezTo>
                    <a:pt x="1876785" y="1102145"/>
                    <a:pt x="2049839" y="1291865"/>
                    <a:pt x="2297581" y="1291865"/>
                  </a:cubicBezTo>
                  <a:cubicBezTo>
                    <a:pt x="2414371" y="1291865"/>
                    <a:pt x="2503061" y="1251959"/>
                    <a:pt x="2581808" y="1163217"/>
                  </a:cubicBezTo>
                  <a:lnTo>
                    <a:pt x="2581808" y="1271563"/>
                  </a:lnTo>
                  <a:close/>
                  <a:moveTo>
                    <a:pt x="3437445" y="542393"/>
                  </a:moveTo>
                  <a:lnTo>
                    <a:pt x="3460310" y="545331"/>
                  </a:lnTo>
                  <a:lnTo>
                    <a:pt x="3460310" y="359885"/>
                  </a:lnTo>
                  <a:lnTo>
                    <a:pt x="3406830" y="359885"/>
                  </a:lnTo>
                  <a:cubicBezTo>
                    <a:pt x="3341169" y="359885"/>
                    <a:pt x="3277430" y="380294"/>
                    <a:pt x="3231965" y="415877"/>
                  </a:cubicBezTo>
                  <a:cubicBezTo>
                    <a:pt x="3213690" y="430035"/>
                    <a:pt x="3199693" y="444353"/>
                    <a:pt x="3187194" y="462091"/>
                  </a:cubicBezTo>
                  <a:lnTo>
                    <a:pt x="3187194" y="380187"/>
                  </a:lnTo>
                  <a:lnTo>
                    <a:pt x="3006395" y="380187"/>
                  </a:lnTo>
                  <a:lnTo>
                    <a:pt x="3006395" y="1271563"/>
                  </a:lnTo>
                  <a:lnTo>
                    <a:pt x="3187194" y="1271563"/>
                  </a:lnTo>
                  <a:lnTo>
                    <a:pt x="3187194" y="819411"/>
                  </a:lnTo>
                  <a:cubicBezTo>
                    <a:pt x="3187194" y="727783"/>
                    <a:pt x="3198894" y="679915"/>
                    <a:pt x="3233517" y="629638"/>
                  </a:cubicBezTo>
                  <a:cubicBezTo>
                    <a:pt x="3272300" y="572310"/>
                    <a:pt x="3331926" y="540683"/>
                    <a:pt x="3401277" y="540683"/>
                  </a:cubicBezTo>
                  <a:cubicBezTo>
                    <a:pt x="3410356" y="540683"/>
                    <a:pt x="3423983" y="540683"/>
                    <a:pt x="3437445" y="542393"/>
                  </a:cubicBezTo>
                  <a:moveTo>
                    <a:pt x="4250980" y="826838"/>
                  </a:moveTo>
                  <a:cubicBezTo>
                    <a:pt x="4250980" y="1000692"/>
                    <a:pt x="4140918" y="1122077"/>
                    <a:pt x="3983364" y="1122077"/>
                  </a:cubicBezTo>
                  <a:cubicBezTo>
                    <a:pt x="3822174" y="1122077"/>
                    <a:pt x="3713875" y="1003466"/>
                    <a:pt x="3713875" y="826838"/>
                  </a:cubicBezTo>
                  <a:cubicBezTo>
                    <a:pt x="3713875" y="649088"/>
                    <a:pt x="3822920" y="529677"/>
                    <a:pt x="3985180" y="529677"/>
                  </a:cubicBezTo>
                  <a:cubicBezTo>
                    <a:pt x="4144179" y="529677"/>
                    <a:pt x="4250980" y="649088"/>
                    <a:pt x="4250980" y="826838"/>
                  </a:cubicBezTo>
                  <a:moveTo>
                    <a:pt x="4435464" y="828654"/>
                  </a:moveTo>
                  <a:cubicBezTo>
                    <a:pt x="4435464" y="557084"/>
                    <a:pt x="4246120" y="359885"/>
                    <a:pt x="3985180" y="359885"/>
                  </a:cubicBezTo>
                  <a:cubicBezTo>
                    <a:pt x="3716818" y="359885"/>
                    <a:pt x="3529338" y="551155"/>
                    <a:pt x="3529338" y="824916"/>
                  </a:cubicBezTo>
                  <a:cubicBezTo>
                    <a:pt x="3529338" y="1099848"/>
                    <a:pt x="3714521" y="1291865"/>
                    <a:pt x="3979622" y="1291865"/>
                  </a:cubicBezTo>
                  <a:cubicBezTo>
                    <a:pt x="4235272" y="1291865"/>
                    <a:pt x="4435464" y="1088418"/>
                    <a:pt x="4435464" y="828654"/>
                  </a:cubicBezTo>
                  <a:moveTo>
                    <a:pt x="5261608" y="828654"/>
                  </a:moveTo>
                  <a:cubicBezTo>
                    <a:pt x="5261608" y="909382"/>
                    <a:pt x="5239596" y="986748"/>
                    <a:pt x="5205508" y="1025854"/>
                  </a:cubicBezTo>
                  <a:cubicBezTo>
                    <a:pt x="5153150" y="1087026"/>
                    <a:pt x="5080062" y="1122077"/>
                    <a:pt x="5005052" y="1122077"/>
                  </a:cubicBezTo>
                  <a:cubicBezTo>
                    <a:pt x="4855296" y="1122077"/>
                    <a:pt x="4746675" y="996361"/>
                    <a:pt x="4746675" y="823153"/>
                  </a:cubicBezTo>
                  <a:cubicBezTo>
                    <a:pt x="4746675" y="650316"/>
                    <a:pt x="4854386" y="529677"/>
                    <a:pt x="5008683" y="529677"/>
                  </a:cubicBezTo>
                  <a:cubicBezTo>
                    <a:pt x="5078193" y="529677"/>
                    <a:pt x="5151652" y="563177"/>
                    <a:pt x="5200378" y="617081"/>
                  </a:cubicBezTo>
                  <a:cubicBezTo>
                    <a:pt x="5246112" y="667892"/>
                    <a:pt x="5261608" y="721266"/>
                    <a:pt x="5261608" y="828654"/>
                  </a:cubicBezTo>
                  <a:moveTo>
                    <a:pt x="5327264" y="1583314"/>
                  </a:moveTo>
                  <a:cubicBezTo>
                    <a:pt x="5409426" y="1504990"/>
                    <a:pt x="5446113" y="1404277"/>
                    <a:pt x="5446113" y="1256819"/>
                  </a:cubicBezTo>
                  <a:lnTo>
                    <a:pt x="5446113" y="380187"/>
                  </a:lnTo>
                  <a:lnTo>
                    <a:pt x="5265239" y="380187"/>
                  </a:lnTo>
                  <a:lnTo>
                    <a:pt x="5265239" y="488537"/>
                  </a:lnTo>
                  <a:cubicBezTo>
                    <a:pt x="5186005" y="398673"/>
                    <a:pt x="5100153" y="359885"/>
                    <a:pt x="4982875" y="359885"/>
                  </a:cubicBezTo>
                  <a:cubicBezTo>
                    <a:pt x="4866567" y="359885"/>
                    <a:pt x="4771201" y="395361"/>
                    <a:pt x="4699394" y="465190"/>
                  </a:cubicBezTo>
                  <a:cubicBezTo>
                    <a:pt x="4611080" y="549710"/>
                    <a:pt x="4558400" y="685574"/>
                    <a:pt x="4558400" y="828654"/>
                  </a:cubicBezTo>
                  <a:cubicBezTo>
                    <a:pt x="4558400" y="1092743"/>
                    <a:pt x="4736097" y="1291865"/>
                    <a:pt x="4971816" y="1291865"/>
                  </a:cubicBezTo>
                  <a:cubicBezTo>
                    <a:pt x="5092032" y="1291865"/>
                    <a:pt x="5185952" y="1246830"/>
                    <a:pt x="5265239" y="1150553"/>
                  </a:cubicBezTo>
                  <a:lnTo>
                    <a:pt x="5265239" y="1267931"/>
                  </a:lnTo>
                  <a:cubicBezTo>
                    <a:pt x="5265239" y="1350745"/>
                    <a:pt x="5245313" y="1414431"/>
                    <a:pt x="5206095" y="1457116"/>
                  </a:cubicBezTo>
                  <a:cubicBezTo>
                    <a:pt x="5162288" y="1504291"/>
                    <a:pt x="5083159" y="1533625"/>
                    <a:pt x="4999546" y="1533625"/>
                  </a:cubicBezTo>
                  <a:cubicBezTo>
                    <a:pt x="4932122" y="1533625"/>
                    <a:pt x="4856471" y="1514979"/>
                    <a:pt x="4811695" y="1487409"/>
                  </a:cubicBezTo>
                  <a:cubicBezTo>
                    <a:pt x="4788777" y="1471596"/>
                    <a:pt x="4771254" y="1455624"/>
                    <a:pt x="4733588" y="1416300"/>
                  </a:cubicBezTo>
                  <a:lnTo>
                    <a:pt x="4719215" y="1401339"/>
                  </a:lnTo>
                  <a:lnTo>
                    <a:pt x="4595103" y="1525451"/>
                  </a:lnTo>
                  <a:lnTo>
                    <a:pt x="4607819" y="1539824"/>
                  </a:lnTo>
                  <a:cubicBezTo>
                    <a:pt x="4703719" y="1647106"/>
                    <a:pt x="4835528" y="1701544"/>
                    <a:pt x="4999546" y="1701544"/>
                  </a:cubicBezTo>
                  <a:cubicBezTo>
                    <a:pt x="5134664" y="1701544"/>
                    <a:pt x="5247981" y="1660675"/>
                    <a:pt x="5327264" y="1583314"/>
                  </a:cubicBezTo>
                  <a:moveTo>
                    <a:pt x="6317923" y="747497"/>
                  </a:moveTo>
                  <a:lnTo>
                    <a:pt x="5805203" y="747497"/>
                  </a:lnTo>
                  <a:cubicBezTo>
                    <a:pt x="5814785" y="696051"/>
                    <a:pt x="5825267" y="667627"/>
                    <a:pt x="5845913" y="635144"/>
                  </a:cubicBezTo>
                  <a:cubicBezTo>
                    <a:pt x="5892024" y="566756"/>
                    <a:pt x="5971327" y="525990"/>
                    <a:pt x="6057989" y="525990"/>
                  </a:cubicBezTo>
                  <a:cubicBezTo>
                    <a:pt x="6144228" y="525990"/>
                    <a:pt x="6225702" y="566274"/>
                    <a:pt x="6275730" y="633487"/>
                  </a:cubicBezTo>
                  <a:cubicBezTo>
                    <a:pt x="6300453" y="669067"/>
                    <a:pt x="6312047" y="699841"/>
                    <a:pt x="6317923" y="747497"/>
                  </a:cubicBezTo>
                  <a:moveTo>
                    <a:pt x="6508188" y="872890"/>
                  </a:moveTo>
                  <a:cubicBezTo>
                    <a:pt x="6510094" y="851683"/>
                    <a:pt x="6510094" y="827426"/>
                    <a:pt x="6510094" y="815779"/>
                  </a:cubicBezTo>
                  <a:cubicBezTo>
                    <a:pt x="6510094" y="555909"/>
                    <a:pt x="6315700" y="359885"/>
                    <a:pt x="6057989" y="359885"/>
                  </a:cubicBezTo>
                  <a:cubicBezTo>
                    <a:pt x="5798109" y="359885"/>
                    <a:pt x="5609538" y="557084"/>
                    <a:pt x="5609538" y="828654"/>
                  </a:cubicBezTo>
                  <a:cubicBezTo>
                    <a:pt x="5609538" y="1097074"/>
                    <a:pt x="5800491" y="1291865"/>
                    <a:pt x="6063495" y="1291865"/>
                  </a:cubicBezTo>
                  <a:cubicBezTo>
                    <a:pt x="6235020" y="1291865"/>
                    <a:pt x="6386956" y="1199867"/>
                    <a:pt x="6460066" y="1051710"/>
                  </a:cubicBezTo>
                  <a:lnTo>
                    <a:pt x="6469966" y="1031572"/>
                  </a:lnTo>
                  <a:lnTo>
                    <a:pt x="6308923" y="971517"/>
                  </a:lnTo>
                  <a:lnTo>
                    <a:pt x="6300559" y="986689"/>
                  </a:lnTo>
                  <a:cubicBezTo>
                    <a:pt x="6254237" y="1068968"/>
                    <a:pt x="6161169" y="1122077"/>
                    <a:pt x="6063495" y="1122077"/>
                  </a:cubicBezTo>
                  <a:cubicBezTo>
                    <a:pt x="5977415" y="1122077"/>
                    <a:pt x="5901923" y="1083664"/>
                    <a:pt x="5850784" y="1013832"/>
                  </a:cubicBezTo>
                  <a:cubicBezTo>
                    <a:pt x="5821932" y="975900"/>
                    <a:pt x="5809438" y="945021"/>
                    <a:pt x="5802132" y="891377"/>
                  </a:cubicBezTo>
                  <a:lnTo>
                    <a:pt x="6506547" y="891377"/>
                  </a:lnTo>
                  <a:lnTo>
                    <a:pt x="6508188" y="872890"/>
                  </a:lnTo>
                  <a:close/>
                  <a:moveTo>
                    <a:pt x="7205139" y="1271563"/>
                  </a:moveTo>
                  <a:lnTo>
                    <a:pt x="7385928" y="1271563"/>
                  </a:lnTo>
                  <a:lnTo>
                    <a:pt x="7385928" y="677294"/>
                  </a:lnTo>
                  <a:cubicBezTo>
                    <a:pt x="7385928" y="554734"/>
                    <a:pt x="7365387" y="491422"/>
                    <a:pt x="7307154" y="435163"/>
                  </a:cubicBezTo>
                  <a:cubicBezTo>
                    <a:pt x="7252520" y="386599"/>
                    <a:pt x="7177557" y="359885"/>
                    <a:pt x="7096189" y="359885"/>
                  </a:cubicBezTo>
                  <a:cubicBezTo>
                    <a:pt x="7000739" y="359885"/>
                    <a:pt x="6929853" y="391193"/>
                    <a:pt x="6863625" y="463694"/>
                  </a:cubicBezTo>
                  <a:lnTo>
                    <a:pt x="6863625" y="380187"/>
                  </a:lnTo>
                  <a:lnTo>
                    <a:pt x="6682836" y="380187"/>
                  </a:lnTo>
                  <a:lnTo>
                    <a:pt x="6682836" y="1271563"/>
                  </a:lnTo>
                  <a:lnTo>
                    <a:pt x="6863625" y="1271563"/>
                  </a:lnTo>
                  <a:lnTo>
                    <a:pt x="6863625" y="732701"/>
                  </a:lnTo>
                  <a:cubicBezTo>
                    <a:pt x="6863625" y="667839"/>
                    <a:pt x="6876278" y="632147"/>
                    <a:pt x="6913971" y="591066"/>
                  </a:cubicBezTo>
                  <a:cubicBezTo>
                    <a:pt x="6951505" y="548481"/>
                    <a:pt x="7002433" y="525990"/>
                    <a:pt x="7061143" y="525990"/>
                  </a:cubicBezTo>
                  <a:cubicBezTo>
                    <a:pt x="7110748" y="525990"/>
                    <a:pt x="7155428" y="544744"/>
                    <a:pt x="7177769" y="575089"/>
                  </a:cubicBezTo>
                  <a:cubicBezTo>
                    <a:pt x="7197410" y="601215"/>
                    <a:pt x="7205139" y="638722"/>
                    <a:pt x="7205139" y="708709"/>
                  </a:cubicBezTo>
                  <a:lnTo>
                    <a:pt x="7205139" y="1271563"/>
                  </a:lnTo>
                  <a:close/>
                  <a:moveTo>
                    <a:pt x="7822309" y="162418"/>
                  </a:moveTo>
                  <a:cubicBezTo>
                    <a:pt x="7822309" y="99268"/>
                    <a:pt x="7774452" y="49847"/>
                    <a:pt x="7713412" y="49847"/>
                  </a:cubicBezTo>
                  <a:cubicBezTo>
                    <a:pt x="7650255" y="49847"/>
                    <a:pt x="7602662" y="97451"/>
                    <a:pt x="7602662" y="160549"/>
                  </a:cubicBezTo>
                  <a:cubicBezTo>
                    <a:pt x="7602662" y="223699"/>
                    <a:pt x="7649514" y="271303"/>
                    <a:pt x="7711560" y="271303"/>
                  </a:cubicBezTo>
                  <a:cubicBezTo>
                    <a:pt x="7773711" y="271303"/>
                    <a:pt x="7822309" y="223432"/>
                    <a:pt x="7822309" y="162418"/>
                  </a:cubicBezTo>
                  <a:moveTo>
                    <a:pt x="8704760" y="826838"/>
                  </a:moveTo>
                  <a:cubicBezTo>
                    <a:pt x="8704760" y="1000692"/>
                    <a:pt x="8594751" y="1122077"/>
                    <a:pt x="8437150" y="1122077"/>
                  </a:cubicBezTo>
                  <a:cubicBezTo>
                    <a:pt x="8276002" y="1122077"/>
                    <a:pt x="8167740" y="1003466"/>
                    <a:pt x="8167740" y="826838"/>
                  </a:cubicBezTo>
                  <a:cubicBezTo>
                    <a:pt x="8167740" y="649088"/>
                    <a:pt x="8276743" y="529677"/>
                    <a:pt x="8439003" y="529677"/>
                  </a:cubicBezTo>
                  <a:cubicBezTo>
                    <a:pt x="8597980" y="529677"/>
                    <a:pt x="8704760" y="649088"/>
                    <a:pt x="8704760" y="826838"/>
                  </a:cubicBezTo>
                  <a:moveTo>
                    <a:pt x="8889307" y="828654"/>
                  </a:moveTo>
                  <a:cubicBezTo>
                    <a:pt x="8889307" y="557084"/>
                    <a:pt x="8699942" y="359885"/>
                    <a:pt x="8439003" y="359885"/>
                  </a:cubicBezTo>
                  <a:cubicBezTo>
                    <a:pt x="8170652" y="359885"/>
                    <a:pt x="7983193" y="551155"/>
                    <a:pt x="7983193" y="824916"/>
                  </a:cubicBezTo>
                  <a:cubicBezTo>
                    <a:pt x="7983193" y="1099848"/>
                    <a:pt x="8168375" y="1291865"/>
                    <a:pt x="8433444" y="1291865"/>
                  </a:cubicBezTo>
                  <a:cubicBezTo>
                    <a:pt x="8689089" y="1291865"/>
                    <a:pt x="8889307" y="1088418"/>
                    <a:pt x="8889307" y="828654"/>
                  </a:cubicBezTo>
                  <a:moveTo>
                    <a:pt x="9658150" y="1197940"/>
                  </a:moveTo>
                  <a:cubicBezTo>
                    <a:pt x="9724854" y="1137144"/>
                    <a:pt x="9749630" y="1068539"/>
                    <a:pt x="9749630" y="944968"/>
                  </a:cubicBezTo>
                  <a:lnTo>
                    <a:pt x="9749630" y="380187"/>
                  </a:lnTo>
                  <a:lnTo>
                    <a:pt x="9566988" y="380187"/>
                  </a:lnTo>
                  <a:lnTo>
                    <a:pt x="9566988" y="944968"/>
                  </a:lnTo>
                  <a:cubicBezTo>
                    <a:pt x="9566988" y="1008437"/>
                    <a:pt x="9558835" y="1039587"/>
                    <a:pt x="9535012" y="1068222"/>
                  </a:cubicBezTo>
                  <a:cubicBezTo>
                    <a:pt x="9503831" y="1104284"/>
                    <a:pt x="9453009" y="1125815"/>
                    <a:pt x="9399010" y="1125815"/>
                  </a:cubicBezTo>
                  <a:cubicBezTo>
                    <a:pt x="9299060" y="1125815"/>
                    <a:pt x="9229233" y="1049947"/>
                    <a:pt x="9229233" y="941225"/>
                  </a:cubicBezTo>
                  <a:lnTo>
                    <a:pt x="9229233" y="380187"/>
                  </a:lnTo>
                  <a:lnTo>
                    <a:pt x="9048391" y="380187"/>
                  </a:lnTo>
                  <a:lnTo>
                    <a:pt x="9048391" y="944968"/>
                  </a:lnTo>
                  <a:cubicBezTo>
                    <a:pt x="9048391" y="1054330"/>
                    <a:pt x="9078249" y="1136392"/>
                    <a:pt x="9139659" y="1195965"/>
                  </a:cubicBezTo>
                  <a:cubicBezTo>
                    <a:pt x="9204563" y="1256925"/>
                    <a:pt x="9299113" y="1291865"/>
                    <a:pt x="9399010" y="1291865"/>
                  </a:cubicBezTo>
                  <a:cubicBezTo>
                    <a:pt x="9499701" y="1291865"/>
                    <a:pt x="9591763" y="1258529"/>
                    <a:pt x="9658150" y="1197945"/>
                  </a:cubicBezTo>
                  <a:moveTo>
                    <a:pt x="10385594" y="653307"/>
                  </a:moveTo>
                  <a:lnTo>
                    <a:pt x="10567335" y="653307"/>
                  </a:lnTo>
                  <a:lnTo>
                    <a:pt x="10566383" y="632041"/>
                  </a:lnTo>
                  <a:cubicBezTo>
                    <a:pt x="10558442" y="459099"/>
                    <a:pt x="10442768" y="359885"/>
                    <a:pt x="10249009" y="359885"/>
                  </a:cubicBezTo>
                  <a:cubicBezTo>
                    <a:pt x="10058003" y="359885"/>
                    <a:pt x="9929730" y="467434"/>
                    <a:pt x="9929730" y="627446"/>
                  </a:cubicBezTo>
                  <a:cubicBezTo>
                    <a:pt x="9929730" y="765666"/>
                    <a:pt x="10016922" y="850825"/>
                    <a:pt x="10212587" y="903611"/>
                  </a:cubicBezTo>
                  <a:cubicBezTo>
                    <a:pt x="10347689" y="937858"/>
                    <a:pt x="10391099" y="968955"/>
                    <a:pt x="10391099" y="1031625"/>
                  </a:cubicBezTo>
                  <a:cubicBezTo>
                    <a:pt x="10391099" y="1095576"/>
                    <a:pt x="10336730" y="1136874"/>
                    <a:pt x="10252715" y="1136874"/>
                  </a:cubicBezTo>
                  <a:cubicBezTo>
                    <a:pt x="10155517" y="1136874"/>
                    <a:pt x="10102102" y="1093384"/>
                    <a:pt x="10093843" y="1007579"/>
                  </a:cubicBezTo>
                  <a:lnTo>
                    <a:pt x="10092096" y="989257"/>
                  </a:lnTo>
                  <a:lnTo>
                    <a:pt x="9913054" y="989257"/>
                  </a:lnTo>
                  <a:lnTo>
                    <a:pt x="9915066" y="1011216"/>
                  </a:lnTo>
                  <a:cubicBezTo>
                    <a:pt x="9930789" y="1194843"/>
                    <a:pt x="10047626" y="1291865"/>
                    <a:pt x="10252715" y="1291865"/>
                  </a:cubicBezTo>
                  <a:cubicBezTo>
                    <a:pt x="10445839" y="1291865"/>
                    <a:pt x="10575647" y="1184371"/>
                    <a:pt x="10575647" y="1024303"/>
                  </a:cubicBezTo>
                  <a:cubicBezTo>
                    <a:pt x="10575647" y="956667"/>
                    <a:pt x="10548542" y="890948"/>
                    <a:pt x="10501426" y="843879"/>
                  </a:cubicBezTo>
                  <a:cubicBezTo>
                    <a:pt x="10457485" y="799913"/>
                    <a:pt x="10397028" y="770955"/>
                    <a:pt x="10285750" y="740769"/>
                  </a:cubicBezTo>
                  <a:cubicBezTo>
                    <a:pt x="10125660" y="696474"/>
                    <a:pt x="10110519" y="671471"/>
                    <a:pt x="10110519" y="616440"/>
                  </a:cubicBezTo>
                  <a:cubicBezTo>
                    <a:pt x="10110519" y="553823"/>
                    <a:pt x="10161447" y="514877"/>
                    <a:pt x="10243398" y="514877"/>
                  </a:cubicBezTo>
                  <a:cubicBezTo>
                    <a:pt x="10329795" y="514877"/>
                    <a:pt x="10385594" y="557672"/>
                    <a:pt x="10385594" y="623762"/>
                  </a:cubicBezTo>
                  <a:lnTo>
                    <a:pt x="10385594" y="653307"/>
                  </a:lnTo>
                  <a:close/>
                </a:path>
              </a:pathLst>
            </a:custGeom>
            <a:grpFill/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</p:grp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6B8C80E2-070B-88BC-E3C9-FD44704619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BE1ED61C-7668-72B8-4FAD-0F66B9CBA63C}"/>
              </a:ext>
            </a:extLst>
          </p:cNvPr>
          <p:cNvGrpSpPr/>
          <p:nvPr userDrawn="1"/>
        </p:nvGrpSpPr>
        <p:grpSpPr>
          <a:xfrm rot="5400000">
            <a:off x="-3617983" y="3323777"/>
            <a:ext cx="6854690" cy="213756"/>
            <a:chOff x="-1" y="-286346"/>
            <a:chExt cx="5820565" cy="181508"/>
          </a:xfrm>
        </p:grpSpPr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9244918A-A2A4-C2E6-9042-3135BA23D3D1}"/>
                </a:ext>
              </a:extLst>
            </p:cNvPr>
            <p:cNvGrpSpPr/>
            <p:nvPr userDrawn="1"/>
          </p:nvGrpSpPr>
          <p:grpSpPr>
            <a:xfrm rot="16200000">
              <a:off x="363007" y="-649354"/>
              <a:ext cx="181503" cy="907520"/>
              <a:chOff x="1319213" y="-1663170"/>
              <a:chExt cx="181503" cy="907520"/>
            </a:xfrm>
          </p:grpSpPr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83FDA837-EB79-009F-4221-FC4C46707FD4}"/>
                  </a:ext>
                </a:extLst>
              </p:cNvPr>
              <p:cNvSpPr/>
              <p:nvPr/>
            </p:nvSpPr>
            <p:spPr>
              <a:xfrm>
                <a:off x="1319213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44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18522535-E5E9-0A5D-8F19-8239793328EF}"/>
                  </a:ext>
                </a:extLst>
              </p:cNvPr>
              <p:cNvSpPr/>
              <p:nvPr/>
            </p:nvSpPr>
            <p:spPr>
              <a:xfrm>
                <a:off x="1319213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69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0329B5DC-7719-5790-66D1-CA30E3ABD4BC}"/>
                  </a:ext>
                </a:extLst>
              </p:cNvPr>
              <p:cNvSpPr/>
              <p:nvPr/>
            </p:nvSpPr>
            <p:spPr>
              <a:xfrm>
                <a:off x="1319213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FE8F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4892A0A8-E092-DFD8-38F1-BBD0C2BF1429}"/>
                  </a:ext>
                </a:extLst>
              </p:cNvPr>
              <p:cNvSpPr/>
              <p:nvPr/>
            </p:nvSpPr>
            <p:spPr>
              <a:xfrm>
                <a:off x="1319213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B4B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0CD7BBBA-F3CC-DFB9-F91F-2F41F5CD24D1}"/>
                  </a:ext>
                </a:extLst>
              </p:cNvPr>
              <p:cNvSpPr/>
              <p:nvPr/>
            </p:nvSpPr>
            <p:spPr>
              <a:xfrm>
                <a:off x="1319213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D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A3447DC2-3CAB-897A-39D0-C6505A9A3A1B}"/>
                </a:ext>
              </a:extLst>
            </p:cNvPr>
            <p:cNvGrpSpPr/>
            <p:nvPr userDrawn="1"/>
          </p:nvGrpSpPr>
          <p:grpSpPr>
            <a:xfrm rot="16200000">
              <a:off x="1345616" y="-649354"/>
              <a:ext cx="181503" cy="907520"/>
              <a:chOff x="1319213" y="-664912"/>
              <a:chExt cx="181503" cy="907520"/>
            </a:xfrm>
          </p:grpSpPr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A3314D27-7999-A9B3-8816-1401C23EE2E1}"/>
                  </a:ext>
                </a:extLst>
              </p:cNvPr>
              <p:cNvSpPr/>
              <p:nvPr/>
            </p:nvSpPr>
            <p:spPr>
              <a:xfrm>
                <a:off x="1319213" y="-66491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6400A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416559BD-F367-68CE-B656-B0ACDDE2E6A6}"/>
                  </a:ext>
                </a:extLst>
              </p:cNvPr>
              <p:cNvSpPr/>
              <p:nvPr/>
            </p:nvSpPr>
            <p:spPr>
              <a:xfrm>
                <a:off x="1319213" y="-483404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33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58A7E6AD-6AA3-46F9-1644-34008F1545DF}"/>
                  </a:ext>
                </a:extLst>
              </p:cNvPr>
              <p:cNvSpPr/>
              <p:nvPr/>
            </p:nvSpPr>
            <p:spPr>
              <a:xfrm>
                <a:off x="1319213" y="-30189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266C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0218D47A-EF75-9F34-EF1F-03C8C31C8925}"/>
                  </a:ext>
                </a:extLst>
              </p:cNvPr>
              <p:cNvSpPr/>
              <p:nvPr/>
            </p:nvSpPr>
            <p:spPr>
              <a:xfrm>
                <a:off x="1319213" y="-120387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199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EC4B6565-36BD-FEB9-7C15-6F5756D6D83D}"/>
                  </a:ext>
                </a:extLst>
              </p:cNvPr>
              <p:cNvSpPr/>
              <p:nvPr/>
            </p:nvSpPr>
            <p:spPr>
              <a:xfrm>
                <a:off x="1319213" y="6110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0CC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65CA6B4A-E306-A14F-B67E-F1AF30693781}"/>
                </a:ext>
              </a:extLst>
            </p:cNvPr>
            <p:cNvGrpSpPr/>
            <p:nvPr userDrawn="1"/>
          </p:nvGrpSpPr>
          <p:grpSpPr>
            <a:xfrm rot="16200000">
              <a:off x="2328223" y="-649352"/>
              <a:ext cx="181508" cy="907520"/>
              <a:chOff x="1682219" y="-1663170"/>
              <a:chExt cx="181508" cy="907520"/>
            </a:xfrm>
          </p:grpSpPr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CAB344F1-0AAE-DED8-4023-DD0827C369E7}"/>
                  </a:ext>
                </a:extLst>
              </p:cNvPr>
              <p:cNvSpPr/>
              <p:nvPr/>
            </p:nvSpPr>
            <p:spPr>
              <a:xfrm>
                <a:off x="1682219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CC8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D80D91EF-CCBF-8526-DE6A-68D2AE2B50CD}"/>
                  </a:ext>
                </a:extLst>
              </p:cNvPr>
              <p:cNvSpPr/>
              <p:nvPr/>
            </p:nvSpPr>
            <p:spPr>
              <a:xfrm>
                <a:off x="1682224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3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A240F953-995F-7AB3-015B-5FC1B5857951}"/>
                  </a:ext>
                </a:extLst>
              </p:cNvPr>
              <p:cNvSpPr/>
              <p:nvPr/>
            </p:nvSpPr>
            <p:spPr>
              <a:xfrm>
                <a:off x="1682224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ADE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E10591EE-9CA9-7F04-216B-672D142E7A31}"/>
                  </a:ext>
                </a:extLst>
              </p:cNvPr>
              <p:cNvSpPr/>
              <p:nvPr/>
            </p:nvSpPr>
            <p:spPr>
              <a:xfrm>
                <a:off x="1682224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E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5C2CD2AA-7778-858B-0577-23FE3CC7954F}"/>
                  </a:ext>
                </a:extLst>
              </p:cNvPr>
              <p:cNvSpPr/>
              <p:nvPr/>
            </p:nvSpPr>
            <p:spPr>
              <a:xfrm>
                <a:off x="1682219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8F4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380F439F-596D-F8AD-43A9-43F8BB455426}"/>
                </a:ext>
              </a:extLst>
            </p:cNvPr>
            <p:cNvGrpSpPr/>
            <p:nvPr userDrawn="1"/>
          </p:nvGrpSpPr>
          <p:grpSpPr>
            <a:xfrm rot="16200000">
              <a:off x="5276052" y="-649354"/>
              <a:ext cx="181503" cy="907520"/>
              <a:chOff x="2226738" y="-1663170"/>
              <a:chExt cx="181503" cy="907520"/>
            </a:xfrm>
          </p:grpSpPr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7838E79E-5EAE-8BC4-B37D-B4043238142E}"/>
                  </a:ext>
                </a:extLst>
              </p:cNvPr>
              <p:cNvSpPr/>
              <p:nvPr/>
            </p:nvSpPr>
            <p:spPr>
              <a:xfrm>
                <a:off x="2226738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0670454E-EBED-0328-A78D-08B740491137}"/>
                  </a:ext>
                </a:extLst>
              </p:cNvPr>
              <p:cNvSpPr/>
              <p:nvPr/>
            </p:nvSpPr>
            <p:spPr>
              <a:xfrm>
                <a:off x="2226738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5757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615756CB-CD9F-03F4-804D-3BFFA533B984}"/>
                  </a:ext>
                </a:extLst>
              </p:cNvPr>
              <p:cNvSpPr/>
              <p:nvPr/>
            </p:nvSpPr>
            <p:spPr>
              <a:xfrm>
                <a:off x="2226738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8787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7AF482C6-0C9C-C0B5-7DC8-72318A0C4BEE}"/>
                  </a:ext>
                </a:extLst>
              </p:cNvPr>
              <p:cNvSpPr/>
              <p:nvPr/>
            </p:nvSpPr>
            <p:spPr>
              <a:xfrm>
                <a:off x="2226738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2B2B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49428D86-218B-F7CB-5A5D-55C05041C35F}"/>
                  </a:ext>
                </a:extLst>
              </p:cNvPr>
              <p:cNvSpPr/>
              <p:nvPr/>
            </p:nvSpPr>
            <p:spPr>
              <a:xfrm>
                <a:off x="2226738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DA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8E738DE7-A57A-AB7E-55AD-96B663233ED6}"/>
                </a:ext>
              </a:extLst>
            </p:cNvPr>
            <p:cNvGrpSpPr/>
            <p:nvPr userDrawn="1"/>
          </p:nvGrpSpPr>
          <p:grpSpPr>
            <a:xfrm rot="16200000">
              <a:off x="3310834" y="-649354"/>
              <a:ext cx="181503" cy="907520"/>
              <a:chOff x="1863727" y="-1663170"/>
              <a:chExt cx="181503" cy="907520"/>
            </a:xfrm>
          </p:grpSpPr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D3258B95-3FF2-C812-8E36-1867CFCF223B}"/>
                  </a:ext>
                </a:extLst>
              </p:cNvPr>
              <p:cNvSpPr/>
              <p:nvPr/>
            </p:nvSpPr>
            <p:spPr>
              <a:xfrm>
                <a:off x="1863727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2A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73C8B9D9-71F8-2FEB-5ADC-DA6D76E06D8D}"/>
                  </a:ext>
                </a:extLst>
              </p:cNvPr>
              <p:cNvSpPr/>
              <p:nvPr/>
            </p:nvSpPr>
            <p:spPr>
              <a:xfrm>
                <a:off x="1863727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5DB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379658CA-E69F-B0CA-60EC-18EA74FE9A55}"/>
                  </a:ext>
                </a:extLst>
              </p:cNvPr>
              <p:cNvSpPr/>
              <p:nvPr/>
            </p:nvSpPr>
            <p:spPr>
              <a:xfrm>
                <a:off x="1863727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8E4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A38E23CF-0C0D-E01C-D9AF-144D805C6ABC}"/>
                  </a:ext>
                </a:extLst>
              </p:cNvPr>
              <p:cNvSpPr/>
              <p:nvPr/>
            </p:nvSpPr>
            <p:spPr>
              <a:xfrm>
                <a:off x="1863727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ED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32850D5A-91B2-D676-BE8C-ABD376DC4A12}"/>
                  </a:ext>
                </a:extLst>
              </p:cNvPr>
              <p:cNvSpPr/>
              <p:nvPr/>
            </p:nvSpPr>
            <p:spPr>
              <a:xfrm>
                <a:off x="1863727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DF6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A86177C5-889D-227B-1AB7-AC9C8ED247FA}"/>
                </a:ext>
              </a:extLst>
            </p:cNvPr>
            <p:cNvGrpSpPr/>
            <p:nvPr userDrawn="1"/>
          </p:nvGrpSpPr>
          <p:grpSpPr>
            <a:xfrm rot="16200000">
              <a:off x="4293441" y="-649352"/>
              <a:ext cx="181508" cy="907520"/>
              <a:chOff x="2045230" y="-1663170"/>
              <a:chExt cx="181508" cy="907520"/>
            </a:xfrm>
          </p:grpSpPr>
          <p:sp>
            <p:nvSpPr>
              <p:cNvPr id="17" name="Freihandform: Form 16">
                <a:extLst>
                  <a:ext uri="{FF2B5EF4-FFF2-40B4-BE49-F238E27FC236}">
                    <a16:creationId xmlns:a16="http://schemas.microsoft.com/office/drawing/2014/main" id="{DEC65016-D28D-BA09-8998-7CD6718CF528}"/>
                  </a:ext>
                </a:extLst>
              </p:cNvPr>
              <p:cNvSpPr/>
              <p:nvPr/>
            </p:nvSpPr>
            <p:spPr>
              <a:xfrm>
                <a:off x="2045230" y="-937158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9F7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8C3DB3A7-FE40-181D-6A00-899F9820DFEA}"/>
                  </a:ext>
                </a:extLst>
              </p:cNvPr>
              <p:cNvSpPr/>
              <p:nvPr/>
            </p:nvSpPr>
            <p:spPr>
              <a:xfrm>
                <a:off x="2045230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FED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4A615BC5-1B6C-024A-CE72-B2B19C99FA7C}"/>
                  </a:ext>
                </a:extLst>
              </p:cNvPr>
              <p:cNvSpPr/>
              <p:nvPr/>
            </p:nvSpPr>
            <p:spPr>
              <a:xfrm>
                <a:off x="2045230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5E3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4C1CA16F-CCEC-2346-286F-5C7FC411C21B}"/>
                  </a:ext>
                </a:extLst>
              </p:cNvPr>
              <p:cNvSpPr/>
              <p:nvPr/>
            </p:nvSpPr>
            <p:spPr>
              <a:xfrm>
                <a:off x="2045230" y="-1663170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CFC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28570F64-0330-DE29-2CEF-8307548BAE0A}"/>
                  </a:ext>
                </a:extLst>
              </p:cNvPr>
              <p:cNvSpPr/>
              <p:nvPr/>
            </p:nvSpPr>
            <p:spPr>
              <a:xfrm>
                <a:off x="2045230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BD9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880862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eft (sand)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4F3038B-A581-D989-36D3-5A570DAE4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BB3E4D-AD3A-FB13-4183-F1304DD13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506196-5F3A-4BCE-13F3-D23CF53EF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‹Nr.›</a:t>
            </a:fld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1F18CD-83CE-3FB1-D5BE-B60FBED7E3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2" y="843892"/>
            <a:ext cx="10874373" cy="5510626"/>
          </a:xfrm>
        </p:spPr>
        <p:txBody>
          <a:bodyPr/>
          <a:lstStyle>
            <a:lvl1pPr>
              <a:lnSpc>
                <a:spcPct val="95000"/>
              </a:lnSpc>
              <a:spcAft>
                <a:spcPts val="2400"/>
              </a:spcAft>
              <a:defRPr sz="4000"/>
            </a:lvl1pPr>
            <a:lvl2pPr>
              <a:defRPr sz="2000"/>
            </a:lvl2pPr>
            <a:lvl5pPr>
              <a:defRPr/>
            </a:lvl5pPr>
          </a:lstStyle>
          <a:p>
            <a:pPr lvl="0"/>
            <a:r>
              <a:rPr lang="en-GB" noProof="0"/>
              <a:t>Level 1 (Big Text)</a:t>
            </a:r>
          </a:p>
          <a:p>
            <a:pPr lvl="1"/>
            <a:r>
              <a:rPr lang="en-GB" noProof="0"/>
              <a:t>Level 2 (Subline or Source)</a:t>
            </a:r>
          </a:p>
          <a:p>
            <a:pPr lvl="2"/>
            <a:r>
              <a:rPr lang="en-GB" noProof="0"/>
              <a:t>Level 3 (Copy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DC5B4513-FC3B-FF2B-085A-BC7D54521A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2" y="503482"/>
            <a:ext cx="8497887" cy="180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Chapter</a:t>
            </a:r>
          </a:p>
        </p:txBody>
      </p:sp>
    </p:spTree>
    <p:extLst>
      <p:ext uri="{BB962C8B-B14F-4D97-AF65-F5344CB8AC3E}">
        <p14:creationId xmlns:p14="http://schemas.microsoft.com/office/powerpoint/2010/main" val="19448656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0F3150A-FDE9-9F87-BC37-21C2ADD60922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0415668" y="503483"/>
            <a:ext cx="1289916" cy="180000"/>
            <a:chOff x="-161925" y="-1630732"/>
            <a:chExt cx="12193587" cy="1701544"/>
          </a:xfrm>
          <a:solidFill>
            <a:schemeClr val="accent2"/>
          </a:solidFill>
        </p:grpSpPr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D4E665DD-DD1F-173E-2520-3568328BB447}"/>
                </a:ext>
              </a:extLst>
            </p:cNvPr>
            <p:cNvSpPr/>
            <p:nvPr/>
          </p:nvSpPr>
          <p:spPr bwMode="gray">
            <a:xfrm>
              <a:off x="10774928" y="-1247713"/>
              <a:ext cx="1256734" cy="356304"/>
            </a:xfrm>
            <a:custGeom>
              <a:avLst/>
              <a:gdLst>
                <a:gd name="connsiteX0" fmla="*/ 1226823 w 1256734"/>
                <a:gd name="connsiteY0" fmla="*/ 269166 h 356304"/>
                <a:gd name="connsiteX1" fmla="*/ 1133491 w 1256734"/>
                <a:gd name="connsiteY1" fmla="*/ 316610 h 356304"/>
                <a:gd name="connsiteX2" fmla="*/ 1010248 w 1256734"/>
                <a:gd name="connsiteY2" fmla="*/ 178448 h 356304"/>
                <a:gd name="connsiteX3" fmla="*/ 1131426 w 1256734"/>
                <a:gd name="connsiteY3" fmla="*/ 39696 h 356304"/>
                <a:gd name="connsiteX4" fmla="*/ 1226823 w 1256734"/>
                <a:gd name="connsiteY4" fmla="*/ 86659 h 356304"/>
                <a:gd name="connsiteX5" fmla="*/ 1256735 w 1256734"/>
                <a:gd name="connsiteY5" fmla="*/ 58823 h 356304"/>
                <a:gd name="connsiteX6" fmla="*/ 1216553 w 1256734"/>
                <a:gd name="connsiteY6" fmla="*/ 23241 h 356304"/>
                <a:gd name="connsiteX7" fmla="*/ 1130420 w 1256734"/>
                <a:gd name="connsiteY7" fmla="*/ 0 h 356304"/>
                <a:gd name="connsiteX8" fmla="*/ 965885 w 1256734"/>
                <a:gd name="connsiteY8" fmla="*/ 178448 h 356304"/>
                <a:gd name="connsiteX9" fmla="*/ 1011783 w 1256734"/>
                <a:gd name="connsiteY9" fmla="*/ 305763 h 356304"/>
                <a:gd name="connsiteX10" fmla="*/ 1129892 w 1256734"/>
                <a:gd name="connsiteY10" fmla="*/ 356305 h 356304"/>
                <a:gd name="connsiteX11" fmla="*/ 1255676 w 1256734"/>
                <a:gd name="connsiteY11" fmla="*/ 298071 h 356304"/>
                <a:gd name="connsiteX12" fmla="*/ 1226823 w 1256734"/>
                <a:gd name="connsiteY12" fmla="*/ 269166 h 356304"/>
                <a:gd name="connsiteX13" fmla="*/ 679216 w 1256734"/>
                <a:gd name="connsiteY13" fmla="*/ 197999 h 356304"/>
                <a:gd name="connsiteX14" fmla="*/ 846824 w 1256734"/>
                <a:gd name="connsiteY14" fmla="*/ 197999 h 356304"/>
                <a:gd name="connsiteX15" fmla="*/ 846824 w 1256734"/>
                <a:gd name="connsiteY15" fmla="*/ 350105 h 356304"/>
                <a:gd name="connsiteX16" fmla="*/ 890075 w 1256734"/>
                <a:gd name="connsiteY16" fmla="*/ 350105 h 356304"/>
                <a:gd name="connsiteX17" fmla="*/ 890075 w 1256734"/>
                <a:gd name="connsiteY17" fmla="*/ 6198 h 356304"/>
                <a:gd name="connsiteX18" fmla="*/ 846824 w 1256734"/>
                <a:gd name="connsiteY18" fmla="*/ 6198 h 356304"/>
                <a:gd name="connsiteX19" fmla="*/ 846824 w 1256734"/>
                <a:gd name="connsiteY19" fmla="*/ 160920 h 356304"/>
                <a:gd name="connsiteX20" fmla="*/ 679216 w 1256734"/>
                <a:gd name="connsiteY20" fmla="*/ 160920 h 356304"/>
                <a:gd name="connsiteX21" fmla="*/ 679216 w 1256734"/>
                <a:gd name="connsiteY21" fmla="*/ 6198 h 356304"/>
                <a:gd name="connsiteX22" fmla="*/ 635912 w 1256734"/>
                <a:gd name="connsiteY22" fmla="*/ 6198 h 356304"/>
                <a:gd name="connsiteX23" fmla="*/ 635912 w 1256734"/>
                <a:gd name="connsiteY23" fmla="*/ 350105 h 356304"/>
                <a:gd name="connsiteX24" fmla="*/ 679216 w 1256734"/>
                <a:gd name="connsiteY24" fmla="*/ 350105 h 356304"/>
                <a:gd name="connsiteX25" fmla="*/ 679216 w 1256734"/>
                <a:gd name="connsiteY25" fmla="*/ 197999 h 356304"/>
                <a:gd name="connsiteX26" fmla="*/ 392018 w 1256734"/>
                <a:gd name="connsiteY26" fmla="*/ 40230 h 356304"/>
                <a:gd name="connsiteX27" fmla="*/ 476563 w 1256734"/>
                <a:gd name="connsiteY27" fmla="*/ 75813 h 356304"/>
                <a:gd name="connsiteX28" fmla="*/ 515792 w 1256734"/>
                <a:gd name="connsiteY28" fmla="*/ 181011 h 356304"/>
                <a:gd name="connsiteX29" fmla="*/ 482758 w 1256734"/>
                <a:gd name="connsiteY29" fmla="*/ 275365 h 356304"/>
                <a:gd name="connsiteX30" fmla="*/ 390960 w 1256734"/>
                <a:gd name="connsiteY30" fmla="*/ 316610 h 356304"/>
                <a:gd name="connsiteX31" fmla="*/ 267239 w 1256734"/>
                <a:gd name="connsiteY31" fmla="*/ 178448 h 356304"/>
                <a:gd name="connsiteX32" fmla="*/ 392018 w 1256734"/>
                <a:gd name="connsiteY32" fmla="*/ 40230 h 356304"/>
                <a:gd name="connsiteX33" fmla="*/ 393077 w 1256734"/>
                <a:gd name="connsiteY33" fmla="*/ 0 h 356304"/>
                <a:gd name="connsiteX34" fmla="*/ 222876 w 1256734"/>
                <a:gd name="connsiteY34" fmla="*/ 179994 h 356304"/>
                <a:gd name="connsiteX35" fmla="*/ 258982 w 1256734"/>
                <a:gd name="connsiteY35" fmla="*/ 291872 h 356304"/>
                <a:gd name="connsiteX36" fmla="*/ 392018 w 1256734"/>
                <a:gd name="connsiteY36" fmla="*/ 356305 h 356304"/>
                <a:gd name="connsiteX37" fmla="*/ 501868 w 1256734"/>
                <a:gd name="connsiteY37" fmla="*/ 315059 h 356304"/>
                <a:gd name="connsiteX38" fmla="*/ 560155 w 1256734"/>
                <a:gd name="connsiteY38" fmla="*/ 181545 h 356304"/>
                <a:gd name="connsiteX39" fmla="*/ 519921 w 1256734"/>
                <a:gd name="connsiteY39" fmla="*/ 59304 h 356304"/>
                <a:gd name="connsiteX40" fmla="*/ 393077 w 1256734"/>
                <a:gd name="connsiteY40" fmla="*/ 0 h 356304"/>
                <a:gd name="connsiteX41" fmla="*/ 43306 w 1256734"/>
                <a:gd name="connsiteY41" fmla="*/ 310946 h 356304"/>
                <a:gd name="connsiteX42" fmla="*/ 43306 w 1256734"/>
                <a:gd name="connsiteY42" fmla="*/ 6198 h 356304"/>
                <a:gd name="connsiteX43" fmla="*/ 0 w 1256734"/>
                <a:gd name="connsiteY43" fmla="*/ 6198 h 356304"/>
                <a:gd name="connsiteX44" fmla="*/ 0 w 1256734"/>
                <a:gd name="connsiteY44" fmla="*/ 350105 h 356304"/>
                <a:gd name="connsiteX45" fmla="*/ 194237 w 1256734"/>
                <a:gd name="connsiteY45" fmla="*/ 350105 h 356304"/>
                <a:gd name="connsiteX46" fmla="*/ 194237 w 1256734"/>
                <a:gd name="connsiteY46" fmla="*/ 310946 h 356304"/>
                <a:gd name="connsiteX47" fmla="*/ 43306 w 1256734"/>
                <a:gd name="connsiteY47" fmla="*/ 310946 h 356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256734" h="356304">
                  <a:moveTo>
                    <a:pt x="1226823" y="269166"/>
                  </a:moveTo>
                  <a:cubicBezTo>
                    <a:pt x="1200037" y="301650"/>
                    <a:pt x="1171131" y="316610"/>
                    <a:pt x="1133491" y="316610"/>
                  </a:cubicBezTo>
                  <a:cubicBezTo>
                    <a:pt x="1062341" y="316610"/>
                    <a:pt x="1010248" y="258371"/>
                    <a:pt x="1010248" y="178448"/>
                  </a:cubicBezTo>
                  <a:cubicBezTo>
                    <a:pt x="1010248" y="97985"/>
                    <a:pt x="1061334" y="39696"/>
                    <a:pt x="1131426" y="39696"/>
                  </a:cubicBezTo>
                  <a:cubicBezTo>
                    <a:pt x="1168008" y="39696"/>
                    <a:pt x="1193313" y="52092"/>
                    <a:pt x="1226823" y="86659"/>
                  </a:cubicBezTo>
                  <a:lnTo>
                    <a:pt x="1256735" y="58823"/>
                  </a:lnTo>
                  <a:cubicBezTo>
                    <a:pt x="1239742" y="40230"/>
                    <a:pt x="1230424" y="32003"/>
                    <a:pt x="1216553" y="23241"/>
                  </a:cubicBezTo>
                  <a:cubicBezTo>
                    <a:pt x="1191725" y="8281"/>
                    <a:pt x="1161338" y="0"/>
                    <a:pt x="1130420" y="0"/>
                  </a:cubicBezTo>
                  <a:cubicBezTo>
                    <a:pt x="1035500" y="0"/>
                    <a:pt x="965885" y="75279"/>
                    <a:pt x="965885" y="178448"/>
                  </a:cubicBezTo>
                  <a:cubicBezTo>
                    <a:pt x="965885" y="226369"/>
                    <a:pt x="982931" y="273279"/>
                    <a:pt x="1011783" y="305763"/>
                  </a:cubicBezTo>
                  <a:cubicBezTo>
                    <a:pt x="1041165" y="338782"/>
                    <a:pt x="1081928" y="356305"/>
                    <a:pt x="1129892" y="356305"/>
                  </a:cubicBezTo>
                  <a:cubicBezTo>
                    <a:pt x="1182990" y="356305"/>
                    <a:pt x="1221107" y="338782"/>
                    <a:pt x="1255676" y="298071"/>
                  </a:cubicBezTo>
                  <a:lnTo>
                    <a:pt x="1226823" y="269166"/>
                  </a:lnTo>
                  <a:close/>
                  <a:moveTo>
                    <a:pt x="679216" y="197999"/>
                  </a:moveTo>
                  <a:lnTo>
                    <a:pt x="846824" y="197999"/>
                  </a:lnTo>
                  <a:lnTo>
                    <a:pt x="846824" y="350105"/>
                  </a:lnTo>
                  <a:lnTo>
                    <a:pt x="890075" y="350105"/>
                  </a:lnTo>
                  <a:lnTo>
                    <a:pt x="890075" y="6198"/>
                  </a:lnTo>
                  <a:lnTo>
                    <a:pt x="846824" y="6198"/>
                  </a:lnTo>
                  <a:lnTo>
                    <a:pt x="846824" y="160920"/>
                  </a:lnTo>
                  <a:lnTo>
                    <a:pt x="679216" y="160920"/>
                  </a:lnTo>
                  <a:lnTo>
                    <a:pt x="679216" y="6198"/>
                  </a:lnTo>
                  <a:lnTo>
                    <a:pt x="635912" y="6198"/>
                  </a:lnTo>
                  <a:lnTo>
                    <a:pt x="635912" y="350105"/>
                  </a:lnTo>
                  <a:lnTo>
                    <a:pt x="679216" y="350105"/>
                  </a:lnTo>
                  <a:lnTo>
                    <a:pt x="679216" y="197999"/>
                  </a:lnTo>
                  <a:close/>
                  <a:moveTo>
                    <a:pt x="392018" y="40230"/>
                  </a:moveTo>
                  <a:cubicBezTo>
                    <a:pt x="422459" y="40230"/>
                    <a:pt x="453904" y="53641"/>
                    <a:pt x="476563" y="75813"/>
                  </a:cubicBezTo>
                  <a:cubicBezTo>
                    <a:pt x="503404" y="101618"/>
                    <a:pt x="515792" y="135117"/>
                    <a:pt x="515792" y="181011"/>
                  </a:cubicBezTo>
                  <a:cubicBezTo>
                    <a:pt x="515792" y="216057"/>
                    <a:pt x="502874" y="253189"/>
                    <a:pt x="482758" y="275365"/>
                  </a:cubicBezTo>
                  <a:cubicBezTo>
                    <a:pt x="459569" y="301650"/>
                    <a:pt x="425530" y="316610"/>
                    <a:pt x="390960" y="316610"/>
                  </a:cubicBezTo>
                  <a:cubicBezTo>
                    <a:pt x="319809" y="316610"/>
                    <a:pt x="267239" y="258371"/>
                    <a:pt x="267239" y="178448"/>
                  </a:cubicBezTo>
                  <a:cubicBezTo>
                    <a:pt x="267239" y="99000"/>
                    <a:pt x="320338" y="40230"/>
                    <a:pt x="392018" y="40230"/>
                  </a:cubicBezTo>
                  <a:moveTo>
                    <a:pt x="393077" y="0"/>
                  </a:moveTo>
                  <a:cubicBezTo>
                    <a:pt x="295615" y="0"/>
                    <a:pt x="222876" y="77362"/>
                    <a:pt x="222876" y="179994"/>
                  </a:cubicBezTo>
                  <a:cubicBezTo>
                    <a:pt x="222876" y="223273"/>
                    <a:pt x="235318" y="261956"/>
                    <a:pt x="258982" y="291872"/>
                  </a:cubicBezTo>
                  <a:cubicBezTo>
                    <a:pt x="290957" y="332101"/>
                    <a:pt x="340985" y="356305"/>
                    <a:pt x="392018" y="356305"/>
                  </a:cubicBezTo>
                  <a:cubicBezTo>
                    <a:pt x="431723" y="356305"/>
                    <a:pt x="470899" y="341879"/>
                    <a:pt x="501868" y="315059"/>
                  </a:cubicBezTo>
                  <a:cubicBezTo>
                    <a:pt x="539509" y="283110"/>
                    <a:pt x="560155" y="235131"/>
                    <a:pt x="560155" y="181545"/>
                  </a:cubicBezTo>
                  <a:cubicBezTo>
                    <a:pt x="560155" y="129935"/>
                    <a:pt x="547715" y="91788"/>
                    <a:pt x="519921" y="59304"/>
                  </a:cubicBezTo>
                  <a:cubicBezTo>
                    <a:pt x="486886" y="21691"/>
                    <a:pt x="440988" y="0"/>
                    <a:pt x="393077" y="0"/>
                  </a:cubicBezTo>
                  <a:moveTo>
                    <a:pt x="43306" y="310946"/>
                  </a:moveTo>
                  <a:lnTo>
                    <a:pt x="43306" y="6198"/>
                  </a:lnTo>
                  <a:lnTo>
                    <a:pt x="0" y="6198"/>
                  </a:lnTo>
                  <a:lnTo>
                    <a:pt x="0" y="350105"/>
                  </a:lnTo>
                  <a:lnTo>
                    <a:pt x="194237" y="350105"/>
                  </a:lnTo>
                  <a:lnTo>
                    <a:pt x="194237" y="310946"/>
                  </a:lnTo>
                  <a:lnTo>
                    <a:pt x="43306" y="310946"/>
                  </a:lnTo>
                  <a:close/>
                </a:path>
              </a:pathLst>
            </a:custGeom>
            <a:solidFill>
              <a:schemeClr val="accent2"/>
            </a:solidFill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7A5BAAFD-E8A0-7F99-C4A6-DBE91AAE4F60}"/>
                </a:ext>
              </a:extLst>
            </p:cNvPr>
            <p:cNvSpPr/>
            <p:nvPr/>
          </p:nvSpPr>
          <p:spPr bwMode="gray">
            <a:xfrm>
              <a:off x="-161925" y="-1630732"/>
              <a:ext cx="10575647" cy="1701544"/>
            </a:xfrm>
            <a:custGeom>
              <a:avLst/>
              <a:gdLst>
                <a:gd name="connsiteX0" fmla="*/ 7802033 w 10575647"/>
                <a:gd name="connsiteY0" fmla="*/ 380187 h 1701544"/>
                <a:gd name="connsiteX1" fmla="*/ 7621138 w 10575647"/>
                <a:gd name="connsiteY1" fmla="*/ 380187 h 1701544"/>
                <a:gd name="connsiteX2" fmla="*/ 7621138 w 10575647"/>
                <a:gd name="connsiteY2" fmla="*/ 1271563 h 1701544"/>
                <a:gd name="connsiteX3" fmla="*/ 7802033 w 10575647"/>
                <a:gd name="connsiteY3" fmla="*/ 1271563 h 1701544"/>
                <a:gd name="connsiteX4" fmla="*/ 7802033 w 10575647"/>
                <a:gd name="connsiteY4" fmla="*/ 380187 h 1701544"/>
                <a:gd name="connsiteX5" fmla="*/ 706522 w 10575647"/>
                <a:gd name="connsiteY5" fmla="*/ 1271563 h 1701544"/>
                <a:gd name="connsiteX6" fmla="*/ 902065 w 10575647"/>
                <a:gd name="connsiteY6" fmla="*/ 1271563 h 1701544"/>
                <a:gd name="connsiteX7" fmla="*/ 902065 w 10575647"/>
                <a:gd name="connsiteY7" fmla="*/ 0 h 1701544"/>
                <a:gd name="connsiteX8" fmla="*/ 706522 w 10575647"/>
                <a:gd name="connsiteY8" fmla="*/ 0 h 1701544"/>
                <a:gd name="connsiteX9" fmla="*/ 706522 w 10575647"/>
                <a:gd name="connsiteY9" fmla="*/ 553717 h 1701544"/>
                <a:gd name="connsiteX10" fmla="*/ 195543 w 10575647"/>
                <a:gd name="connsiteY10" fmla="*/ 553717 h 1701544"/>
                <a:gd name="connsiteX11" fmla="*/ 195543 w 10575647"/>
                <a:gd name="connsiteY11" fmla="*/ 0 h 1701544"/>
                <a:gd name="connsiteX12" fmla="*/ 0 w 10575647"/>
                <a:gd name="connsiteY12" fmla="*/ 0 h 1701544"/>
                <a:gd name="connsiteX13" fmla="*/ 0 w 10575647"/>
                <a:gd name="connsiteY13" fmla="*/ 1271563 h 1701544"/>
                <a:gd name="connsiteX14" fmla="*/ 195543 w 10575647"/>
                <a:gd name="connsiteY14" fmla="*/ 1271563 h 1701544"/>
                <a:gd name="connsiteX15" fmla="*/ 195543 w 10575647"/>
                <a:gd name="connsiteY15" fmla="*/ 727142 h 1701544"/>
                <a:gd name="connsiteX16" fmla="*/ 706522 w 10575647"/>
                <a:gd name="connsiteY16" fmla="*/ 727142 h 1701544"/>
                <a:gd name="connsiteX17" fmla="*/ 706522 w 10575647"/>
                <a:gd name="connsiteY17" fmla="*/ 1271563 h 1701544"/>
                <a:gd name="connsiteX18" fmla="*/ 1306185 w 10575647"/>
                <a:gd name="connsiteY18" fmla="*/ 1690649 h 1701544"/>
                <a:gd name="connsiteX19" fmla="*/ 1654904 w 10575647"/>
                <a:gd name="connsiteY19" fmla="*/ 1036061 h 1701544"/>
                <a:gd name="connsiteX20" fmla="*/ 1306185 w 10575647"/>
                <a:gd name="connsiteY20" fmla="*/ 381469 h 1701544"/>
                <a:gd name="connsiteX21" fmla="*/ 1090234 w 10575647"/>
                <a:gd name="connsiteY21" fmla="*/ 381469 h 1701544"/>
                <a:gd name="connsiteX22" fmla="*/ 1438900 w 10575647"/>
                <a:gd name="connsiteY22" fmla="*/ 1036061 h 1701544"/>
                <a:gd name="connsiteX23" fmla="*/ 1090234 w 10575647"/>
                <a:gd name="connsiteY23" fmla="*/ 1690649 h 1701544"/>
                <a:gd name="connsiteX24" fmla="*/ 1306185 w 10575647"/>
                <a:gd name="connsiteY24" fmla="*/ 1690649 h 1701544"/>
                <a:gd name="connsiteX25" fmla="*/ 2581808 w 10575647"/>
                <a:gd name="connsiteY25" fmla="*/ 828654 h 1701544"/>
                <a:gd name="connsiteX26" fmla="*/ 2317883 w 10575647"/>
                <a:gd name="connsiteY26" fmla="*/ 1129505 h 1701544"/>
                <a:gd name="connsiteX27" fmla="*/ 2065011 w 10575647"/>
                <a:gd name="connsiteY27" fmla="*/ 832338 h 1701544"/>
                <a:gd name="connsiteX28" fmla="*/ 2327068 w 10575647"/>
                <a:gd name="connsiteY28" fmla="*/ 525990 h 1701544"/>
                <a:gd name="connsiteX29" fmla="*/ 2581808 w 10575647"/>
                <a:gd name="connsiteY29" fmla="*/ 828654 h 1701544"/>
                <a:gd name="connsiteX30" fmla="*/ 2581808 w 10575647"/>
                <a:gd name="connsiteY30" fmla="*/ 1271563 h 1701544"/>
                <a:gd name="connsiteX31" fmla="*/ 2762608 w 10575647"/>
                <a:gd name="connsiteY31" fmla="*/ 1271563 h 1701544"/>
                <a:gd name="connsiteX32" fmla="*/ 2762608 w 10575647"/>
                <a:gd name="connsiteY32" fmla="*/ 0 h 1701544"/>
                <a:gd name="connsiteX33" fmla="*/ 2581808 w 10575647"/>
                <a:gd name="connsiteY33" fmla="*/ 0 h 1701544"/>
                <a:gd name="connsiteX34" fmla="*/ 2581808 w 10575647"/>
                <a:gd name="connsiteY34" fmla="*/ 476356 h 1701544"/>
                <a:gd name="connsiteX35" fmla="*/ 2297581 w 10575647"/>
                <a:gd name="connsiteY35" fmla="*/ 359885 h 1701544"/>
                <a:gd name="connsiteX36" fmla="*/ 1876785 w 10575647"/>
                <a:gd name="connsiteY36" fmla="*/ 830470 h 1701544"/>
                <a:gd name="connsiteX37" fmla="*/ 2297581 w 10575647"/>
                <a:gd name="connsiteY37" fmla="*/ 1291865 h 1701544"/>
                <a:gd name="connsiteX38" fmla="*/ 2581808 w 10575647"/>
                <a:gd name="connsiteY38" fmla="*/ 1163217 h 1701544"/>
                <a:gd name="connsiteX39" fmla="*/ 2581808 w 10575647"/>
                <a:gd name="connsiteY39" fmla="*/ 1271563 h 1701544"/>
                <a:gd name="connsiteX40" fmla="*/ 3437445 w 10575647"/>
                <a:gd name="connsiteY40" fmla="*/ 542393 h 1701544"/>
                <a:gd name="connsiteX41" fmla="*/ 3460310 w 10575647"/>
                <a:gd name="connsiteY41" fmla="*/ 545331 h 1701544"/>
                <a:gd name="connsiteX42" fmla="*/ 3460310 w 10575647"/>
                <a:gd name="connsiteY42" fmla="*/ 359885 h 1701544"/>
                <a:gd name="connsiteX43" fmla="*/ 3406830 w 10575647"/>
                <a:gd name="connsiteY43" fmla="*/ 359885 h 1701544"/>
                <a:gd name="connsiteX44" fmla="*/ 3231965 w 10575647"/>
                <a:gd name="connsiteY44" fmla="*/ 415877 h 1701544"/>
                <a:gd name="connsiteX45" fmla="*/ 3187194 w 10575647"/>
                <a:gd name="connsiteY45" fmla="*/ 462091 h 1701544"/>
                <a:gd name="connsiteX46" fmla="*/ 3187194 w 10575647"/>
                <a:gd name="connsiteY46" fmla="*/ 380187 h 1701544"/>
                <a:gd name="connsiteX47" fmla="*/ 3006395 w 10575647"/>
                <a:gd name="connsiteY47" fmla="*/ 380187 h 1701544"/>
                <a:gd name="connsiteX48" fmla="*/ 3006395 w 10575647"/>
                <a:gd name="connsiteY48" fmla="*/ 1271563 h 1701544"/>
                <a:gd name="connsiteX49" fmla="*/ 3187194 w 10575647"/>
                <a:gd name="connsiteY49" fmla="*/ 1271563 h 1701544"/>
                <a:gd name="connsiteX50" fmla="*/ 3187194 w 10575647"/>
                <a:gd name="connsiteY50" fmla="*/ 819411 h 1701544"/>
                <a:gd name="connsiteX51" fmla="*/ 3233517 w 10575647"/>
                <a:gd name="connsiteY51" fmla="*/ 629638 h 1701544"/>
                <a:gd name="connsiteX52" fmla="*/ 3401277 w 10575647"/>
                <a:gd name="connsiteY52" fmla="*/ 540683 h 1701544"/>
                <a:gd name="connsiteX53" fmla="*/ 3437445 w 10575647"/>
                <a:gd name="connsiteY53" fmla="*/ 542393 h 1701544"/>
                <a:gd name="connsiteX54" fmla="*/ 4250980 w 10575647"/>
                <a:gd name="connsiteY54" fmla="*/ 826838 h 1701544"/>
                <a:gd name="connsiteX55" fmla="*/ 3983364 w 10575647"/>
                <a:gd name="connsiteY55" fmla="*/ 1122077 h 1701544"/>
                <a:gd name="connsiteX56" fmla="*/ 3713875 w 10575647"/>
                <a:gd name="connsiteY56" fmla="*/ 826838 h 1701544"/>
                <a:gd name="connsiteX57" fmla="*/ 3985180 w 10575647"/>
                <a:gd name="connsiteY57" fmla="*/ 529677 h 1701544"/>
                <a:gd name="connsiteX58" fmla="*/ 4250980 w 10575647"/>
                <a:gd name="connsiteY58" fmla="*/ 826838 h 1701544"/>
                <a:gd name="connsiteX59" fmla="*/ 4435464 w 10575647"/>
                <a:gd name="connsiteY59" fmla="*/ 828654 h 1701544"/>
                <a:gd name="connsiteX60" fmla="*/ 3985180 w 10575647"/>
                <a:gd name="connsiteY60" fmla="*/ 359885 h 1701544"/>
                <a:gd name="connsiteX61" fmla="*/ 3529338 w 10575647"/>
                <a:gd name="connsiteY61" fmla="*/ 824916 h 1701544"/>
                <a:gd name="connsiteX62" fmla="*/ 3979622 w 10575647"/>
                <a:gd name="connsiteY62" fmla="*/ 1291865 h 1701544"/>
                <a:gd name="connsiteX63" fmla="*/ 4435464 w 10575647"/>
                <a:gd name="connsiteY63" fmla="*/ 828654 h 1701544"/>
                <a:gd name="connsiteX64" fmla="*/ 5261608 w 10575647"/>
                <a:gd name="connsiteY64" fmla="*/ 828654 h 1701544"/>
                <a:gd name="connsiteX65" fmla="*/ 5205508 w 10575647"/>
                <a:gd name="connsiteY65" fmla="*/ 1025854 h 1701544"/>
                <a:gd name="connsiteX66" fmla="*/ 5005052 w 10575647"/>
                <a:gd name="connsiteY66" fmla="*/ 1122077 h 1701544"/>
                <a:gd name="connsiteX67" fmla="*/ 4746675 w 10575647"/>
                <a:gd name="connsiteY67" fmla="*/ 823153 h 1701544"/>
                <a:gd name="connsiteX68" fmla="*/ 5008683 w 10575647"/>
                <a:gd name="connsiteY68" fmla="*/ 529677 h 1701544"/>
                <a:gd name="connsiteX69" fmla="*/ 5200378 w 10575647"/>
                <a:gd name="connsiteY69" fmla="*/ 617081 h 1701544"/>
                <a:gd name="connsiteX70" fmla="*/ 5261608 w 10575647"/>
                <a:gd name="connsiteY70" fmla="*/ 828654 h 1701544"/>
                <a:gd name="connsiteX71" fmla="*/ 5327264 w 10575647"/>
                <a:gd name="connsiteY71" fmla="*/ 1583314 h 1701544"/>
                <a:gd name="connsiteX72" fmla="*/ 5446113 w 10575647"/>
                <a:gd name="connsiteY72" fmla="*/ 1256819 h 1701544"/>
                <a:gd name="connsiteX73" fmla="*/ 5446113 w 10575647"/>
                <a:gd name="connsiteY73" fmla="*/ 380187 h 1701544"/>
                <a:gd name="connsiteX74" fmla="*/ 5265239 w 10575647"/>
                <a:gd name="connsiteY74" fmla="*/ 380187 h 1701544"/>
                <a:gd name="connsiteX75" fmla="*/ 5265239 w 10575647"/>
                <a:gd name="connsiteY75" fmla="*/ 488537 h 1701544"/>
                <a:gd name="connsiteX76" fmla="*/ 4982875 w 10575647"/>
                <a:gd name="connsiteY76" fmla="*/ 359885 h 1701544"/>
                <a:gd name="connsiteX77" fmla="*/ 4699394 w 10575647"/>
                <a:gd name="connsiteY77" fmla="*/ 465190 h 1701544"/>
                <a:gd name="connsiteX78" fmla="*/ 4558400 w 10575647"/>
                <a:gd name="connsiteY78" fmla="*/ 828654 h 1701544"/>
                <a:gd name="connsiteX79" fmla="*/ 4971816 w 10575647"/>
                <a:gd name="connsiteY79" fmla="*/ 1291865 h 1701544"/>
                <a:gd name="connsiteX80" fmla="*/ 5265239 w 10575647"/>
                <a:gd name="connsiteY80" fmla="*/ 1150553 h 1701544"/>
                <a:gd name="connsiteX81" fmla="*/ 5265239 w 10575647"/>
                <a:gd name="connsiteY81" fmla="*/ 1267931 h 1701544"/>
                <a:gd name="connsiteX82" fmla="*/ 5206095 w 10575647"/>
                <a:gd name="connsiteY82" fmla="*/ 1457116 h 1701544"/>
                <a:gd name="connsiteX83" fmla="*/ 4999546 w 10575647"/>
                <a:gd name="connsiteY83" fmla="*/ 1533625 h 1701544"/>
                <a:gd name="connsiteX84" fmla="*/ 4811695 w 10575647"/>
                <a:gd name="connsiteY84" fmla="*/ 1487409 h 1701544"/>
                <a:gd name="connsiteX85" fmla="*/ 4733588 w 10575647"/>
                <a:gd name="connsiteY85" fmla="*/ 1416300 h 1701544"/>
                <a:gd name="connsiteX86" fmla="*/ 4719215 w 10575647"/>
                <a:gd name="connsiteY86" fmla="*/ 1401339 h 1701544"/>
                <a:gd name="connsiteX87" fmla="*/ 4595103 w 10575647"/>
                <a:gd name="connsiteY87" fmla="*/ 1525451 h 1701544"/>
                <a:gd name="connsiteX88" fmla="*/ 4607819 w 10575647"/>
                <a:gd name="connsiteY88" fmla="*/ 1539824 h 1701544"/>
                <a:gd name="connsiteX89" fmla="*/ 4999546 w 10575647"/>
                <a:gd name="connsiteY89" fmla="*/ 1701544 h 1701544"/>
                <a:gd name="connsiteX90" fmla="*/ 5327264 w 10575647"/>
                <a:gd name="connsiteY90" fmla="*/ 1583314 h 1701544"/>
                <a:gd name="connsiteX91" fmla="*/ 6317923 w 10575647"/>
                <a:gd name="connsiteY91" fmla="*/ 747497 h 1701544"/>
                <a:gd name="connsiteX92" fmla="*/ 5805203 w 10575647"/>
                <a:gd name="connsiteY92" fmla="*/ 747497 h 1701544"/>
                <a:gd name="connsiteX93" fmla="*/ 5845913 w 10575647"/>
                <a:gd name="connsiteY93" fmla="*/ 635144 h 1701544"/>
                <a:gd name="connsiteX94" fmla="*/ 6057989 w 10575647"/>
                <a:gd name="connsiteY94" fmla="*/ 525990 h 1701544"/>
                <a:gd name="connsiteX95" fmla="*/ 6275730 w 10575647"/>
                <a:gd name="connsiteY95" fmla="*/ 633487 h 1701544"/>
                <a:gd name="connsiteX96" fmla="*/ 6317923 w 10575647"/>
                <a:gd name="connsiteY96" fmla="*/ 747497 h 1701544"/>
                <a:gd name="connsiteX97" fmla="*/ 6508188 w 10575647"/>
                <a:gd name="connsiteY97" fmla="*/ 872890 h 1701544"/>
                <a:gd name="connsiteX98" fmla="*/ 6510094 w 10575647"/>
                <a:gd name="connsiteY98" fmla="*/ 815779 h 1701544"/>
                <a:gd name="connsiteX99" fmla="*/ 6057989 w 10575647"/>
                <a:gd name="connsiteY99" fmla="*/ 359885 h 1701544"/>
                <a:gd name="connsiteX100" fmla="*/ 5609538 w 10575647"/>
                <a:gd name="connsiteY100" fmla="*/ 828654 h 1701544"/>
                <a:gd name="connsiteX101" fmla="*/ 6063495 w 10575647"/>
                <a:gd name="connsiteY101" fmla="*/ 1291865 h 1701544"/>
                <a:gd name="connsiteX102" fmla="*/ 6460066 w 10575647"/>
                <a:gd name="connsiteY102" fmla="*/ 1051710 h 1701544"/>
                <a:gd name="connsiteX103" fmla="*/ 6469966 w 10575647"/>
                <a:gd name="connsiteY103" fmla="*/ 1031572 h 1701544"/>
                <a:gd name="connsiteX104" fmla="*/ 6308923 w 10575647"/>
                <a:gd name="connsiteY104" fmla="*/ 971517 h 1701544"/>
                <a:gd name="connsiteX105" fmla="*/ 6300559 w 10575647"/>
                <a:gd name="connsiteY105" fmla="*/ 986689 h 1701544"/>
                <a:gd name="connsiteX106" fmla="*/ 6063495 w 10575647"/>
                <a:gd name="connsiteY106" fmla="*/ 1122077 h 1701544"/>
                <a:gd name="connsiteX107" fmla="*/ 5850784 w 10575647"/>
                <a:gd name="connsiteY107" fmla="*/ 1013832 h 1701544"/>
                <a:gd name="connsiteX108" fmla="*/ 5802132 w 10575647"/>
                <a:gd name="connsiteY108" fmla="*/ 891377 h 1701544"/>
                <a:gd name="connsiteX109" fmla="*/ 6506547 w 10575647"/>
                <a:gd name="connsiteY109" fmla="*/ 891377 h 1701544"/>
                <a:gd name="connsiteX110" fmla="*/ 6508188 w 10575647"/>
                <a:gd name="connsiteY110" fmla="*/ 872890 h 1701544"/>
                <a:gd name="connsiteX111" fmla="*/ 7205139 w 10575647"/>
                <a:gd name="connsiteY111" fmla="*/ 1271563 h 1701544"/>
                <a:gd name="connsiteX112" fmla="*/ 7385928 w 10575647"/>
                <a:gd name="connsiteY112" fmla="*/ 1271563 h 1701544"/>
                <a:gd name="connsiteX113" fmla="*/ 7385928 w 10575647"/>
                <a:gd name="connsiteY113" fmla="*/ 677294 h 1701544"/>
                <a:gd name="connsiteX114" fmla="*/ 7307154 w 10575647"/>
                <a:gd name="connsiteY114" fmla="*/ 435163 h 1701544"/>
                <a:gd name="connsiteX115" fmla="*/ 7096189 w 10575647"/>
                <a:gd name="connsiteY115" fmla="*/ 359885 h 1701544"/>
                <a:gd name="connsiteX116" fmla="*/ 6863625 w 10575647"/>
                <a:gd name="connsiteY116" fmla="*/ 463694 h 1701544"/>
                <a:gd name="connsiteX117" fmla="*/ 6863625 w 10575647"/>
                <a:gd name="connsiteY117" fmla="*/ 380187 h 1701544"/>
                <a:gd name="connsiteX118" fmla="*/ 6682836 w 10575647"/>
                <a:gd name="connsiteY118" fmla="*/ 380187 h 1701544"/>
                <a:gd name="connsiteX119" fmla="*/ 6682836 w 10575647"/>
                <a:gd name="connsiteY119" fmla="*/ 1271563 h 1701544"/>
                <a:gd name="connsiteX120" fmla="*/ 6863625 w 10575647"/>
                <a:gd name="connsiteY120" fmla="*/ 1271563 h 1701544"/>
                <a:gd name="connsiteX121" fmla="*/ 6863625 w 10575647"/>
                <a:gd name="connsiteY121" fmla="*/ 732701 h 1701544"/>
                <a:gd name="connsiteX122" fmla="*/ 6913971 w 10575647"/>
                <a:gd name="connsiteY122" fmla="*/ 591066 h 1701544"/>
                <a:gd name="connsiteX123" fmla="*/ 7061143 w 10575647"/>
                <a:gd name="connsiteY123" fmla="*/ 525990 h 1701544"/>
                <a:gd name="connsiteX124" fmla="*/ 7177769 w 10575647"/>
                <a:gd name="connsiteY124" fmla="*/ 575089 h 1701544"/>
                <a:gd name="connsiteX125" fmla="*/ 7205139 w 10575647"/>
                <a:gd name="connsiteY125" fmla="*/ 708709 h 1701544"/>
                <a:gd name="connsiteX126" fmla="*/ 7205139 w 10575647"/>
                <a:gd name="connsiteY126" fmla="*/ 1271563 h 1701544"/>
                <a:gd name="connsiteX127" fmla="*/ 7822309 w 10575647"/>
                <a:gd name="connsiteY127" fmla="*/ 162418 h 1701544"/>
                <a:gd name="connsiteX128" fmla="*/ 7713412 w 10575647"/>
                <a:gd name="connsiteY128" fmla="*/ 49847 h 1701544"/>
                <a:gd name="connsiteX129" fmla="*/ 7602662 w 10575647"/>
                <a:gd name="connsiteY129" fmla="*/ 160549 h 1701544"/>
                <a:gd name="connsiteX130" fmla="*/ 7711560 w 10575647"/>
                <a:gd name="connsiteY130" fmla="*/ 271303 h 1701544"/>
                <a:gd name="connsiteX131" fmla="*/ 7822309 w 10575647"/>
                <a:gd name="connsiteY131" fmla="*/ 162418 h 1701544"/>
                <a:gd name="connsiteX132" fmla="*/ 8704760 w 10575647"/>
                <a:gd name="connsiteY132" fmla="*/ 826838 h 1701544"/>
                <a:gd name="connsiteX133" fmla="*/ 8437150 w 10575647"/>
                <a:gd name="connsiteY133" fmla="*/ 1122077 h 1701544"/>
                <a:gd name="connsiteX134" fmla="*/ 8167740 w 10575647"/>
                <a:gd name="connsiteY134" fmla="*/ 826838 h 1701544"/>
                <a:gd name="connsiteX135" fmla="*/ 8439003 w 10575647"/>
                <a:gd name="connsiteY135" fmla="*/ 529677 h 1701544"/>
                <a:gd name="connsiteX136" fmla="*/ 8704760 w 10575647"/>
                <a:gd name="connsiteY136" fmla="*/ 826838 h 1701544"/>
                <a:gd name="connsiteX137" fmla="*/ 8889307 w 10575647"/>
                <a:gd name="connsiteY137" fmla="*/ 828654 h 1701544"/>
                <a:gd name="connsiteX138" fmla="*/ 8439003 w 10575647"/>
                <a:gd name="connsiteY138" fmla="*/ 359885 h 1701544"/>
                <a:gd name="connsiteX139" fmla="*/ 7983193 w 10575647"/>
                <a:gd name="connsiteY139" fmla="*/ 824916 h 1701544"/>
                <a:gd name="connsiteX140" fmla="*/ 8433444 w 10575647"/>
                <a:gd name="connsiteY140" fmla="*/ 1291865 h 1701544"/>
                <a:gd name="connsiteX141" fmla="*/ 8889307 w 10575647"/>
                <a:gd name="connsiteY141" fmla="*/ 828654 h 1701544"/>
                <a:gd name="connsiteX142" fmla="*/ 9658150 w 10575647"/>
                <a:gd name="connsiteY142" fmla="*/ 1197940 h 1701544"/>
                <a:gd name="connsiteX143" fmla="*/ 9749630 w 10575647"/>
                <a:gd name="connsiteY143" fmla="*/ 944968 h 1701544"/>
                <a:gd name="connsiteX144" fmla="*/ 9749630 w 10575647"/>
                <a:gd name="connsiteY144" fmla="*/ 380187 h 1701544"/>
                <a:gd name="connsiteX145" fmla="*/ 9566988 w 10575647"/>
                <a:gd name="connsiteY145" fmla="*/ 380187 h 1701544"/>
                <a:gd name="connsiteX146" fmla="*/ 9566988 w 10575647"/>
                <a:gd name="connsiteY146" fmla="*/ 944968 h 1701544"/>
                <a:gd name="connsiteX147" fmla="*/ 9535012 w 10575647"/>
                <a:gd name="connsiteY147" fmla="*/ 1068222 h 1701544"/>
                <a:gd name="connsiteX148" fmla="*/ 9399010 w 10575647"/>
                <a:gd name="connsiteY148" fmla="*/ 1125815 h 1701544"/>
                <a:gd name="connsiteX149" fmla="*/ 9229233 w 10575647"/>
                <a:gd name="connsiteY149" fmla="*/ 941225 h 1701544"/>
                <a:gd name="connsiteX150" fmla="*/ 9229233 w 10575647"/>
                <a:gd name="connsiteY150" fmla="*/ 380187 h 1701544"/>
                <a:gd name="connsiteX151" fmla="*/ 9048391 w 10575647"/>
                <a:gd name="connsiteY151" fmla="*/ 380187 h 1701544"/>
                <a:gd name="connsiteX152" fmla="*/ 9048391 w 10575647"/>
                <a:gd name="connsiteY152" fmla="*/ 944968 h 1701544"/>
                <a:gd name="connsiteX153" fmla="*/ 9139659 w 10575647"/>
                <a:gd name="connsiteY153" fmla="*/ 1195965 h 1701544"/>
                <a:gd name="connsiteX154" fmla="*/ 9399010 w 10575647"/>
                <a:gd name="connsiteY154" fmla="*/ 1291865 h 1701544"/>
                <a:gd name="connsiteX155" fmla="*/ 9658150 w 10575647"/>
                <a:gd name="connsiteY155" fmla="*/ 1197945 h 1701544"/>
                <a:gd name="connsiteX156" fmla="*/ 10385594 w 10575647"/>
                <a:gd name="connsiteY156" fmla="*/ 653307 h 1701544"/>
                <a:gd name="connsiteX157" fmla="*/ 10567335 w 10575647"/>
                <a:gd name="connsiteY157" fmla="*/ 653307 h 1701544"/>
                <a:gd name="connsiteX158" fmla="*/ 10566383 w 10575647"/>
                <a:gd name="connsiteY158" fmla="*/ 632041 h 1701544"/>
                <a:gd name="connsiteX159" fmla="*/ 10249009 w 10575647"/>
                <a:gd name="connsiteY159" fmla="*/ 359885 h 1701544"/>
                <a:gd name="connsiteX160" fmla="*/ 9929730 w 10575647"/>
                <a:gd name="connsiteY160" fmla="*/ 627446 h 1701544"/>
                <a:gd name="connsiteX161" fmla="*/ 10212587 w 10575647"/>
                <a:gd name="connsiteY161" fmla="*/ 903611 h 1701544"/>
                <a:gd name="connsiteX162" fmla="*/ 10391099 w 10575647"/>
                <a:gd name="connsiteY162" fmla="*/ 1031625 h 1701544"/>
                <a:gd name="connsiteX163" fmla="*/ 10252715 w 10575647"/>
                <a:gd name="connsiteY163" fmla="*/ 1136874 h 1701544"/>
                <a:gd name="connsiteX164" fmla="*/ 10093843 w 10575647"/>
                <a:gd name="connsiteY164" fmla="*/ 1007579 h 1701544"/>
                <a:gd name="connsiteX165" fmla="*/ 10092096 w 10575647"/>
                <a:gd name="connsiteY165" fmla="*/ 989257 h 1701544"/>
                <a:gd name="connsiteX166" fmla="*/ 9913054 w 10575647"/>
                <a:gd name="connsiteY166" fmla="*/ 989257 h 1701544"/>
                <a:gd name="connsiteX167" fmla="*/ 9915066 w 10575647"/>
                <a:gd name="connsiteY167" fmla="*/ 1011216 h 1701544"/>
                <a:gd name="connsiteX168" fmla="*/ 10252715 w 10575647"/>
                <a:gd name="connsiteY168" fmla="*/ 1291865 h 1701544"/>
                <a:gd name="connsiteX169" fmla="*/ 10575647 w 10575647"/>
                <a:gd name="connsiteY169" fmla="*/ 1024303 h 1701544"/>
                <a:gd name="connsiteX170" fmla="*/ 10501426 w 10575647"/>
                <a:gd name="connsiteY170" fmla="*/ 843879 h 1701544"/>
                <a:gd name="connsiteX171" fmla="*/ 10285750 w 10575647"/>
                <a:gd name="connsiteY171" fmla="*/ 740769 h 1701544"/>
                <a:gd name="connsiteX172" fmla="*/ 10110519 w 10575647"/>
                <a:gd name="connsiteY172" fmla="*/ 616440 h 1701544"/>
                <a:gd name="connsiteX173" fmla="*/ 10243398 w 10575647"/>
                <a:gd name="connsiteY173" fmla="*/ 514877 h 1701544"/>
                <a:gd name="connsiteX174" fmla="*/ 10385594 w 10575647"/>
                <a:gd name="connsiteY174" fmla="*/ 623762 h 1701544"/>
                <a:gd name="connsiteX175" fmla="*/ 10385594 w 10575647"/>
                <a:gd name="connsiteY175" fmla="*/ 653307 h 170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10575647" h="1701544">
                  <a:moveTo>
                    <a:pt x="7802033" y="380187"/>
                  </a:moveTo>
                  <a:lnTo>
                    <a:pt x="7621138" y="380187"/>
                  </a:lnTo>
                  <a:lnTo>
                    <a:pt x="7621138" y="1271563"/>
                  </a:lnTo>
                  <a:lnTo>
                    <a:pt x="7802033" y="1271563"/>
                  </a:lnTo>
                  <a:lnTo>
                    <a:pt x="7802033" y="380187"/>
                  </a:lnTo>
                  <a:close/>
                  <a:moveTo>
                    <a:pt x="706522" y="1271563"/>
                  </a:moveTo>
                  <a:lnTo>
                    <a:pt x="902065" y="1271563"/>
                  </a:lnTo>
                  <a:lnTo>
                    <a:pt x="902065" y="0"/>
                  </a:lnTo>
                  <a:lnTo>
                    <a:pt x="706522" y="0"/>
                  </a:lnTo>
                  <a:lnTo>
                    <a:pt x="706522" y="553717"/>
                  </a:lnTo>
                  <a:lnTo>
                    <a:pt x="195543" y="553717"/>
                  </a:lnTo>
                  <a:lnTo>
                    <a:pt x="195543" y="0"/>
                  </a:lnTo>
                  <a:lnTo>
                    <a:pt x="0" y="0"/>
                  </a:lnTo>
                  <a:lnTo>
                    <a:pt x="0" y="1271563"/>
                  </a:lnTo>
                  <a:lnTo>
                    <a:pt x="195543" y="1271563"/>
                  </a:lnTo>
                  <a:lnTo>
                    <a:pt x="195543" y="727142"/>
                  </a:lnTo>
                  <a:lnTo>
                    <a:pt x="706522" y="727142"/>
                  </a:lnTo>
                  <a:lnTo>
                    <a:pt x="706522" y="1271563"/>
                  </a:lnTo>
                  <a:close/>
                  <a:moveTo>
                    <a:pt x="1306185" y="1690649"/>
                  </a:moveTo>
                  <a:lnTo>
                    <a:pt x="1654904" y="1036061"/>
                  </a:lnTo>
                  <a:lnTo>
                    <a:pt x="1306185" y="381469"/>
                  </a:lnTo>
                  <a:lnTo>
                    <a:pt x="1090234" y="381469"/>
                  </a:lnTo>
                  <a:lnTo>
                    <a:pt x="1438900" y="1036061"/>
                  </a:lnTo>
                  <a:lnTo>
                    <a:pt x="1090234" y="1690649"/>
                  </a:lnTo>
                  <a:lnTo>
                    <a:pt x="1306185" y="1690649"/>
                  </a:lnTo>
                  <a:close/>
                  <a:moveTo>
                    <a:pt x="2581808" y="828654"/>
                  </a:moveTo>
                  <a:cubicBezTo>
                    <a:pt x="2581808" y="1002989"/>
                    <a:pt x="2470789" y="1129505"/>
                    <a:pt x="2317883" y="1129505"/>
                  </a:cubicBezTo>
                  <a:cubicBezTo>
                    <a:pt x="2168980" y="1129505"/>
                    <a:pt x="2065011" y="1007262"/>
                    <a:pt x="2065011" y="832338"/>
                  </a:cubicBezTo>
                  <a:cubicBezTo>
                    <a:pt x="2065011" y="649088"/>
                    <a:pt x="2170314" y="525990"/>
                    <a:pt x="2327068" y="525990"/>
                  </a:cubicBezTo>
                  <a:cubicBezTo>
                    <a:pt x="2479444" y="525990"/>
                    <a:pt x="2581808" y="647590"/>
                    <a:pt x="2581808" y="828654"/>
                  </a:cubicBezTo>
                  <a:moveTo>
                    <a:pt x="2581808" y="1271563"/>
                  </a:moveTo>
                  <a:lnTo>
                    <a:pt x="2762608" y="1271563"/>
                  </a:lnTo>
                  <a:lnTo>
                    <a:pt x="2762608" y="0"/>
                  </a:lnTo>
                  <a:lnTo>
                    <a:pt x="2581808" y="0"/>
                  </a:lnTo>
                  <a:lnTo>
                    <a:pt x="2581808" y="476356"/>
                  </a:lnTo>
                  <a:cubicBezTo>
                    <a:pt x="2503431" y="397017"/>
                    <a:pt x="2412449" y="359885"/>
                    <a:pt x="2297581" y="359885"/>
                  </a:cubicBezTo>
                  <a:cubicBezTo>
                    <a:pt x="2057690" y="359885"/>
                    <a:pt x="1876785" y="562214"/>
                    <a:pt x="1876785" y="830470"/>
                  </a:cubicBezTo>
                  <a:cubicBezTo>
                    <a:pt x="1876785" y="1102145"/>
                    <a:pt x="2049839" y="1291865"/>
                    <a:pt x="2297581" y="1291865"/>
                  </a:cubicBezTo>
                  <a:cubicBezTo>
                    <a:pt x="2414371" y="1291865"/>
                    <a:pt x="2503061" y="1251959"/>
                    <a:pt x="2581808" y="1163217"/>
                  </a:cubicBezTo>
                  <a:lnTo>
                    <a:pt x="2581808" y="1271563"/>
                  </a:lnTo>
                  <a:close/>
                  <a:moveTo>
                    <a:pt x="3437445" y="542393"/>
                  </a:moveTo>
                  <a:lnTo>
                    <a:pt x="3460310" y="545331"/>
                  </a:lnTo>
                  <a:lnTo>
                    <a:pt x="3460310" y="359885"/>
                  </a:lnTo>
                  <a:lnTo>
                    <a:pt x="3406830" y="359885"/>
                  </a:lnTo>
                  <a:cubicBezTo>
                    <a:pt x="3341169" y="359885"/>
                    <a:pt x="3277430" y="380294"/>
                    <a:pt x="3231965" y="415877"/>
                  </a:cubicBezTo>
                  <a:cubicBezTo>
                    <a:pt x="3213690" y="430035"/>
                    <a:pt x="3199693" y="444353"/>
                    <a:pt x="3187194" y="462091"/>
                  </a:cubicBezTo>
                  <a:lnTo>
                    <a:pt x="3187194" y="380187"/>
                  </a:lnTo>
                  <a:lnTo>
                    <a:pt x="3006395" y="380187"/>
                  </a:lnTo>
                  <a:lnTo>
                    <a:pt x="3006395" y="1271563"/>
                  </a:lnTo>
                  <a:lnTo>
                    <a:pt x="3187194" y="1271563"/>
                  </a:lnTo>
                  <a:lnTo>
                    <a:pt x="3187194" y="819411"/>
                  </a:lnTo>
                  <a:cubicBezTo>
                    <a:pt x="3187194" y="727783"/>
                    <a:pt x="3198894" y="679915"/>
                    <a:pt x="3233517" y="629638"/>
                  </a:cubicBezTo>
                  <a:cubicBezTo>
                    <a:pt x="3272300" y="572310"/>
                    <a:pt x="3331926" y="540683"/>
                    <a:pt x="3401277" y="540683"/>
                  </a:cubicBezTo>
                  <a:cubicBezTo>
                    <a:pt x="3410356" y="540683"/>
                    <a:pt x="3423983" y="540683"/>
                    <a:pt x="3437445" y="542393"/>
                  </a:cubicBezTo>
                  <a:moveTo>
                    <a:pt x="4250980" y="826838"/>
                  </a:moveTo>
                  <a:cubicBezTo>
                    <a:pt x="4250980" y="1000692"/>
                    <a:pt x="4140918" y="1122077"/>
                    <a:pt x="3983364" y="1122077"/>
                  </a:cubicBezTo>
                  <a:cubicBezTo>
                    <a:pt x="3822174" y="1122077"/>
                    <a:pt x="3713875" y="1003466"/>
                    <a:pt x="3713875" y="826838"/>
                  </a:cubicBezTo>
                  <a:cubicBezTo>
                    <a:pt x="3713875" y="649088"/>
                    <a:pt x="3822920" y="529677"/>
                    <a:pt x="3985180" y="529677"/>
                  </a:cubicBezTo>
                  <a:cubicBezTo>
                    <a:pt x="4144179" y="529677"/>
                    <a:pt x="4250980" y="649088"/>
                    <a:pt x="4250980" y="826838"/>
                  </a:cubicBezTo>
                  <a:moveTo>
                    <a:pt x="4435464" y="828654"/>
                  </a:moveTo>
                  <a:cubicBezTo>
                    <a:pt x="4435464" y="557084"/>
                    <a:pt x="4246120" y="359885"/>
                    <a:pt x="3985180" y="359885"/>
                  </a:cubicBezTo>
                  <a:cubicBezTo>
                    <a:pt x="3716818" y="359885"/>
                    <a:pt x="3529338" y="551155"/>
                    <a:pt x="3529338" y="824916"/>
                  </a:cubicBezTo>
                  <a:cubicBezTo>
                    <a:pt x="3529338" y="1099848"/>
                    <a:pt x="3714521" y="1291865"/>
                    <a:pt x="3979622" y="1291865"/>
                  </a:cubicBezTo>
                  <a:cubicBezTo>
                    <a:pt x="4235272" y="1291865"/>
                    <a:pt x="4435464" y="1088418"/>
                    <a:pt x="4435464" y="828654"/>
                  </a:cubicBezTo>
                  <a:moveTo>
                    <a:pt x="5261608" y="828654"/>
                  </a:moveTo>
                  <a:cubicBezTo>
                    <a:pt x="5261608" y="909382"/>
                    <a:pt x="5239596" y="986748"/>
                    <a:pt x="5205508" y="1025854"/>
                  </a:cubicBezTo>
                  <a:cubicBezTo>
                    <a:pt x="5153150" y="1087026"/>
                    <a:pt x="5080062" y="1122077"/>
                    <a:pt x="5005052" y="1122077"/>
                  </a:cubicBezTo>
                  <a:cubicBezTo>
                    <a:pt x="4855296" y="1122077"/>
                    <a:pt x="4746675" y="996361"/>
                    <a:pt x="4746675" y="823153"/>
                  </a:cubicBezTo>
                  <a:cubicBezTo>
                    <a:pt x="4746675" y="650316"/>
                    <a:pt x="4854386" y="529677"/>
                    <a:pt x="5008683" y="529677"/>
                  </a:cubicBezTo>
                  <a:cubicBezTo>
                    <a:pt x="5078193" y="529677"/>
                    <a:pt x="5151652" y="563177"/>
                    <a:pt x="5200378" y="617081"/>
                  </a:cubicBezTo>
                  <a:cubicBezTo>
                    <a:pt x="5246112" y="667892"/>
                    <a:pt x="5261608" y="721266"/>
                    <a:pt x="5261608" y="828654"/>
                  </a:cubicBezTo>
                  <a:moveTo>
                    <a:pt x="5327264" y="1583314"/>
                  </a:moveTo>
                  <a:cubicBezTo>
                    <a:pt x="5409426" y="1504990"/>
                    <a:pt x="5446113" y="1404277"/>
                    <a:pt x="5446113" y="1256819"/>
                  </a:cubicBezTo>
                  <a:lnTo>
                    <a:pt x="5446113" y="380187"/>
                  </a:lnTo>
                  <a:lnTo>
                    <a:pt x="5265239" y="380187"/>
                  </a:lnTo>
                  <a:lnTo>
                    <a:pt x="5265239" y="488537"/>
                  </a:lnTo>
                  <a:cubicBezTo>
                    <a:pt x="5186005" y="398673"/>
                    <a:pt x="5100153" y="359885"/>
                    <a:pt x="4982875" y="359885"/>
                  </a:cubicBezTo>
                  <a:cubicBezTo>
                    <a:pt x="4866567" y="359885"/>
                    <a:pt x="4771201" y="395361"/>
                    <a:pt x="4699394" y="465190"/>
                  </a:cubicBezTo>
                  <a:cubicBezTo>
                    <a:pt x="4611080" y="549710"/>
                    <a:pt x="4558400" y="685574"/>
                    <a:pt x="4558400" y="828654"/>
                  </a:cubicBezTo>
                  <a:cubicBezTo>
                    <a:pt x="4558400" y="1092743"/>
                    <a:pt x="4736097" y="1291865"/>
                    <a:pt x="4971816" y="1291865"/>
                  </a:cubicBezTo>
                  <a:cubicBezTo>
                    <a:pt x="5092032" y="1291865"/>
                    <a:pt x="5185952" y="1246830"/>
                    <a:pt x="5265239" y="1150553"/>
                  </a:cubicBezTo>
                  <a:lnTo>
                    <a:pt x="5265239" y="1267931"/>
                  </a:lnTo>
                  <a:cubicBezTo>
                    <a:pt x="5265239" y="1350745"/>
                    <a:pt x="5245313" y="1414431"/>
                    <a:pt x="5206095" y="1457116"/>
                  </a:cubicBezTo>
                  <a:cubicBezTo>
                    <a:pt x="5162288" y="1504291"/>
                    <a:pt x="5083159" y="1533625"/>
                    <a:pt x="4999546" y="1533625"/>
                  </a:cubicBezTo>
                  <a:cubicBezTo>
                    <a:pt x="4932122" y="1533625"/>
                    <a:pt x="4856471" y="1514979"/>
                    <a:pt x="4811695" y="1487409"/>
                  </a:cubicBezTo>
                  <a:cubicBezTo>
                    <a:pt x="4788777" y="1471596"/>
                    <a:pt x="4771254" y="1455624"/>
                    <a:pt x="4733588" y="1416300"/>
                  </a:cubicBezTo>
                  <a:lnTo>
                    <a:pt x="4719215" y="1401339"/>
                  </a:lnTo>
                  <a:lnTo>
                    <a:pt x="4595103" y="1525451"/>
                  </a:lnTo>
                  <a:lnTo>
                    <a:pt x="4607819" y="1539824"/>
                  </a:lnTo>
                  <a:cubicBezTo>
                    <a:pt x="4703719" y="1647106"/>
                    <a:pt x="4835528" y="1701544"/>
                    <a:pt x="4999546" y="1701544"/>
                  </a:cubicBezTo>
                  <a:cubicBezTo>
                    <a:pt x="5134664" y="1701544"/>
                    <a:pt x="5247981" y="1660675"/>
                    <a:pt x="5327264" y="1583314"/>
                  </a:cubicBezTo>
                  <a:moveTo>
                    <a:pt x="6317923" y="747497"/>
                  </a:moveTo>
                  <a:lnTo>
                    <a:pt x="5805203" y="747497"/>
                  </a:lnTo>
                  <a:cubicBezTo>
                    <a:pt x="5814785" y="696051"/>
                    <a:pt x="5825267" y="667627"/>
                    <a:pt x="5845913" y="635144"/>
                  </a:cubicBezTo>
                  <a:cubicBezTo>
                    <a:pt x="5892024" y="566756"/>
                    <a:pt x="5971327" y="525990"/>
                    <a:pt x="6057989" y="525990"/>
                  </a:cubicBezTo>
                  <a:cubicBezTo>
                    <a:pt x="6144228" y="525990"/>
                    <a:pt x="6225702" y="566274"/>
                    <a:pt x="6275730" y="633487"/>
                  </a:cubicBezTo>
                  <a:cubicBezTo>
                    <a:pt x="6300453" y="669067"/>
                    <a:pt x="6312047" y="699841"/>
                    <a:pt x="6317923" y="747497"/>
                  </a:cubicBezTo>
                  <a:moveTo>
                    <a:pt x="6508188" y="872890"/>
                  </a:moveTo>
                  <a:cubicBezTo>
                    <a:pt x="6510094" y="851683"/>
                    <a:pt x="6510094" y="827426"/>
                    <a:pt x="6510094" y="815779"/>
                  </a:cubicBezTo>
                  <a:cubicBezTo>
                    <a:pt x="6510094" y="555909"/>
                    <a:pt x="6315700" y="359885"/>
                    <a:pt x="6057989" y="359885"/>
                  </a:cubicBezTo>
                  <a:cubicBezTo>
                    <a:pt x="5798109" y="359885"/>
                    <a:pt x="5609538" y="557084"/>
                    <a:pt x="5609538" y="828654"/>
                  </a:cubicBezTo>
                  <a:cubicBezTo>
                    <a:pt x="5609538" y="1097074"/>
                    <a:pt x="5800491" y="1291865"/>
                    <a:pt x="6063495" y="1291865"/>
                  </a:cubicBezTo>
                  <a:cubicBezTo>
                    <a:pt x="6235020" y="1291865"/>
                    <a:pt x="6386956" y="1199867"/>
                    <a:pt x="6460066" y="1051710"/>
                  </a:cubicBezTo>
                  <a:lnTo>
                    <a:pt x="6469966" y="1031572"/>
                  </a:lnTo>
                  <a:lnTo>
                    <a:pt x="6308923" y="971517"/>
                  </a:lnTo>
                  <a:lnTo>
                    <a:pt x="6300559" y="986689"/>
                  </a:lnTo>
                  <a:cubicBezTo>
                    <a:pt x="6254237" y="1068968"/>
                    <a:pt x="6161169" y="1122077"/>
                    <a:pt x="6063495" y="1122077"/>
                  </a:cubicBezTo>
                  <a:cubicBezTo>
                    <a:pt x="5977415" y="1122077"/>
                    <a:pt x="5901923" y="1083664"/>
                    <a:pt x="5850784" y="1013832"/>
                  </a:cubicBezTo>
                  <a:cubicBezTo>
                    <a:pt x="5821932" y="975900"/>
                    <a:pt x="5809438" y="945021"/>
                    <a:pt x="5802132" y="891377"/>
                  </a:cubicBezTo>
                  <a:lnTo>
                    <a:pt x="6506547" y="891377"/>
                  </a:lnTo>
                  <a:lnTo>
                    <a:pt x="6508188" y="872890"/>
                  </a:lnTo>
                  <a:close/>
                  <a:moveTo>
                    <a:pt x="7205139" y="1271563"/>
                  </a:moveTo>
                  <a:lnTo>
                    <a:pt x="7385928" y="1271563"/>
                  </a:lnTo>
                  <a:lnTo>
                    <a:pt x="7385928" y="677294"/>
                  </a:lnTo>
                  <a:cubicBezTo>
                    <a:pt x="7385928" y="554734"/>
                    <a:pt x="7365387" y="491422"/>
                    <a:pt x="7307154" y="435163"/>
                  </a:cubicBezTo>
                  <a:cubicBezTo>
                    <a:pt x="7252520" y="386599"/>
                    <a:pt x="7177557" y="359885"/>
                    <a:pt x="7096189" y="359885"/>
                  </a:cubicBezTo>
                  <a:cubicBezTo>
                    <a:pt x="7000739" y="359885"/>
                    <a:pt x="6929853" y="391193"/>
                    <a:pt x="6863625" y="463694"/>
                  </a:cubicBezTo>
                  <a:lnTo>
                    <a:pt x="6863625" y="380187"/>
                  </a:lnTo>
                  <a:lnTo>
                    <a:pt x="6682836" y="380187"/>
                  </a:lnTo>
                  <a:lnTo>
                    <a:pt x="6682836" y="1271563"/>
                  </a:lnTo>
                  <a:lnTo>
                    <a:pt x="6863625" y="1271563"/>
                  </a:lnTo>
                  <a:lnTo>
                    <a:pt x="6863625" y="732701"/>
                  </a:lnTo>
                  <a:cubicBezTo>
                    <a:pt x="6863625" y="667839"/>
                    <a:pt x="6876278" y="632147"/>
                    <a:pt x="6913971" y="591066"/>
                  </a:cubicBezTo>
                  <a:cubicBezTo>
                    <a:pt x="6951505" y="548481"/>
                    <a:pt x="7002433" y="525990"/>
                    <a:pt x="7061143" y="525990"/>
                  </a:cubicBezTo>
                  <a:cubicBezTo>
                    <a:pt x="7110748" y="525990"/>
                    <a:pt x="7155428" y="544744"/>
                    <a:pt x="7177769" y="575089"/>
                  </a:cubicBezTo>
                  <a:cubicBezTo>
                    <a:pt x="7197410" y="601215"/>
                    <a:pt x="7205139" y="638722"/>
                    <a:pt x="7205139" y="708709"/>
                  </a:cubicBezTo>
                  <a:lnTo>
                    <a:pt x="7205139" y="1271563"/>
                  </a:lnTo>
                  <a:close/>
                  <a:moveTo>
                    <a:pt x="7822309" y="162418"/>
                  </a:moveTo>
                  <a:cubicBezTo>
                    <a:pt x="7822309" y="99268"/>
                    <a:pt x="7774452" y="49847"/>
                    <a:pt x="7713412" y="49847"/>
                  </a:cubicBezTo>
                  <a:cubicBezTo>
                    <a:pt x="7650255" y="49847"/>
                    <a:pt x="7602662" y="97451"/>
                    <a:pt x="7602662" y="160549"/>
                  </a:cubicBezTo>
                  <a:cubicBezTo>
                    <a:pt x="7602662" y="223699"/>
                    <a:pt x="7649514" y="271303"/>
                    <a:pt x="7711560" y="271303"/>
                  </a:cubicBezTo>
                  <a:cubicBezTo>
                    <a:pt x="7773711" y="271303"/>
                    <a:pt x="7822309" y="223432"/>
                    <a:pt x="7822309" y="162418"/>
                  </a:cubicBezTo>
                  <a:moveTo>
                    <a:pt x="8704760" y="826838"/>
                  </a:moveTo>
                  <a:cubicBezTo>
                    <a:pt x="8704760" y="1000692"/>
                    <a:pt x="8594751" y="1122077"/>
                    <a:pt x="8437150" y="1122077"/>
                  </a:cubicBezTo>
                  <a:cubicBezTo>
                    <a:pt x="8276002" y="1122077"/>
                    <a:pt x="8167740" y="1003466"/>
                    <a:pt x="8167740" y="826838"/>
                  </a:cubicBezTo>
                  <a:cubicBezTo>
                    <a:pt x="8167740" y="649088"/>
                    <a:pt x="8276743" y="529677"/>
                    <a:pt x="8439003" y="529677"/>
                  </a:cubicBezTo>
                  <a:cubicBezTo>
                    <a:pt x="8597980" y="529677"/>
                    <a:pt x="8704760" y="649088"/>
                    <a:pt x="8704760" y="826838"/>
                  </a:cubicBezTo>
                  <a:moveTo>
                    <a:pt x="8889307" y="828654"/>
                  </a:moveTo>
                  <a:cubicBezTo>
                    <a:pt x="8889307" y="557084"/>
                    <a:pt x="8699942" y="359885"/>
                    <a:pt x="8439003" y="359885"/>
                  </a:cubicBezTo>
                  <a:cubicBezTo>
                    <a:pt x="8170652" y="359885"/>
                    <a:pt x="7983193" y="551155"/>
                    <a:pt x="7983193" y="824916"/>
                  </a:cubicBezTo>
                  <a:cubicBezTo>
                    <a:pt x="7983193" y="1099848"/>
                    <a:pt x="8168375" y="1291865"/>
                    <a:pt x="8433444" y="1291865"/>
                  </a:cubicBezTo>
                  <a:cubicBezTo>
                    <a:pt x="8689089" y="1291865"/>
                    <a:pt x="8889307" y="1088418"/>
                    <a:pt x="8889307" y="828654"/>
                  </a:cubicBezTo>
                  <a:moveTo>
                    <a:pt x="9658150" y="1197940"/>
                  </a:moveTo>
                  <a:cubicBezTo>
                    <a:pt x="9724854" y="1137144"/>
                    <a:pt x="9749630" y="1068539"/>
                    <a:pt x="9749630" y="944968"/>
                  </a:cubicBezTo>
                  <a:lnTo>
                    <a:pt x="9749630" y="380187"/>
                  </a:lnTo>
                  <a:lnTo>
                    <a:pt x="9566988" y="380187"/>
                  </a:lnTo>
                  <a:lnTo>
                    <a:pt x="9566988" y="944968"/>
                  </a:lnTo>
                  <a:cubicBezTo>
                    <a:pt x="9566988" y="1008437"/>
                    <a:pt x="9558835" y="1039587"/>
                    <a:pt x="9535012" y="1068222"/>
                  </a:cubicBezTo>
                  <a:cubicBezTo>
                    <a:pt x="9503831" y="1104284"/>
                    <a:pt x="9453009" y="1125815"/>
                    <a:pt x="9399010" y="1125815"/>
                  </a:cubicBezTo>
                  <a:cubicBezTo>
                    <a:pt x="9299060" y="1125815"/>
                    <a:pt x="9229233" y="1049947"/>
                    <a:pt x="9229233" y="941225"/>
                  </a:cubicBezTo>
                  <a:lnTo>
                    <a:pt x="9229233" y="380187"/>
                  </a:lnTo>
                  <a:lnTo>
                    <a:pt x="9048391" y="380187"/>
                  </a:lnTo>
                  <a:lnTo>
                    <a:pt x="9048391" y="944968"/>
                  </a:lnTo>
                  <a:cubicBezTo>
                    <a:pt x="9048391" y="1054330"/>
                    <a:pt x="9078249" y="1136392"/>
                    <a:pt x="9139659" y="1195965"/>
                  </a:cubicBezTo>
                  <a:cubicBezTo>
                    <a:pt x="9204563" y="1256925"/>
                    <a:pt x="9299113" y="1291865"/>
                    <a:pt x="9399010" y="1291865"/>
                  </a:cubicBezTo>
                  <a:cubicBezTo>
                    <a:pt x="9499701" y="1291865"/>
                    <a:pt x="9591763" y="1258529"/>
                    <a:pt x="9658150" y="1197945"/>
                  </a:cubicBezTo>
                  <a:moveTo>
                    <a:pt x="10385594" y="653307"/>
                  </a:moveTo>
                  <a:lnTo>
                    <a:pt x="10567335" y="653307"/>
                  </a:lnTo>
                  <a:lnTo>
                    <a:pt x="10566383" y="632041"/>
                  </a:lnTo>
                  <a:cubicBezTo>
                    <a:pt x="10558442" y="459099"/>
                    <a:pt x="10442768" y="359885"/>
                    <a:pt x="10249009" y="359885"/>
                  </a:cubicBezTo>
                  <a:cubicBezTo>
                    <a:pt x="10058003" y="359885"/>
                    <a:pt x="9929730" y="467434"/>
                    <a:pt x="9929730" y="627446"/>
                  </a:cubicBezTo>
                  <a:cubicBezTo>
                    <a:pt x="9929730" y="765666"/>
                    <a:pt x="10016922" y="850825"/>
                    <a:pt x="10212587" y="903611"/>
                  </a:cubicBezTo>
                  <a:cubicBezTo>
                    <a:pt x="10347689" y="937858"/>
                    <a:pt x="10391099" y="968955"/>
                    <a:pt x="10391099" y="1031625"/>
                  </a:cubicBezTo>
                  <a:cubicBezTo>
                    <a:pt x="10391099" y="1095576"/>
                    <a:pt x="10336730" y="1136874"/>
                    <a:pt x="10252715" y="1136874"/>
                  </a:cubicBezTo>
                  <a:cubicBezTo>
                    <a:pt x="10155517" y="1136874"/>
                    <a:pt x="10102102" y="1093384"/>
                    <a:pt x="10093843" y="1007579"/>
                  </a:cubicBezTo>
                  <a:lnTo>
                    <a:pt x="10092096" y="989257"/>
                  </a:lnTo>
                  <a:lnTo>
                    <a:pt x="9913054" y="989257"/>
                  </a:lnTo>
                  <a:lnTo>
                    <a:pt x="9915066" y="1011216"/>
                  </a:lnTo>
                  <a:cubicBezTo>
                    <a:pt x="9930789" y="1194843"/>
                    <a:pt x="10047626" y="1291865"/>
                    <a:pt x="10252715" y="1291865"/>
                  </a:cubicBezTo>
                  <a:cubicBezTo>
                    <a:pt x="10445839" y="1291865"/>
                    <a:pt x="10575647" y="1184371"/>
                    <a:pt x="10575647" y="1024303"/>
                  </a:cubicBezTo>
                  <a:cubicBezTo>
                    <a:pt x="10575647" y="956667"/>
                    <a:pt x="10548542" y="890948"/>
                    <a:pt x="10501426" y="843879"/>
                  </a:cubicBezTo>
                  <a:cubicBezTo>
                    <a:pt x="10457485" y="799913"/>
                    <a:pt x="10397028" y="770955"/>
                    <a:pt x="10285750" y="740769"/>
                  </a:cubicBezTo>
                  <a:cubicBezTo>
                    <a:pt x="10125660" y="696474"/>
                    <a:pt x="10110519" y="671471"/>
                    <a:pt x="10110519" y="616440"/>
                  </a:cubicBezTo>
                  <a:cubicBezTo>
                    <a:pt x="10110519" y="553823"/>
                    <a:pt x="10161447" y="514877"/>
                    <a:pt x="10243398" y="514877"/>
                  </a:cubicBezTo>
                  <a:cubicBezTo>
                    <a:pt x="10329795" y="514877"/>
                    <a:pt x="10385594" y="557672"/>
                    <a:pt x="10385594" y="623762"/>
                  </a:cubicBezTo>
                  <a:lnTo>
                    <a:pt x="10385594" y="653307"/>
                  </a:lnTo>
                  <a:close/>
                </a:path>
              </a:pathLst>
            </a:custGeom>
            <a:blipFill>
              <a:blip r:embed="rId65"/>
              <a:stretch>
                <a:fillRect/>
              </a:stretch>
            </a:blipFill>
            <a:ln w="52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noProof="0"/>
            </a:p>
          </p:txBody>
        </p:sp>
      </p:grp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CA68174B-7CB2-3F3F-9829-2620924BB06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58813" y="843892"/>
            <a:ext cx="8497887" cy="39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569F14E-07B1-2975-FE8C-3D65EBF309D3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658813" y="1304925"/>
            <a:ext cx="10874375" cy="50495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noProof="0"/>
              <a:t>Level 1 (Headline)</a:t>
            </a:r>
          </a:p>
          <a:p>
            <a:pPr lvl="1"/>
            <a:r>
              <a:rPr lang="en-GB" noProof="0"/>
              <a:t>Level 2 (Copy)</a:t>
            </a:r>
          </a:p>
          <a:p>
            <a:pPr lvl="2"/>
            <a:r>
              <a:rPr lang="en-GB" noProof="0"/>
              <a:t>Level 3 (Bullet)</a:t>
            </a:r>
          </a:p>
          <a:p>
            <a:pPr lvl="3"/>
            <a:r>
              <a:rPr lang="en-GB" noProof="0"/>
              <a:t>Level 4 (Bullet)</a:t>
            </a:r>
          </a:p>
          <a:p>
            <a:pPr lvl="4"/>
            <a:r>
              <a:rPr lang="en-GB" noProof="0"/>
              <a:t>Level 5 (Bullet)</a:t>
            </a:r>
          </a:p>
          <a:p>
            <a:pPr lvl="5"/>
            <a:r>
              <a:rPr lang="en-GB" noProof="0"/>
              <a:t>Level 6 (Bullet)</a:t>
            </a:r>
          </a:p>
          <a:p>
            <a:pPr lvl="6"/>
            <a:r>
              <a:rPr lang="en-GB" noProof="0"/>
              <a:t>Level 7 (Bullet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0B3078B-C99D-D2CA-DD66-1D6A75F6F26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237219" y="6419847"/>
            <a:ext cx="2840355" cy="147208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Public | Hydrogenious LOHC Technologies</a:t>
            </a:r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C37C0CF-DD69-2891-3E4C-E4C7DE1457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58813" y="6419847"/>
            <a:ext cx="7445055" cy="147208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GB"/>
              <a:t>H2-Transportoptionen | 15.12.202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BABAA1F-8AC1-EF5C-75AC-2B14497951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210925" y="6419847"/>
            <a:ext cx="322261" cy="147208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900" b="1">
                <a:solidFill>
                  <a:schemeClr val="tx1"/>
                </a:solidFill>
              </a:defRPr>
            </a:lvl1pPr>
          </a:lstStyle>
          <a:p>
            <a:fld id="{B1816CC9-9B48-4AB1-835D-825C27545B86}" type="slidenum">
              <a:rPr lang="en-GB" smtClean="0"/>
              <a:pPr/>
              <a:t>‹Nr.›</a:t>
            </a:fld>
            <a:endParaRPr lang="en-GB"/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297EACEB-624A-657C-A847-4548CF173A98}"/>
              </a:ext>
            </a:extLst>
          </p:cNvPr>
          <p:cNvGrpSpPr/>
          <p:nvPr userDrawn="1"/>
        </p:nvGrpSpPr>
        <p:grpSpPr>
          <a:xfrm rot="5400000">
            <a:off x="-3617983" y="3323777"/>
            <a:ext cx="6854690" cy="213756"/>
            <a:chOff x="-1" y="-286346"/>
            <a:chExt cx="5820565" cy="181508"/>
          </a:xfrm>
        </p:grpSpPr>
        <p:grpSp>
          <p:nvGrpSpPr>
            <p:cNvPr id="54" name="Gruppieren 53">
              <a:extLst>
                <a:ext uri="{FF2B5EF4-FFF2-40B4-BE49-F238E27FC236}">
                  <a16:creationId xmlns:a16="http://schemas.microsoft.com/office/drawing/2014/main" id="{47A36629-9764-894D-CC5C-C2E71AEB6F97}"/>
                </a:ext>
              </a:extLst>
            </p:cNvPr>
            <p:cNvGrpSpPr/>
            <p:nvPr userDrawn="1"/>
          </p:nvGrpSpPr>
          <p:grpSpPr>
            <a:xfrm rot="16200000">
              <a:off x="363007" y="-649354"/>
              <a:ext cx="181503" cy="907520"/>
              <a:chOff x="1319213" y="-1663170"/>
              <a:chExt cx="181503" cy="907520"/>
            </a:xfrm>
          </p:grpSpPr>
          <p:sp>
            <p:nvSpPr>
              <p:cNvPr id="85" name="Freihandform: Form 84">
                <a:extLst>
                  <a:ext uri="{FF2B5EF4-FFF2-40B4-BE49-F238E27FC236}">
                    <a16:creationId xmlns:a16="http://schemas.microsoft.com/office/drawing/2014/main" id="{DE74E15E-B0A6-F149-612B-E9631B6EF6C4}"/>
                  </a:ext>
                </a:extLst>
              </p:cNvPr>
              <p:cNvSpPr/>
              <p:nvPr/>
            </p:nvSpPr>
            <p:spPr>
              <a:xfrm>
                <a:off x="1319213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44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6" name="Freihandform: Form 85">
                <a:extLst>
                  <a:ext uri="{FF2B5EF4-FFF2-40B4-BE49-F238E27FC236}">
                    <a16:creationId xmlns:a16="http://schemas.microsoft.com/office/drawing/2014/main" id="{408948ED-3E09-1C61-3EF0-36A5BD0296AC}"/>
                  </a:ext>
                </a:extLst>
              </p:cNvPr>
              <p:cNvSpPr/>
              <p:nvPr/>
            </p:nvSpPr>
            <p:spPr>
              <a:xfrm>
                <a:off x="1319213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D697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7" name="Freihandform: Form 86">
                <a:extLst>
                  <a:ext uri="{FF2B5EF4-FFF2-40B4-BE49-F238E27FC236}">
                    <a16:creationId xmlns:a16="http://schemas.microsoft.com/office/drawing/2014/main" id="{DD1C6D32-A9CD-421C-961C-BC1F6830EADA}"/>
                  </a:ext>
                </a:extLst>
              </p:cNvPr>
              <p:cNvSpPr/>
              <p:nvPr/>
            </p:nvSpPr>
            <p:spPr>
              <a:xfrm>
                <a:off x="1319213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FE8F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8" name="Freihandform: Form 87">
                <a:extLst>
                  <a:ext uri="{FF2B5EF4-FFF2-40B4-BE49-F238E27FC236}">
                    <a16:creationId xmlns:a16="http://schemas.microsoft.com/office/drawing/2014/main" id="{52A3EBDC-42B8-9B17-4F1A-7DAF40DB463B}"/>
                  </a:ext>
                </a:extLst>
              </p:cNvPr>
              <p:cNvSpPr/>
              <p:nvPr/>
            </p:nvSpPr>
            <p:spPr>
              <a:xfrm>
                <a:off x="1319213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B4B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9" name="Freihandform: Form 88">
                <a:extLst>
                  <a:ext uri="{FF2B5EF4-FFF2-40B4-BE49-F238E27FC236}">
                    <a16:creationId xmlns:a16="http://schemas.microsoft.com/office/drawing/2014/main" id="{077D032D-FD96-163A-C869-FBC5C29C1B78}"/>
                  </a:ext>
                </a:extLst>
              </p:cNvPr>
              <p:cNvSpPr/>
              <p:nvPr/>
            </p:nvSpPr>
            <p:spPr>
              <a:xfrm>
                <a:off x="1319213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ED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14ECE7D5-F757-54D2-810F-9AB9FE349A44}"/>
                </a:ext>
              </a:extLst>
            </p:cNvPr>
            <p:cNvGrpSpPr/>
            <p:nvPr userDrawn="1"/>
          </p:nvGrpSpPr>
          <p:grpSpPr>
            <a:xfrm rot="16200000">
              <a:off x="1345616" y="-649354"/>
              <a:ext cx="181503" cy="907520"/>
              <a:chOff x="1319213" y="-664912"/>
              <a:chExt cx="181503" cy="907520"/>
            </a:xfrm>
          </p:grpSpPr>
          <p:sp>
            <p:nvSpPr>
              <p:cNvPr id="80" name="Freihandform: Form 79">
                <a:extLst>
                  <a:ext uri="{FF2B5EF4-FFF2-40B4-BE49-F238E27FC236}">
                    <a16:creationId xmlns:a16="http://schemas.microsoft.com/office/drawing/2014/main" id="{517315B3-A914-98F6-DC1B-B752FBD67B83}"/>
                  </a:ext>
                </a:extLst>
              </p:cNvPr>
              <p:cNvSpPr/>
              <p:nvPr/>
            </p:nvSpPr>
            <p:spPr>
              <a:xfrm>
                <a:off x="1319213" y="-66491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6400A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1" name="Freihandform: Form 80">
                <a:extLst>
                  <a:ext uri="{FF2B5EF4-FFF2-40B4-BE49-F238E27FC236}">
                    <a16:creationId xmlns:a16="http://schemas.microsoft.com/office/drawing/2014/main" id="{D48454A1-B3C0-1571-78C3-C6D690AC28C5}"/>
                  </a:ext>
                </a:extLst>
              </p:cNvPr>
              <p:cNvSpPr/>
              <p:nvPr/>
            </p:nvSpPr>
            <p:spPr>
              <a:xfrm>
                <a:off x="1319213" y="-483404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333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Freihandform: Form 81">
                <a:extLst>
                  <a:ext uri="{FF2B5EF4-FFF2-40B4-BE49-F238E27FC236}">
                    <a16:creationId xmlns:a16="http://schemas.microsoft.com/office/drawing/2014/main" id="{BABB4F33-5C2C-8841-8B13-C58D3E066F5C}"/>
                  </a:ext>
                </a:extLst>
              </p:cNvPr>
              <p:cNvSpPr/>
              <p:nvPr/>
            </p:nvSpPr>
            <p:spPr>
              <a:xfrm>
                <a:off x="1319213" y="-30189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266C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Freihandform: Form 82">
                <a:extLst>
                  <a:ext uri="{FF2B5EF4-FFF2-40B4-BE49-F238E27FC236}">
                    <a16:creationId xmlns:a16="http://schemas.microsoft.com/office/drawing/2014/main" id="{068C203F-1BB3-D81A-C69B-D3E5061DD154}"/>
                  </a:ext>
                </a:extLst>
              </p:cNvPr>
              <p:cNvSpPr/>
              <p:nvPr/>
            </p:nvSpPr>
            <p:spPr>
              <a:xfrm>
                <a:off x="1319213" y="-120387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199D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Freihandform: Form 83">
                <a:extLst>
                  <a:ext uri="{FF2B5EF4-FFF2-40B4-BE49-F238E27FC236}">
                    <a16:creationId xmlns:a16="http://schemas.microsoft.com/office/drawing/2014/main" id="{8E209FC3-01FD-943C-1094-761788D4BB1A}"/>
                  </a:ext>
                </a:extLst>
              </p:cNvPr>
              <p:cNvSpPr/>
              <p:nvPr/>
            </p:nvSpPr>
            <p:spPr>
              <a:xfrm>
                <a:off x="1319213" y="6110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0CCE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6" name="Gruppieren 55">
              <a:extLst>
                <a:ext uri="{FF2B5EF4-FFF2-40B4-BE49-F238E27FC236}">
                  <a16:creationId xmlns:a16="http://schemas.microsoft.com/office/drawing/2014/main" id="{BFC0750A-3AE7-32B2-698D-BB366C928C29}"/>
                </a:ext>
              </a:extLst>
            </p:cNvPr>
            <p:cNvGrpSpPr/>
            <p:nvPr userDrawn="1"/>
          </p:nvGrpSpPr>
          <p:grpSpPr>
            <a:xfrm rot="16200000">
              <a:off x="2328223" y="-649352"/>
              <a:ext cx="181508" cy="907520"/>
              <a:chOff x="1682219" y="-1663170"/>
              <a:chExt cx="181508" cy="907520"/>
            </a:xfrm>
          </p:grpSpPr>
          <p:sp>
            <p:nvSpPr>
              <p:cNvPr id="75" name="Freihandform: Form 74">
                <a:extLst>
                  <a:ext uri="{FF2B5EF4-FFF2-40B4-BE49-F238E27FC236}">
                    <a16:creationId xmlns:a16="http://schemas.microsoft.com/office/drawing/2014/main" id="{D8AB2B21-CD0E-2265-6E26-3B58D0151502}"/>
                  </a:ext>
                </a:extLst>
              </p:cNvPr>
              <p:cNvSpPr/>
              <p:nvPr/>
            </p:nvSpPr>
            <p:spPr>
              <a:xfrm>
                <a:off x="1682219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8CC8E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6" name="Freihandform: Form 75">
                <a:extLst>
                  <a:ext uri="{FF2B5EF4-FFF2-40B4-BE49-F238E27FC236}">
                    <a16:creationId xmlns:a16="http://schemas.microsoft.com/office/drawing/2014/main" id="{F0754DDA-E4DD-EA71-262A-2B3EFE02C9F9}"/>
                  </a:ext>
                </a:extLst>
              </p:cNvPr>
              <p:cNvSpPr/>
              <p:nvPr/>
            </p:nvSpPr>
            <p:spPr>
              <a:xfrm>
                <a:off x="1682224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3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7" name="Freihandform: Form 76">
                <a:extLst>
                  <a:ext uri="{FF2B5EF4-FFF2-40B4-BE49-F238E27FC236}">
                    <a16:creationId xmlns:a16="http://schemas.microsoft.com/office/drawing/2014/main" id="{51A7C02B-36E7-7E59-5D84-E3F1C680E36B}"/>
                  </a:ext>
                </a:extLst>
              </p:cNvPr>
              <p:cNvSpPr/>
              <p:nvPr/>
            </p:nvSpPr>
            <p:spPr>
              <a:xfrm>
                <a:off x="1682224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ADE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8" name="Freihandform: Form 77">
                <a:extLst>
                  <a:ext uri="{FF2B5EF4-FFF2-40B4-BE49-F238E27FC236}">
                    <a16:creationId xmlns:a16="http://schemas.microsoft.com/office/drawing/2014/main" id="{BEADB04E-3C32-1C94-D550-639EE39DE2BD}"/>
                  </a:ext>
                </a:extLst>
              </p:cNvPr>
              <p:cNvSpPr/>
              <p:nvPr/>
            </p:nvSpPr>
            <p:spPr>
              <a:xfrm>
                <a:off x="1682224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E9F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9" name="Freihandform: Form 78">
                <a:extLst>
                  <a:ext uri="{FF2B5EF4-FFF2-40B4-BE49-F238E27FC236}">
                    <a16:creationId xmlns:a16="http://schemas.microsoft.com/office/drawing/2014/main" id="{935D2FB1-1200-CD0B-9F88-9D6BB75AEAE8}"/>
                  </a:ext>
                </a:extLst>
              </p:cNvPr>
              <p:cNvSpPr/>
              <p:nvPr/>
            </p:nvSpPr>
            <p:spPr>
              <a:xfrm>
                <a:off x="1682219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8F4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B483CFA1-ACA2-76E2-2ABE-277359E6EC89}"/>
                </a:ext>
              </a:extLst>
            </p:cNvPr>
            <p:cNvGrpSpPr/>
            <p:nvPr userDrawn="1"/>
          </p:nvGrpSpPr>
          <p:grpSpPr>
            <a:xfrm rot="16200000">
              <a:off x="5276052" y="-649354"/>
              <a:ext cx="181503" cy="907520"/>
              <a:chOff x="2226738" y="-1663170"/>
              <a:chExt cx="181503" cy="907520"/>
            </a:xfrm>
          </p:grpSpPr>
          <p:sp>
            <p:nvSpPr>
              <p:cNvPr id="70" name="Freihandform: Form 69">
                <a:extLst>
                  <a:ext uri="{FF2B5EF4-FFF2-40B4-BE49-F238E27FC236}">
                    <a16:creationId xmlns:a16="http://schemas.microsoft.com/office/drawing/2014/main" id="{3C661BF2-B0F8-C668-859F-C6E493DC1B01}"/>
                  </a:ext>
                </a:extLst>
              </p:cNvPr>
              <p:cNvSpPr/>
              <p:nvPr/>
            </p:nvSpPr>
            <p:spPr>
              <a:xfrm>
                <a:off x="2226738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1" name="Freihandform: Form 70">
                <a:extLst>
                  <a:ext uri="{FF2B5EF4-FFF2-40B4-BE49-F238E27FC236}">
                    <a16:creationId xmlns:a16="http://schemas.microsoft.com/office/drawing/2014/main" id="{CAA9FE2F-241D-95DA-2C85-9B4C14976626}"/>
                  </a:ext>
                </a:extLst>
              </p:cNvPr>
              <p:cNvSpPr/>
              <p:nvPr/>
            </p:nvSpPr>
            <p:spPr>
              <a:xfrm>
                <a:off x="2226738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5757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2" name="Freihandform: Form 71">
                <a:extLst>
                  <a:ext uri="{FF2B5EF4-FFF2-40B4-BE49-F238E27FC236}">
                    <a16:creationId xmlns:a16="http://schemas.microsoft.com/office/drawing/2014/main" id="{620E5AA6-A084-5FFC-0325-6BCA50929646}"/>
                  </a:ext>
                </a:extLst>
              </p:cNvPr>
              <p:cNvSpPr/>
              <p:nvPr/>
            </p:nvSpPr>
            <p:spPr>
              <a:xfrm>
                <a:off x="2226738" y="-1300153"/>
                <a:ext cx="181503" cy="181503"/>
              </a:xfrm>
              <a:custGeom>
                <a:avLst/>
                <a:gdLst>
                  <a:gd name="connsiteX0" fmla="*/ 0 w 335337"/>
                  <a:gd name="connsiteY0" fmla="*/ 0 h 335337"/>
                  <a:gd name="connsiteX1" fmla="*/ 335337 w 335337"/>
                  <a:gd name="connsiteY1" fmla="*/ 0 h 335337"/>
                  <a:gd name="connsiteX2" fmla="*/ 335337 w 335337"/>
                  <a:gd name="connsiteY2" fmla="*/ 335337 h 335337"/>
                  <a:gd name="connsiteX3" fmla="*/ 0 w 335337"/>
                  <a:gd name="connsiteY3" fmla="*/ 335337 h 3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37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37"/>
                    </a:lnTo>
                    <a:lnTo>
                      <a:pt x="0" y="335337"/>
                    </a:lnTo>
                    <a:close/>
                  </a:path>
                </a:pathLst>
              </a:custGeom>
              <a:solidFill>
                <a:srgbClr val="8787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3" name="Freihandform: Form 72">
                <a:extLst>
                  <a:ext uri="{FF2B5EF4-FFF2-40B4-BE49-F238E27FC236}">
                    <a16:creationId xmlns:a16="http://schemas.microsoft.com/office/drawing/2014/main" id="{13CBDE52-EE5E-1B11-B797-574F1622F262}"/>
                  </a:ext>
                </a:extLst>
              </p:cNvPr>
              <p:cNvSpPr/>
              <p:nvPr/>
            </p:nvSpPr>
            <p:spPr>
              <a:xfrm>
                <a:off x="2226738" y="-111865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2B2B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4" name="Freihandform: Form 73">
                <a:extLst>
                  <a:ext uri="{FF2B5EF4-FFF2-40B4-BE49-F238E27FC236}">
                    <a16:creationId xmlns:a16="http://schemas.microsoft.com/office/drawing/2014/main" id="{D1A3D208-C62C-3370-3FD0-DAB63E0A2BCD}"/>
                  </a:ext>
                </a:extLst>
              </p:cNvPr>
              <p:cNvSpPr/>
              <p:nvPr/>
            </p:nvSpPr>
            <p:spPr>
              <a:xfrm>
                <a:off x="2226738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DA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8" name="Gruppieren 57">
              <a:extLst>
                <a:ext uri="{FF2B5EF4-FFF2-40B4-BE49-F238E27FC236}">
                  <a16:creationId xmlns:a16="http://schemas.microsoft.com/office/drawing/2014/main" id="{36B1A30F-EFCD-6F9C-E025-01ECF61E37A5}"/>
                </a:ext>
              </a:extLst>
            </p:cNvPr>
            <p:cNvGrpSpPr/>
            <p:nvPr userDrawn="1"/>
          </p:nvGrpSpPr>
          <p:grpSpPr>
            <a:xfrm rot="16200000">
              <a:off x="3310834" y="-649354"/>
              <a:ext cx="181503" cy="907520"/>
              <a:chOff x="1863727" y="-1663170"/>
              <a:chExt cx="181503" cy="907520"/>
            </a:xfrm>
          </p:grpSpPr>
          <p:sp>
            <p:nvSpPr>
              <p:cNvPr id="65" name="Freihandform: Form 64">
                <a:extLst>
                  <a:ext uri="{FF2B5EF4-FFF2-40B4-BE49-F238E27FC236}">
                    <a16:creationId xmlns:a16="http://schemas.microsoft.com/office/drawing/2014/main" id="{283DBD39-FFE9-CCBC-6A94-9FF1213A0C51}"/>
                  </a:ext>
                </a:extLst>
              </p:cNvPr>
              <p:cNvSpPr/>
              <p:nvPr/>
            </p:nvSpPr>
            <p:spPr>
              <a:xfrm>
                <a:off x="1863727" y="-1663170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A3D2A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6" name="Freihandform: Form 65">
                <a:extLst>
                  <a:ext uri="{FF2B5EF4-FFF2-40B4-BE49-F238E27FC236}">
                    <a16:creationId xmlns:a16="http://schemas.microsoft.com/office/drawing/2014/main" id="{0BA5F1B1-C857-A151-1500-711267092A5A}"/>
                  </a:ext>
                </a:extLst>
              </p:cNvPr>
              <p:cNvSpPr/>
              <p:nvPr/>
            </p:nvSpPr>
            <p:spPr>
              <a:xfrm>
                <a:off x="1863727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B5DB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7" name="Freihandform: Form 66">
                <a:extLst>
                  <a:ext uri="{FF2B5EF4-FFF2-40B4-BE49-F238E27FC236}">
                    <a16:creationId xmlns:a16="http://schemas.microsoft.com/office/drawing/2014/main" id="{7054613B-C7CA-9668-C79C-2FDC5A5ED662}"/>
                  </a:ext>
                </a:extLst>
              </p:cNvPr>
              <p:cNvSpPr/>
              <p:nvPr/>
            </p:nvSpPr>
            <p:spPr>
              <a:xfrm>
                <a:off x="1863727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C8E4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8" name="Freihandform: Form 67">
                <a:extLst>
                  <a:ext uri="{FF2B5EF4-FFF2-40B4-BE49-F238E27FC236}">
                    <a16:creationId xmlns:a16="http://schemas.microsoft.com/office/drawing/2014/main" id="{FE8AE9C1-0D4A-6A83-6A10-845C113D1365}"/>
                  </a:ext>
                </a:extLst>
              </p:cNvPr>
              <p:cNvSpPr/>
              <p:nvPr/>
            </p:nvSpPr>
            <p:spPr>
              <a:xfrm>
                <a:off x="1863727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AED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9" name="Freihandform: Form 68">
                <a:extLst>
                  <a:ext uri="{FF2B5EF4-FFF2-40B4-BE49-F238E27FC236}">
                    <a16:creationId xmlns:a16="http://schemas.microsoft.com/office/drawing/2014/main" id="{39F9E5AB-A3D4-E798-C056-06BC614DAB4D}"/>
                  </a:ext>
                </a:extLst>
              </p:cNvPr>
              <p:cNvSpPr/>
              <p:nvPr/>
            </p:nvSpPr>
            <p:spPr>
              <a:xfrm>
                <a:off x="1863727" y="-937158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DF6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59" name="Gruppieren 58">
              <a:extLst>
                <a:ext uri="{FF2B5EF4-FFF2-40B4-BE49-F238E27FC236}">
                  <a16:creationId xmlns:a16="http://schemas.microsoft.com/office/drawing/2014/main" id="{62BBD613-4192-464A-A705-94341369B9E1}"/>
                </a:ext>
              </a:extLst>
            </p:cNvPr>
            <p:cNvGrpSpPr/>
            <p:nvPr userDrawn="1"/>
          </p:nvGrpSpPr>
          <p:grpSpPr>
            <a:xfrm rot="16200000">
              <a:off x="4293441" y="-649352"/>
              <a:ext cx="181508" cy="907520"/>
              <a:chOff x="2045230" y="-1663170"/>
              <a:chExt cx="181508" cy="907520"/>
            </a:xfrm>
          </p:grpSpPr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05591F82-17AE-3C4E-05E1-A0CC1D639A0E}"/>
                  </a:ext>
                </a:extLst>
              </p:cNvPr>
              <p:cNvSpPr/>
              <p:nvPr/>
            </p:nvSpPr>
            <p:spPr>
              <a:xfrm>
                <a:off x="2045230" y="-937158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F9F7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A42B278B-893D-5B98-3422-63F4EEBE44AB}"/>
                  </a:ext>
                </a:extLst>
              </p:cNvPr>
              <p:cNvSpPr/>
              <p:nvPr/>
            </p:nvSpPr>
            <p:spPr>
              <a:xfrm>
                <a:off x="2045230" y="-1118645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FED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01E1AD8D-A168-0DEB-EA8D-83B069908B02}"/>
                  </a:ext>
                </a:extLst>
              </p:cNvPr>
              <p:cNvSpPr/>
              <p:nvPr/>
            </p:nvSpPr>
            <p:spPr>
              <a:xfrm>
                <a:off x="2045230" y="-1300153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E5E3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857C4790-0404-9E89-0604-6577F14CF9B7}"/>
                  </a:ext>
                </a:extLst>
              </p:cNvPr>
              <p:cNvSpPr/>
              <p:nvPr/>
            </p:nvSpPr>
            <p:spPr>
              <a:xfrm>
                <a:off x="2045230" y="-1663170"/>
                <a:ext cx="181508" cy="181508"/>
              </a:xfrm>
              <a:custGeom>
                <a:avLst/>
                <a:gdLst>
                  <a:gd name="connsiteX0" fmla="*/ 0 w 335346"/>
                  <a:gd name="connsiteY0" fmla="*/ 0 h 335346"/>
                  <a:gd name="connsiteX1" fmla="*/ 335347 w 335346"/>
                  <a:gd name="connsiteY1" fmla="*/ 0 h 335346"/>
                  <a:gd name="connsiteX2" fmla="*/ 335347 w 335346"/>
                  <a:gd name="connsiteY2" fmla="*/ 335347 h 335346"/>
                  <a:gd name="connsiteX3" fmla="*/ 0 w 335346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46" h="335346">
                    <a:moveTo>
                      <a:pt x="0" y="0"/>
                    </a:moveTo>
                    <a:lnTo>
                      <a:pt x="335347" y="0"/>
                    </a:lnTo>
                    <a:lnTo>
                      <a:pt x="33534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1CFC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4" name="Freihandform: Form 63">
                <a:extLst>
                  <a:ext uri="{FF2B5EF4-FFF2-40B4-BE49-F238E27FC236}">
                    <a16:creationId xmlns:a16="http://schemas.microsoft.com/office/drawing/2014/main" id="{D962A670-1564-047A-75C6-EC2C4246CAF1}"/>
                  </a:ext>
                </a:extLst>
              </p:cNvPr>
              <p:cNvSpPr/>
              <p:nvPr/>
            </p:nvSpPr>
            <p:spPr>
              <a:xfrm>
                <a:off x="2045230" y="-1481662"/>
                <a:ext cx="181503" cy="181508"/>
              </a:xfrm>
              <a:custGeom>
                <a:avLst/>
                <a:gdLst>
                  <a:gd name="connsiteX0" fmla="*/ 0 w 335337"/>
                  <a:gd name="connsiteY0" fmla="*/ 0 h 335346"/>
                  <a:gd name="connsiteX1" fmla="*/ 335337 w 335337"/>
                  <a:gd name="connsiteY1" fmla="*/ 0 h 335346"/>
                  <a:gd name="connsiteX2" fmla="*/ 335337 w 335337"/>
                  <a:gd name="connsiteY2" fmla="*/ 335347 h 335346"/>
                  <a:gd name="connsiteX3" fmla="*/ 0 w 335337"/>
                  <a:gd name="connsiteY3" fmla="*/ 335347 h 3353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5337" h="335346">
                    <a:moveTo>
                      <a:pt x="0" y="0"/>
                    </a:moveTo>
                    <a:lnTo>
                      <a:pt x="335337" y="0"/>
                    </a:lnTo>
                    <a:lnTo>
                      <a:pt x="335337" y="335347"/>
                    </a:lnTo>
                    <a:lnTo>
                      <a:pt x="0" y="335347"/>
                    </a:lnTo>
                    <a:close/>
                  </a:path>
                </a:pathLst>
              </a:custGeom>
              <a:solidFill>
                <a:srgbClr val="DBD9D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026244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6" r:id="rId2"/>
    <p:sldLayoutId id="2147483705" r:id="rId3"/>
    <p:sldLayoutId id="2147483706" r:id="rId4"/>
    <p:sldLayoutId id="2147483650" r:id="rId5"/>
    <p:sldLayoutId id="2147483669" r:id="rId6"/>
    <p:sldLayoutId id="2147483654" r:id="rId7"/>
    <p:sldLayoutId id="2147483666" r:id="rId8"/>
    <p:sldLayoutId id="2147483687" r:id="rId9"/>
    <p:sldLayoutId id="2147483665" r:id="rId10"/>
    <p:sldLayoutId id="2147483668" r:id="rId11"/>
    <p:sldLayoutId id="2147483688" r:id="rId12"/>
    <p:sldLayoutId id="2147483667" r:id="rId13"/>
    <p:sldLayoutId id="2147483680" r:id="rId14"/>
    <p:sldLayoutId id="2147483715" r:id="rId15"/>
    <p:sldLayoutId id="2147483689" r:id="rId16"/>
    <p:sldLayoutId id="2147483681" r:id="rId17"/>
    <p:sldLayoutId id="2147483716" r:id="rId18"/>
    <p:sldLayoutId id="2147483690" r:id="rId19"/>
    <p:sldLayoutId id="2147483670" r:id="rId20"/>
    <p:sldLayoutId id="2147483717" r:id="rId21"/>
    <p:sldLayoutId id="2147483691" r:id="rId22"/>
    <p:sldLayoutId id="2147483675" r:id="rId23"/>
    <p:sldLayoutId id="2147483718" r:id="rId24"/>
    <p:sldLayoutId id="2147483692" r:id="rId25"/>
    <p:sldLayoutId id="2147483674" r:id="rId26"/>
    <p:sldLayoutId id="2147483719" r:id="rId27"/>
    <p:sldLayoutId id="2147483693" r:id="rId28"/>
    <p:sldLayoutId id="2147483679" r:id="rId29"/>
    <p:sldLayoutId id="2147483720" r:id="rId30"/>
    <p:sldLayoutId id="2147483694" r:id="rId31"/>
    <p:sldLayoutId id="2147483672" r:id="rId32"/>
    <p:sldLayoutId id="2147483721" r:id="rId33"/>
    <p:sldLayoutId id="2147483695" r:id="rId34"/>
    <p:sldLayoutId id="2147483677" r:id="rId35"/>
    <p:sldLayoutId id="2147483722" r:id="rId36"/>
    <p:sldLayoutId id="2147483696" r:id="rId37"/>
    <p:sldLayoutId id="2147483682" r:id="rId38"/>
    <p:sldLayoutId id="2147483713" r:id="rId39"/>
    <p:sldLayoutId id="2147483697" r:id="rId40"/>
    <p:sldLayoutId id="2147483683" r:id="rId41"/>
    <p:sldLayoutId id="2147483714" r:id="rId42"/>
    <p:sldLayoutId id="2147483698" r:id="rId43"/>
    <p:sldLayoutId id="2147483671" r:id="rId44"/>
    <p:sldLayoutId id="2147483707" r:id="rId45"/>
    <p:sldLayoutId id="2147483699" r:id="rId46"/>
    <p:sldLayoutId id="2147483676" r:id="rId47"/>
    <p:sldLayoutId id="2147483708" r:id="rId48"/>
    <p:sldLayoutId id="2147483700" r:id="rId49"/>
    <p:sldLayoutId id="2147483684" r:id="rId50"/>
    <p:sldLayoutId id="2147483709" r:id="rId51"/>
    <p:sldLayoutId id="2147483701" r:id="rId52"/>
    <p:sldLayoutId id="2147483685" r:id="rId53"/>
    <p:sldLayoutId id="2147483710" r:id="rId54"/>
    <p:sldLayoutId id="2147483702" r:id="rId55"/>
    <p:sldLayoutId id="2147483673" r:id="rId56"/>
    <p:sldLayoutId id="2147483711" r:id="rId57"/>
    <p:sldLayoutId id="2147483703" r:id="rId58"/>
    <p:sldLayoutId id="2147483678" r:id="rId59"/>
    <p:sldLayoutId id="2147483712" r:id="rId60"/>
    <p:sldLayoutId id="2147483704" r:id="rId61"/>
    <p:sldLayoutId id="2147483655" r:id="rId62"/>
    <p:sldLayoutId id="2147483724" r:id="rId63"/>
  </p:sldLayoutIdLst>
  <p:hf hdr="0"/>
  <p:txStyles>
    <p:titleStyle>
      <a:lvl1pPr algn="l" defTabSz="914400" rtl="0" eaLnBrk="1" latinLnBrk="0" hangingPunct="1">
        <a:lnSpc>
          <a:spcPct val="105000"/>
        </a:lnSpc>
        <a:spcBef>
          <a:spcPct val="0"/>
        </a:spcBef>
        <a:buNone/>
        <a:defRPr sz="22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5000"/>
        </a:lnSpc>
        <a:spcBef>
          <a:spcPts val="0"/>
        </a:spcBef>
        <a:spcAft>
          <a:spcPts val="2100"/>
        </a:spcAft>
        <a:buFont typeface="Arial" panose="020B0604020202020204" pitchFamily="34" charset="0"/>
        <a:buNone/>
        <a:defRPr sz="22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4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39700" indent="-139700" algn="l" defTabSz="914400" rtl="0" eaLnBrk="1" latinLnBrk="0" hangingPunct="1">
        <a:lnSpc>
          <a:spcPct val="130000"/>
        </a:lnSpc>
        <a:spcBef>
          <a:spcPts val="0"/>
        </a:spcBef>
        <a:buClr>
          <a:schemeClr val="accent1"/>
        </a:buClr>
        <a:buSzPct val="135000"/>
        <a:buFont typeface="Arial" panose="020B0604020202020204" pitchFamily="34" charset="0"/>
        <a:buChar char="›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273050" indent="-131763" algn="l" defTabSz="914400" rtl="0" eaLnBrk="1" latinLnBrk="0" hangingPunct="1">
        <a:lnSpc>
          <a:spcPct val="130000"/>
        </a:lnSpc>
        <a:spcBef>
          <a:spcPts val="0"/>
        </a:spcBef>
        <a:buClr>
          <a:schemeClr val="accent1"/>
        </a:buClr>
        <a:buSzPct val="135000"/>
        <a:buFont typeface="Arial" panose="020B0604020202020204" pitchFamily="34" charset="0"/>
        <a:buChar char="›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412750" indent="-136525" algn="l" defTabSz="914400" rtl="0" eaLnBrk="1" latinLnBrk="0" hangingPunct="1">
        <a:lnSpc>
          <a:spcPct val="130000"/>
        </a:lnSpc>
        <a:spcBef>
          <a:spcPts val="0"/>
        </a:spcBef>
        <a:buClr>
          <a:schemeClr val="accent1"/>
        </a:buClr>
        <a:buSzPct val="135000"/>
        <a:buFont typeface="Arial" panose="020B0604020202020204" pitchFamily="34" charset="0"/>
        <a:buChar char="›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39750" indent="-130175" algn="l" defTabSz="914400" rtl="0" eaLnBrk="1" latinLnBrk="0" hangingPunct="1">
        <a:lnSpc>
          <a:spcPct val="130000"/>
        </a:lnSpc>
        <a:spcBef>
          <a:spcPts val="0"/>
        </a:spcBef>
        <a:buClr>
          <a:schemeClr val="accent1"/>
        </a:buClr>
        <a:buSzPct val="135000"/>
        <a:buFont typeface="Arial" panose="020B0604020202020204" pitchFamily="34" charset="0"/>
        <a:buChar char="›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679450" indent="-134938" algn="l" defTabSz="914400" rtl="0" eaLnBrk="1" latinLnBrk="0" hangingPunct="1">
        <a:lnSpc>
          <a:spcPct val="130000"/>
        </a:lnSpc>
        <a:spcBef>
          <a:spcPts val="0"/>
        </a:spcBef>
        <a:buClr>
          <a:schemeClr val="accent1"/>
        </a:buClr>
        <a:buSzPct val="135000"/>
        <a:buFont typeface="Arial" panose="020B0604020202020204" pitchFamily="34" charset="0"/>
        <a:buChar char="›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6" userDrawn="1">
          <p15:clr>
            <a:srgbClr val="F26B43"/>
          </p15:clr>
        </p15:guide>
        <p15:guide id="2" orient="horz" pos="4004" userDrawn="1">
          <p15:clr>
            <a:srgbClr val="F26B43"/>
          </p15:clr>
        </p15:guide>
        <p15:guide id="3" pos="7265" userDrawn="1">
          <p15:clr>
            <a:srgbClr val="F26B43"/>
          </p15:clr>
        </p15:guide>
        <p15:guide id="4" pos="415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pos="1912" userDrawn="1">
          <p15:clr>
            <a:srgbClr val="F26B43"/>
          </p15:clr>
        </p15:guide>
        <p15:guide id="7" pos="5768" userDrawn="1">
          <p15:clr>
            <a:srgbClr val="F26B43"/>
          </p15:clr>
        </p15:guide>
        <p15:guide id="8" orient="horz" pos="572" userDrawn="1">
          <p15:clr>
            <a:srgbClr val="F26B43"/>
          </p15:clr>
        </p15:guide>
        <p15:guide id="9" orient="horz" pos="8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9.png"/><Relationship Id="rId4" Type="http://schemas.openxmlformats.org/officeDocument/2006/relationships/image" Target="../media/image27.sv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6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1.png"/><Relationship Id="rId11" Type="http://schemas.openxmlformats.org/officeDocument/2006/relationships/image" Target="../media/image44.png"/><Relationship Id="rId5" Type="http://schemas.openxmlformats.org/officeDocument/2006/relationships/image" Target="../media/image40.png"/><Relationship Id="rId10" Type="http://schemas.openxmlformats.org/officeDocument/2006/relationships/image" Target="../media/image27.svg"/><Relationship Id="rId4" Type="http://schemas.openxmlformats.org/officeDocument/2006/relationships/image" Target="../media/image7.png"/><Relationship Id="rId9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ydrogenious.net/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hyperlink" Target="mailto:info@hydrogenious.net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6.png"/><Relationship Id="rId5" Type="http://schemas.openxmlformats.org/officeDocument/2006/relationships/image" Target="../media/image27.svg"/><Relationship Id="rId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svg"/><Relationship Id="rId3" Type="http://schemas.openxmlformats.org/officeDocument/2006/relationships/image" Target="../media/image10.png"/><Relationship Id="rId7" Type="http://schemas.openxmlformats.org/officeDocument/2006/relationships/image" Target="../media/image14.svg"/><Relationship Id="rId12" Type="http://schemas.openxmlformats.org/officeDocument/2006/relationships/image" Target="../media/image19.png"/><Relationship Id="rId17" Type="http://schemas.openxmlformats.org/officeDocument/2006/relationships/image" Target="../media/image24.sv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23.png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13.png"/><Relationship Id="rId11" Type="http://schemas.openxmlformats.org/officeDocument/2006/relationships/image" Target="../media/image18.svg"/><Relationship Id="rId5" Type="http://schemas.openxmlformats.org/officeDocument/2006/relationships/image" Target="../media/image12.svg"/><Relationship Id="rId15" Type="http://schemas.openxmlformats.org/officeDocument/2006/relationships/image" Target="../media/image22.sv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svg"/><Relationship Id="rId1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7.svg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1.png"/><Relationship Id="rId5" Type="http://schemas.openxmlformats.org/officeDocument/2006/relationships/image" Target="../media/image30.svg"/><Relationship Id="rId10" Type="http://schemas.openxmlformats.org/officeDocument/2006/relationships/image" Target="../media/image27.svg"/><Relationship Id="rId4" Type="http://schemas.openxmlformats.org/officeDocument/2006/relationships/image" Target="../media/image29.png"/><Relationship Id="rId9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4.jpeg"/><Relationship Id="rId7" Type="http://schemas.openxmlformats.org/officeDocument/2006/relationships/image" Target="../media/image18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11" Type="http://schemas.openxmlformats.org/officeDocument/2006/relationships/image" Target="../media/image27.svg"/><Relationship Id="rId5" Type="http://schemas.openxmlformats.org/officeDocument/2006/relationships/image" Target="../media/image36.jpeg"/><Relationship Id="rId10" Type="http://schemas.openxmlformats.org/officeDocument/2006/relationships/image" Target="../media/image26.png"/><Relationship Id="rId4" Type="http://schemas.openxmlformats.org/officeDocument/2006/relationships/image" Target="../media/image35.jpeg"/><Relationship Id="rId9" Type="http://schemas.openxmlformats.org/officeDocument/2006/relationships/image" Target="../media/image3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D17E2BE-ED98-B1D5-A366-132B0EB487D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z="48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</a:t>
            </a:r>
            <a:r>
              <a:rPr lang="de-DE" sz="4800" b="1" baseline="-25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2</a:t>
            </a:r>
            <a:r>
              <a:rPr lang="de-DE" sz="48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-Transportoption</a:t>
            </a:r>
            <a:r>
              <a:rPr lang="de-DE" sz="4800" b="1">
                <a:latin typeface="Calibri" panose="020F0502020204030204" pitchFamily="34" charset="0"/>
                <a:ea typeface="Calibri" panose="020F0502020204030204" pitchFamily="34" charset="0"/>
              </a:rPr>
              <a:t>en</a:t>
            </a:r>
            <a:endParaRPr lang="en-GB" sz="4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51005CC-F4D1-8442-5018-BE97D8ED94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15.12.23 | Markus Albuscheit | </a:t>
            </a:r>
            <a:r>
              <a:rPr lang="en-GB" err="1"/>
              <a:t>Strommarkttreffen</a:t>
            </a:r>
            <a:endParaRPr lang="en-GB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6FC6A2C-E141-A7E5-AA7C-0593E7B41567}"/>
              </a:ext>
            </a:extLst>
          </p:cNvPr>
          <p:cNvSpPr txBox="1"/>
          <p:nvPr/>
        </p:nvSpPr>
        <p:spPr>
          <a:xfrm>
            <a:off x="9156700" y="5707329"/>
            <a:ext cx="2376488" cy="664947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>
              <a:lnSpc>
                <a:spcPts val="1200"/>
              </a:lnSpc>
            </a:pPr>
            <a:r>
              <a:rPr lang="en-US" sz="800">
                <a:solidFill>
                  <a:schemeClr val="bg1"/>
                </a:solidFill>
              </a:rPr>
              <a:t>CONFIDENTIAL AND PROPRIETARY</a:t>
            </a:r>
          </a:p>
          <a:p>
            <a:pPr>
              <a:lnSpc>
                <a:spcPts val="1200"/>
              </a:lnSpc>
            </a:pPr>
            <a:r>
              <a:rPr lang="en-US" sz="800">
                <a:solidFill>
                  <a:schemeClr val="bg1"/>
                </a:solidFill>
              </a:rPr>
              <a:t>Any use of this material without specific permission of HYDROGENIOUS LOHC TECHNOLOGIES is strictly prohibited</a:t>
            </a:r>
            <a:endParaRPr lang="de-DE" sz="800">
              <a:solidFill>
                <a:schemeClr val="bg1"/>
              </a:solidFill>
            </a:endParaRPr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2D5D698F-29D6-FCC4-E5CD-798B19D5959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sz="28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erschiedene Perspektiven im Blick</a:t>
            </a:r>
            <a:endParaRPr lang="en-GB" sz="2800"/>
          </a:p>
        </p:txBody>
      </p:sp>
    </p:spTree>
    <p:extLst>
      <p:ext uri="{BB962C8B-B14F-4D97-AF65-F5344CB8AC3E}">
        <p14:creationId xmlns:p14="http://schemas.microsoft.com/office/powerpoint/2010/main" val="28304801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7CB53F27-7AB3-C594-83F2-7F716F6860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1" y="763657"/>
            <a:ext cx="10021757" cy="396000"/>
          </a:xfrm>
        </p:spPr>
        <p:txBody>
          <a:bodyPr/>
          <a:lstStyle/>
          <a:p>
            <a:r>
              <a:rPr lang="en-US"/>
              <a:t>TRL - all technologies still have to mature and be scaled up to ensure availability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E544419-D65E-039F-C114-E329B6CA57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Availability</a:t>
            </a:r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8AF9803C-9415-C1A9-1584-36C2328B7D56}"/>
              </a:ext>
            </a:extLst>
          </p:cNvPr>
          <p:cNvSpPr txBox="1">
            <a:spLocks/>
          </p:cNvSpPr>
          <p:nvPr/>
        </p:nvSpPr>
        <p:spPr bwMode="gray">
          <a:xfrm>
            <a:off x="785019" y="5746165"/>
            <a:ext cx="10621962" cy="46535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68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317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96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06400" indent="-130175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40400" indent="-134938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solidFill>
                  <a:schemeClr val="bg1"/>
                </a:solidFill>
                <a:sym typeface="Wingdings" panose="05000000000000000000" pitchFamily="2" charset="2"/>
              </a:rPr>
              <a:t>Basically, all </a:t>
            </a:r>
            <a:r>
              <a:rPr lang="en-US" sz="1400" b="1">
                <a:solidFill>
                  <a:schemeClr val="bg1"/>
                </a:solidFill>
                <a:sym typeface="Wingdings" panose="05000000000000000000" pitchFamily="2" charset="2"/>
              </a:rPr>
              <a:t>large-scale projects </a:t>
            </a:r>
            <a:r>
              <a:rPr lang="en-US" sz="1400">
                <a:solidFill>
                  <a:schemeClr val="bg1"/>
                </a:solidFill>
                <a:sym typeface="Wingdings" panose="05000000000000000000" pitchFamily="2" charset="2"/>
              </a:rPr>
              <a:t>that are considered and calculated already, are </a:t>
            </a:r>
            <a:r>
              <a:rPr lang="en-US" sz="1400" b="1">
                <a:solidFill>
                  <a:schemeClr val="bg1"/>
                </a:solidFill>
                <a:sym typeface="Wingdings" panose="05000000000000000000" pitchFamily="2" charset="2"/>
              </a:rPr>
              <a:t>not feasible yet</a:t>
            </a:r>
            <a:r>
              <a:rPr lang="en-US" sz="1400">
                <a:solidFill>
                  <a:schemeClr val="bg1"/>
                </a:solidFill>
                <a:sym typeface="Wingdings" panose="05000000000000000000" pitchFamily="2" charset="2"/>
              </a:rPr>
              <a:t>!</a:t>
            </a:r>
            <a:endParaRPr lang="en-US" sz="1050">
              <a:solidFill>
                <a:schemeClr val="bg1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FAAE0CF1-6A8E-6F19-F2B7-C95960E0F510}"/>
              </a:ext>
            </a:extLst>
          </p:cNvPr>
          <p:cNvGrpSpPr/>
          <p:nvPr/>
        </p:nvGrpSpPr>
        <p:grpSpPr>
          <a:xfrm>
            <a:off x="576902" y="5541723"/>
            <a:ext cx="462038" cy="465356"/>
            <a:chOff x="2317153" y="1843570"/>
            <a:chExt cx="462038" cy="465356"/>
          </a:xfrm>
        </p:grpSpPr>
        <p:sp>
          <p:nvSpPr>
            <p:cNvPr id="38" name="Oval 464">
              <a:extLst>
                <a:ext uri="{FF2B5EF4-FFF2-40B4-BE49-F238E27FC236}">
                  <a16:creationId xmlns:a16="http://schemas.microsoft.com/office/drawing/2014/main" id="{B0FEE393-C586-9080-F921-C24D53F443F8}"/>
                </a:ext>
              </a:extLst>
            </p:cNvPr>
            <p:cNvSpPr/>
            <p:nvPr/>
          </p:nvSpPr>
          <p:spPr>
            <a:xfrm>
              <a:off x="2317153" y="1843570"/>
              <a:ext cx="462038" cy="465356"/>
            </a:xfrm>
            <a:prstGeom prst="ellipse">
              <a:avLst/>
            </a:prstGeom>
            <a:ln w="190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en-US" sz="1100"/>
            </a:p>
          </p:txBody>
        </p:sp>
        <p:pic>
          <p:nvPicPr>
            <p:cNvPr id="39" name="Grafik 38" descr="Glühlampe mit einfarbiger Füllung">
              <a:extLst>
                <a:ext uri="{FF2B5EF4-FFF2-40B4-BE49-F238E27FC236}">
                  <a16:creationId xmlns:a16="http://schemas.microsoft.com/office/drawing/2014/main" id="{6F7AC8B9-02A9-C80A-D93D-43F2ECCDFBA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350172" y="1875544"/>
              <a:ext cx="396000" cy="396000"/>
            </a:xfrm>
            <a:prstGeom prst="rect">
              <a:avLst/>
            </a:prstGeom>
          </p:spPr>
        </p:pic>
      </p:grpSp>
      <p:sp>
        <p:nvSpPr>
          <p:cNvPr id="42" name="Textfeld 41">
            <a:extLst>
              <a:ext uri="{FF2B5EF4-FFF2-40B4-BE49-F238E27FC236}">
                <a16:creationId xmlns:a16="http://schemas.microsoft.com/office/drawing/2014/main" id="{BEB28C7F-B086-E2F2-D563-03492C3F2938}"/>
              </a:ext>
            </a:extLst>
          </p:cNvPr>
          <p:cNvSpPr txBox="1"/>
          <p:nvPr/>
        </p:nvSpPr>
        <p:spPr>
          <a:xfrm>
            <a:off x="2510205" y="6374829"/>
            <a:ext cx="6102853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900"/>
              <a:t>Source: IEA, Global Hydrogen Review 2023, Page 123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7DF15F0-33F7-25B0-AB6C-45E3BE44DAD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60545" y="1332125"/>
            <a:ext cx="8870909" cy="4280369"/>
          </a:xfrm>
          <a:prstGeom prst="rect">
            <a:avLst/>
          </a:prstGeom>
        </p:spPr>
      </p:pic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A72F9F2C-D388-6993-0A04-BCA5176382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10</a:t>
            </a:fld>
            <a:endParaRPr lang="en-GB" noProof="0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AD60BD69-99CB-8695-6FF0-9CA4D6E711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87ED32D9-2DCF-14A0-8602-3E7651E82E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648386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A0B3B4E7-02EB-A204-1B01-3FB8A2286B1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/>
              <a:t>3. </a:t>
            </a:r>
            <a:r>
              <a:rPr lang="de-DE" err="1"/>
              <a:t>Safet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32027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7CB53F27-7AB3-C594-83F2-7F716F6860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How</a:t>
            </a:r>
            <a:r>
              <a:rPr lang="de-DE"/>
              <a:t> </a:t>
            </a:r>
            <a:r>
              <a:rPr lang="de-DE" err="1"/>
              <a:t>can</a:t>
            </a:r>
            <a:r>
              <a:rPr lang="de-DE"/>
              <a:t> </a:t>
            </a:r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enable</a:t>
            </a:r>
            <a:r>
              <a:rPr lang="de-DE"/>
              <a:t> a safe hydrogen </a:t>
            </a:r>
            <a:r>
              <a:rPr lang="de-DE" err="1"/>
              <a:t>supply</a:t>
            </a:r>
            <a:r>
              <a:rPr lang="de-DE"/>
              <a:t> </a:t>
            </a:r>
            <a:r>
              <a:rPr lang="de-DE" err="1"/>
              <a:t>chain</a:t>
            </a:r>
            <a:r>
              <a:rPr lang="de-DE"/>
              <a:t>?</a:t>
            </a:r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ADE48C3-5B78-E086-EE44-BCF40AAA20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8814" y="1672962"/>
            <a:ext cx="6803502" cy="450383"/>
          </a:xfrm>
        </p:spPr>
        <p:txBody>
          <a:bodyPr/>
          <a:lstStyle/>
          <a:p>
            <a:r>
              <a:rPr lang="en-US">
                <a:latin typeface="+mj-lt"/>
                <a:cs typeface="Calibri" panose="020F0502020204030204" pitchFamily="34" charset="0"/>
              </a:rPr>
              <a:t>Or: How to keep the egg from breaking?</a:t>
            </a:r>
          </a:p>
          <a:p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E544419-D65E-039F-C114-E329B6CA57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err="1"/>
              <a:t>Safety</a:t>
            </a:r>
            <a:endParaRPr lang="en-US"/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243114D7-9AA6-0403-F042-FF03D979227E}"/>
              </a:ext>
            </a:extLst>
          </p:cNvPr>
          <p:cNvSpPr txBox="1">
            <a:spLocks/>
          </p:cNvSpPr>
          <p:nvPr/>
        </p:nvSpPr>
        <p:spPr bwMode="gray">
          <a:xfrm>
            <a:off x="5985574" y="2138372"/>
            <a:ext cx="5848860" cy="186828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68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317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96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06400" indent="-130175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40400" indent="-134938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>
              <a:solidFill>
                <a:schemeClr val="bg1"/>
              </a:solidFill>
            </a:endParaRP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EF20D02E-C1D6-DDE0-1EA6-795BB4751D3E}"/>
              </a:ext>
            </a:extLst>
          </p:cNvPr>
          <p:cNvGrpSpPr/>
          <p:nvPr/>
        </p:nvGrpSpPr>
        <p:grpSpPr>
          <a:xfrm>
            <a:off x="658812" y="2616006"/>
            <a:ext cx="2129608" cy="2129608"/>
            <a:chOff x="4806857" y="3460470"/>
            <a:chExt cx="2129608" cy="2129608"/>
          </a:xfrm>
        </p:grpSpPr>
        <p:pic>
          <p:nvPicPr>
            <p:cNvPr id="11" name="Grafik 10" descr="Ein Bild, das Kreis enthält.&#10;&#10;Automatisch generierte Beschreibung">
              <a:extLst>
                <a:ext uri="{FF2B5EF4-FFF2-40B4-BE49-F238E27FC236}">
                  <a16:creationId xmlns:a16="http://schemas.microsoft.com/office/drawing/2014/main" id="{498F617E-98AD-1320-654A-0D1665C1B2A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09356" y="3862969"/>
              <a:ext cx="1324610" cy="1324610"/>
            </a:xfrm>
            <a:prstGeom prst="rect">
              <a:avLst/>
            </a:prstGeom>
          </p:spPr>
        </p:pic>
        <p:pic>
          <p:nvPicPr>
            <p:cNvPr id="12" name="Grafik 11" descr="Ein Bild, das Design, Darstellung, Kunst enthält.&#10;&#10;Automatisch generierte Beschreibung mit mittlerer Zuverlässigkeit">
              <a:extLst>
                <a:ext uri="{FF2B5EF4-FFF2-40B4-BE49-F238E27FC236}">
                  <a16:creationId xmlns:a16="http://schemas.microsoft.com/office/drawing/2014/main" id="{1B143864-F3BE-7DA5-38B4-50D131D3BB7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06857" y="3460470"/>
              <a:ext cx="2129608" cy="2129608"/>
            </a:xfrm>
            <a:prstGeom prst="rect">
              <a:avLst/>
            </a:prstGeom>
          </p:spPr>
        </p:pic>
      </p:grpSp>
      <p:pic>
        <p:nvPicPr>
          <p:cNvPr id="13" name="Grafik 12" descr="Ein Bild, das Clipart, Grafiken, Cartoon enthält.&#10;&#10;Automatisch generierte Beschreibung">
            <a:extLst>
              <a:ext uri="{FF2B5EF4-FFF2-40B4-BE49-F238E27FC236}">
                <a16:creationId xmlns:a16="http://schemas.microsoft.com/office/drawing/2014/main" id="{5905BC56-F8DE-36F8-3EE7-66819B9E5DD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5827" y="5018813"/>
            <a:ext cx="1105081" cy="1105081"/>
          </a:xfrm>
          <a:prstGeom prst="rect">
            <a:avLst/>
          </a:prstGeom>
        </p:spPr>
      </p:pic>
      <p:pic>
        <p:nvPicPr>
          <p:cNvPr id="16" name="Grafik 15" descr="Ein Bild, das Design, Darstellung, Kunst enthält.&#10;&#10;Automatisch generierte Beschreibung mit mittlerer Zuverlässigkeit">
            <a:extLst>
              <a:ext uri="{FF2B5EF4-FFF2-40B4-BE49-F238E27FC236}">
                <a16:creationId xmlns:a16="http://schemas.microsoft.com/office/drawing/2014/main" id="{170EFF63-ECC7-6053-66A4-1ABF3D6F4C4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3564" y="2583953"/>
            <a:ext cx="2129608" cy="2129608"/>
          </a:xfrm>
          <a:prstGeom prst="rect">
            <a:avLst/>
          </a:prstGeom>
        </p:spPr>
      </p:pic>
      <p:sp>
        <p:nvSpPr>
          <p:cNvPr id="8" name="Textplatzhalter 4">
            <a:extLst>
              <a:ext uri="{FF2B5EF4-FFF2-40B4-BE49-F238E27FC236}">
                <a16:creationId xmlns:a16="http://schemas.microsoft.com/office/drawing/2014/main" id="{7793E73D-46A6-347C-D563-165C1D898DD1}"/>
              </a:ext>
            </a:extLst>
          </p:cNvPr>
          <p:cNvSpPr txBox="1">
            <a:spLocks/>
          </p:cNvSpPr>
          <p:nvPr/>
        </p:nvSpPr>
        <p:spPr bwMode="gray">
          <a:xfrm>
            <a:off x="4381340" y="1304925"/>
            <a:ext cx="6803502" cy="7533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2100"/>
              </a:spcAft>
              <a:buFont typeface="Arial" panose="020B0604020202020204" pitchFamily="34" charset="0"/>
              <a:buNone/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9700" indent="-139700" algn="l" defTabSz="914400" rtl="0" eaLnBrk="1" latinLnBrk="0" hangingPunct="1">
              <a:lnSpc>
                <a:spcPct val="130000"/>
              </a:lnSpc>
              <a:spcBef>
                <a:spcPts val="0"/>
              </a:spcBef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3050" indent="-131763" algn="l" defTabSz="914400" rtl="0" eaLnBrk="1" latinLnBrk="0" hangingPunct="1">
              <a:lnSpc>
                <a:spcPct val="130000"/>
              </a:lnSpc>
              <a:spcBef>
                <a:spcPts val="0"/>
              </a:spcBef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2750" indent="-136525" algn="l" defTabSz="914400" rtl="0" eaLnBrk="1" latinLnBrk="0" hangingPunct="1">
              <a:lnSpc>
                <a:spcPct val="130000"/>
              </a:lnSpc>
              <a:spcBef>
                <a:spcPts val="0"/>
              </a:spcBef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750" indent="-130175" algn="l" defTabSz="914400" rtl="0" eaLnBrk="1" latinLnBrk="0" hangingPunct="1">
              <a:lnSpc>
                <a:spcPct val="130000"/>
              </a:lnSpc>
              <a:spcBef>
                <a:spcPts val="0"/>
              </a:spcBef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79450" indent="-134938" algn="l" defTabSz="914400" rtl="0" eaLnBrk="1" latinLnBrk="0" hangingPunct="1">
              <a:lnSpc>
                <a:spcPct val="130000"/>
              </a:lnSpc>
              <a:spcBef>
                <a:spcPts val="0"/>
              </a:spcBef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latin typeface="+mj-lt"/>
              <a:cs typeface="Calibri" panose="020F0502020204030204" pitchFamily="34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9E967C2-715B-632C-1E4E-0E7A74B4A632}"/>
              </a:ext>
            </a:extLst>
          </p:cNvPr>
          <p:cNvSpPr/>
          <p:nvPr/>
        </p:nvSpPr>
        <p:spPr>
          <a:xfrm rot="16200000">
            <a:off x="5923368" y="3071539"/>
            <a:ext cx="1042391" cy="4826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r>
              <a:rPr lang="de-DE" sz="1100"/>
              <a:t>Hazard &amp;</a:t>
            </a:r>
            <a:br>
              <a:rPr lang="de-DE" sz="1100"/>
            </a:br>
            <a:r>
              <a:rPr lang="de-DE" sz="1100" err="1"/>
              <a:t>toxicity</a:t>
            </a:r>
            <a:r>
              <a:rPr lang="de-DE" sz="1100"/>
              <a:t> </a:t>
            </a:r>
            <a:r>
              <a:rPr lang="de-DE" sz="1100" err="1"/>
              <a:t>profile</a:t>
            </a:r>
            <a:endParaRPr lang="de-DE" sz="110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AC8A4FE7-FD4C-B509-ADE7-9A10EF0D4F99}"/>
              </a:ext>
            </a:extLst>
          </p:cNvPr>
          <p:cNvSpPr/>
          <p:nvPr/>
        </p:nvSpPr>
        <p:spPr>
          <a:xfrm>
            <a:off x="6787829" y="2790482"/>
            <a:ext cx="1527295" cy="10352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>
              <a:solidFill>
                <a:schemeClr val="tx1"/>
              </a:solidFill>
            </a:endParaRPr>
          </a:p>
        </p:txBody>
      </p:sp>
      <p:pic>
        <p:nvPicPr>
          <p:cNvPr id="19" name="Grafik 538">
            <a:extLst>
              <a:ext uri="{FF2B5EF4-FFF2-40B4-BE49-F238E27FC236}">
                <a16:creationId xmlns:a16="http://schemas.microsoft.com/office/drawing/2014/main" id="{9C915977-B792-0558-A718-558C5F073D5A}"/>
              </a:ext>
            </a:extLst>
          </p:cNvPr>
          <p:cNvPicPr>
            <a:picLocks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69398" y="2824669"/>
            <a:ext cx="294803" cy="294803"/>
          </a:xfrm>
          <a:prstGeom prst="rect">
            <a:avLst/>
          </a:prstGeom>
        </p:spPr>
      </p:pic>
      <p:pic>
        <p:nvPicPr>
          <p:cNvPr id="20" name="Grafik 534">
            <a:extLst>
              <a:ext uri="{FF2B5EF4-FFF2-40B4-BE49-F238E27FC236}">
                <a16:creationId xmlns:a16="http://schemas.microsoft.com/office/drawing/2014/main" id="{050BD204-35CA-4857-3BF9-9E262ED8B0B2}"/>
              </a:ext>
            </a:extLst>
          </p:cNvPr>
          <p:cNvPicPr>
            <a:picLocks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69398" y="3154233"/>
            <a:ext cx="293830" cy="293830"/>
          </a:xfrm>
          <a:prstGeom prst="rect">
            <a:avLst/>
          </a:prstGeom>
        </p:spPr>
      </p:pic>
      <p:pic>
        <p:nvPicPr>
          <p:cNvPr id="21" name="Grafik 536">
            <a:extLst>
              <a:ext uri="{FF2B5EF4-FFF2-40B4-BE49-F238E27FC236}">
                <a16:creationId xmlns:a16="http://schemas.microsoft.com/office/drawing/2014/main" id="{4ED27BB9-6CD4-3BD9-DC6A-BEC8769FA71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69306" y="3489960"/>
            <a:ext cx="293922" cy="293922"/>
          </a:xfrm>
          <a:prstGeom prst="rect">
            <a:avLst/>
          </a:prstGeom>
        </p:spPr>
      </p:pic>
      <p:sp>
        <p:nvSpPr>
          <p:cNvPr id="22" name="Rechteck 21">
            <a:extLst>
              <a:ext uri="{FF2B5EF4-FFF2-40B4-BE49-F238E27FC236}">
                <a16:creationId xmlns:a16="http://schemas.microsoft.com/office/drawing/2014/main" id="{19B4C74B-2CBF-A76A-5759-985BFA22E69C}"/>
              </a:ext>
            </a:extLst>
          </p:cNvPr>
          <p:cNvSpPr/>
          <p:nvPr/>
        </p:nvSpPr>
        <p:spPr>
          <a:xfrm>
            <a:off x="7327008" y="2882070"/>
            <a:ext cx="180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 err="1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71976F1-654B-4634-BDA6-15D0F2DFE4B8}"/>
              </a:ext>
            </a:extLst>
          </p:cNvPr>
          <p:cNvSpPr/>
          <p:nvPr/>
        </p:nvSpPr>
        <p:spPr>
          <a:xfrm>
            <a:off x="7655418" y="2882070"/>
            <a:ext cx="180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 err="1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D97EAC7E-5739-AD74-C370-FE819D712CF1}"/>
              </a:ext>
            </a:extLst>
          </p:cNvPr>
          <p:cNvSpPr/>
          <p:nvPr/>
        </p:nvSpPr>
        <p:spPr>
          <a:xfrm>
            <a:off x="7983827" y="2882070"/>
            <a:ext cx="180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 err="1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FB204F54-A0D3-9B51-7258-F2CD3C11931C}"/>
              </a:ext>
            </a:extLst>
          </p:cNvPr>
          <p:cNvSpPr/>
          <p:nvPr/>
        </p:nvSpPr>
        <p:spPr>
          <a:xfrm>
            <a:off x="7327008" y="3209775"/>
            <a:ext cx="180000" cy="18000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 err="1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778D14AA-E1F6-DE46-2DEB-6735717FBBC2}"/>
              </a:ext>
            </a:extLst>
          </p:cNvPr>
          <p:cNvSpPr/>
          <p:nvPr/>
        </p:nvSpPr>
        <p:spPr>
          <a:xfrm>
            <a:off x="7651261" y="3209775"/>
            <a:ext cx="180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44487910-740C-A904-863E-CFB6761ACF44}"/>
              </a:ext>
            </a:extLst>
          </p:cNvPr>
          <p:cNvSpPr/>
          <p:nvPr/>
        </p:nvSpPr>
        <p:spPr>
          <a:xfrm>
            <a:off x="7983827" y="3209775"/>
            <a:ext cx="180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 err="1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B8662B44-C427-9A8F-3E47-10055AA034AB}"/>
              </a:ext>
            </a:extLst>
          </p:cNvPr>
          <p:cNvSpPr/>
          <p:nvPr/>
        </p:nvSpPr>
        <p:spPr>
          <a:xfrm>
            <a:off x="7329450" y="3548080"/>
            <a:ext cx="180000" cy="18000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 err="1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CCB5EFB7-C976-FFD3-4D84-77E3E78477AB}"/>
              </a:ext>
            </a:extLst>
          </p:cNvPr>
          <p:cNvSpPr/>
          <p:nvPr/>
        </p:nvSpPr>
        <p:spPr>
          <a:xfrm>
            <a:off x="7653703" y="3548080"/>
            <a:ext cx="180000" cy="18000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 err="1"/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82D81056-F399-59D6-EF63-2175CE0F2882}"/>
              </a:ext>
            </a:extLst>
          </p:cNvPr>
          <p:cNvSpPr/>
          <p:nvPr/>
        </p:nvSpPr>
        <p:spPr>
          <a:xfrm>
            <a:off x="7986269" y="3548080"/>
            <a:ext cx="180000" cy="18000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 err="1"/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759B0E3C-E3E0-A97D-DBA1-BD97FD4AF86D}"/>
              </a:ext>
            </a:extLst>
          </p:cNvPr>
          <p:cNvSpPr/>
          <p:nvPr/>
        </p:nvSpPr>
        <p:spPr>
          <a:xfrm>
            <a:off x="8429441" y="2792122"/>
            <a:ext cx="1534081" cy="10350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>
              <a:solidFill>
                <a:schemeClr val="tx1"/>
              </a:solidFill>
            </a:endParaRPr>
          </a:p>
        </p:txBody>
      </p:sp>
      <p:pic>
        <p:nvPicPr>
          <p:cNvPr id="32" name="Grafik 538">
            <a:extLst>
              <a:ext uri="{FF2B5EF4-FFF2-40B4-BE49-F238E27FC236}">
                <a16:creationId xmlns:a16="http://schemas.microsoft.com/office/drawing/2014/main" id="{C60AE1C8-E676-C8D0-7D1D-CEF6EE8F151B}"/>
              </a:ext>
            </a:extLst>
          </p:cNvPr>
          <p:cNvPicPr>
            <a:picLocks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18206" y="2826155"/>
            <a:ext cx="294803" cy="294803"/>
          </a:xfrm>
          <a:prstGeom prst="rect">
            <a:avLst/>
          </a:prstGeom>
        </p:spPr>
      </p:pic>
      <p:pic>
        <p:nvPicPr>
          <p:cNvPr id="33" name="Grafik 534">
            <a:extLst>
              <a:ext uri="{FF2B5EF4-FFF2-40B4-BE49-F238E27FC236}">
                <a16:creationId xmlns:a16="http://schemas.microsoft.com/office/drawing/2014/main" id="{5B646D70-2DBC-1D5A-3810-602BA27218E4}"/>
              </a:ext>
            </a:extLst>
          </p:cNvPr>
          <p:cNvPicPr>
            <a:picLocks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18206" y="3155719"/>
            <a:ext cx="293830" cy="293830"/>
          </a:xfrm>
          <a:prstGeom prst="rect">
            <a:avLst/>
          </a:prstGeom>
        </p:spPr>
      </p:pic>
      <p:pic>
        <p:nvPicPr>
          <p:cNvPr id="34" name="Grafik 536">
            <a:extLst>
              <a:ext uri="{FF2B5EF4-FFF2-40B4-BE49-F238E27FC236}">
                <a16:creationId xmlns:a16="http://schemas.microsoft.com/office/drawing/2014/main" id="{BAF8A7E2-1224-D36A-63C1-5801EA6E3DD3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18114" y="3491446"/>
            <a:ext cx="293922" cy="293922"/>
          </a:xfrm>
          <a:prstGeom prst="rect">
            <a:avLst/>
          </a:prstGeom>
        </p:spPr>
      </p:pic>
      <p:sp>
        <p:nvSpPr>
          <p:cNvPr id="35" name="Rechteck 34">
            <a:extLst>
              <a:ext uri="{FF2B5EF4-FFF2-40B4-BE49-F238E27FC236}">
                <a16:creationId xmlns:a16="http://schemas.microsoft.com/office/drawing/2014/main" id="{AE13CD89-3069-FD3C-D651-B09041905B80}"/>
              </a:ext>
            </a:extLst>
          </p:cNvPr>
          <p:cNvSpPr/>
          <p:nvPr/>
        </p:nvSpPr>
        <p:spPr>
          <a:xfrm>
            <a:off x="8975816" y="2883556"/>
            <a:ext cx="180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 err="1"/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BC60F28C-1F28-FE6C-130B-F26A104FAE54}"/>
              </a:ext>
            </a:extLst>
          </p:cNvPr>
          <p:cNvSpPr/>
          <p:nvPr/>
        </p:nvSpPr>
        <p:spPr>
          <a:xfrm>
            <a:off x="9300069" y="2883556"/>
            <a:ext cx="180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 err="1"/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F5B92749-7FE1-3118-B53E-A5C0A7EAA190}"/>
              </a:ext>
            </a:extLst>
          </p:cNvPr>
          <p:cNvSpPr/>
          <p:nvPr/>
        </p:nvSpPr>
        <p:spPr>
          <a:xfrm>
            <a:off x="9632635" y="2883556"/>
            <a:ext cx="180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 err="1"/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EF927286-534E-5183-0D25-4242106D034D}"/>
              </a:ext>
            </a:extLst>
          </p:cNvPr>
          <p:cNvSpPr/>
          <p:nvPr/>
        </p:nvSpPr>
        <p:spPr>
          <a:xfrm>
            <a:off x="8975816" y="3211261"/>
            <a:ext cx="180000" cy="18000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 err="1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C1F0EC60-1972-FF4B-ED11-74E967096364}"/>
              </a:ext>
            </a:extLst>
          </p:cNvPr>
          <p:cNvSpPr/>
          <p:nvPr/>
        </p:nvSpPr>
        <p:spPr>
          <a:xfrm>
            <a:off x="9300069" y="3211261"/>
            <a:ext cx="180000" cy="180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 err="1"/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D27BF92F-3273-1628-4374-25A42A206582}"/>
              </a:ext>
            </a:extLst>
          </p:cNvPr>
          <p:cNvSpPr/>
          <p:nvPr/>
        </p:nvSpPr>
        <p:spPr>
          <a:xfrm>
            <a:off x="9632635" y="3211261"/>
            <a:ext cx="180000" cy="180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 err="1"/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BA326B56-5BF6-EDA3-D9C9-AABF35D999C0}"/>
              </a:ext>
            </a:extLst>
          </p:cNvPr>
          <p:cNvSpPr/>
          <p:nvPr/>
        </p:nvSpPr>
        <p:spPr>
          <a:xfrm>
            <a:off x="8978258" y="3549566"/>
            <a:ext cx="180000" cy="18000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 err="1"/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CF2E5B46-FF93-E78F-F51A-DFFBB3A8FE55}"/>
              </a:ext>
            </a:extLst>
          </p:cNvPr>
          <p:cNvSpPr/>
          <p:nvPr/>
        </p:nvSpPr>
        <p:spPr>
          <a:xfrm>
            <a:off x="9302511" y="3549566"/>
            <a:ext cx="180000" cy="18000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 err="1"/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A7B80102-1ACB-350D-BC62-FAA75AFFE234}"/>
              </a:ext>
            </a:extLst>
          </p:cNvPr>
          <p:cNvSpPr/>
          <p:nvPr/>
        </p:nvSpPr>
        <p:spPr>
          <a:xfrm>
            <a:off x="9635077" y="3549566"/>
            <a:ext cx="180000" cy="180000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 err="1"/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BC9829A-AFE1-C200-1861-0856DCE43CA3}"/>
              </a:ext>
            </a:extLst>
          </p:cNvPr>
          <p:cNvSpPr/>
          <p:nvPr/>
        </p:nvSpPr>
        <p:spPr>
          <a:xfrm>
            <a:off x="10077839" y="2780971"/>
            <a:ext cx="1536027" cy="104239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>
              <a:solidFill>
                <a:schemeClr val="tx1"/>
              </a:solidFill>
            </a:endParaRPr>
          </a:p>
        </p:txBody>
      </p:sp>
      <p:pic>
        <p:nvPicPr>
          <p:cNvPr id="45" name="Grafik 538">
            <a:extLst>
              <a:ext uri="{FF2B5EF4-FFF2-40B4-BE49-F238E27FC236}">
                <a16:creationId xmlns:a16="http://schemas.microsoft.com/office/drawing/2014/main" id="{71EBD219-FC04-1549-F426-528E86CF895E}"/>
              </a:ext>
            </a:extLst>
          </p:cNvPr>
          <p:cNvPicPr>
            <a:picLocks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68669" y="2822345"/>
            <a:ext cx="294803" cy="294803"/>
          </a:xfrm>
          <a:prstGeom prst="rect">
            <a:avLst/>
          </a:prstGeom>
        </p:spPr>
      </p:pic>
      <p:pic>
        <p:nvPicPr>
          <p:cNvPr id="46" name="Grafik 534">
            <a:extLst>
              <a:ext uri="{FF2B5EF4-FFF2-40B4-BE49-F238E27FC236}">
                <a16:creationId xmlns:a16="http://schemas.microsoft.com/office/drawing/2014/main" id="{8D47294C-E2C2-6D66-3BB2-0139DB983090}"/>
              </a:ext>
            </a:extLst>
          </p:cNvPr>
          <p:cNvPicPr>
            <a:picLocks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68669" y="3151909"/>
            <a:ext cx="293830" cy="293830"/>
          </a:xfrm>
          <a:prstGeom prst="rect">
            <a:avLst/>
          </a:prstGeom>
        </p:spPr>
      </p:pic>
      <p:pic>
        <p:nvPicPr>
          <p:cNvPr id="47" name="Grafik 536">
            <a:extLst>
              <a:ext uri="{FF2B5EF4-FFF2-40B4-BE49-F238E27FC236}">
                <a16:creationId xmlns:a16="http://schemas.microsoft.com/office/drawing/2014/main" id="{99FC52A3-FD14-E422-6DC4-A34EFDE27EEF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68577" y="3487636"/>
            <a:ext cx="293922" cy="293922"/>
          </a:xfrm>
          <a:prstGeom prst="rect">
            <a:avLst/>
          </a:prstGeom>
        </p:spPr>
      </p:pic>
      <p:sp>
        <p:nvSpPr>
          <p:cNvPr id="48" name="Rechteck 47">
            <a:extLst>
              <a:ext uri="{FF2B5EF4-FFF2-40B4-BE49-F238E27FC236}">
                <a16:creationId xmlns:a16="http://schemas.microsoft.com/office/drawing/2014/main" id="{85010F71-3C0A-2058-406E-1055F1362F55}"/>
              </a:ext>
            </a:extLst>
          </p:cNvPr>
          <p:cNvSpPr/>
          <p:nvPr/>
        </p:nvSpPr>
        <p:spPr>
          <a:xfrm>
            <a:off x="10626279" y="2879746"/>
            <a:ext cx="180000" cy="180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 err="1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C21A09F7-7B9C-E538-BA00-E9E3FC6FB7C4}"/>
              </a:ext>
            </a:extLst>
          </p:cNvPr>
          <p:cNvSpPr/>
          <p:nvPr/>
        </p:nvSpPr>
        <p:spPr>
          <a:xfrm>
            <a:off x="10950532" y="2879746"/>
            <a:ext cx="180000" cy="180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 err="1"/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F23ADBBB-291F-4B9A-1555-03EB72C0F500}"/>
              </a:ext>
            </a:extLst>
          </p:cNvPr>
          <p:cNvSpPr/>
          <p:nvPr/>
        </p:nvSpPr>
        <p:spPr>
          <a:xfrm>
            <a:off x="11283098" y="2879746"/>
            <a:ext cx="180000" cy="180000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 err="1"/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A43C27EF-8EA0-B3C8-2D0E-0021EE0FB2D4}"/>
              </a:ext>
            </a:extLst>
          </p:cNvPr>
          <p:cNvSpPr/>
          <p:nvPr/>
        </p:nvSpPr>
        <p:spPr>
          <a:xfrm>
            <a:off x="10626279" y="3207451"/>
            <a:ext cx="180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 err="1"/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4B0A5EA2-FFA9-DBCE-3703-1D6889251C58}"/>
              </a:ext>
            </a:extLst>
          </p:cNvPr>
          <p:cNvSpPr/>
          <p:nvPr/>
        </p:nvSpPr>
        <p:spPr>
          <a:xfrm>
            <a:off x="10950532" y="3207451"/>
            <a:ext cx="180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 err="1"/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6A6DBCA3-4952-E44D-EDA9-0DA98A2EE0B2}"/>
              </a:ext>
            </a:extLst>
          </p:cNvPr>
          <p:cNvSpPr/>
          <p:nvPr/>
        </p:nvSpPr>
        <p:spPr>
          <a:xfrm>
            <a:off x="11283098" y="3207451"/>
            <a:ext cx="180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 err="1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0E75276B-D875-A465-62B4-3CAD6A8088DF}"/>
              </a:ext>
            </a:extLst>
          </p:cNvPr>
          <p:cNvSpPr/>
          <p:nvPr/>
        </p:nvSpPr>
        <p:spPr>
          <a:xfrm>
            <a:off x="10628721" y="3545756"/>
            <a:ext cx="180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 err="1"/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C6EFD6F2-83EC-115D-1709-C3C25455049A}"/>
              </a:ext>
            </a:extLst>
          </p:cNvPr>
          <p:cNvSpPr/>
          <p:nvPr/>
        </p:nvSpPr>
        <p:spPr>
          <a:xfrm>
            <a:off x="10952974" y="3545756"/>
            <a:ext cx="180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 err="1"/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FB45EB36-9226-7DFF-F6C6-BCC976A829CE}"/>
              </a:ext>
            </a:extLst>
          </p:cNvPr>
          <p:cNvSpPr/>
          <p:nvPr/>
        </p:nvSpPr>
        <p:spPr>
          <a:xfrm>
            <a:off x="10107199" y="4040213"/>
            <a:ext cx="180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 err="1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7E08F500-02E7-8814-6157-ADED6E091211}"/>
              </a:ext>
            </a:extLst>
          </p:cNvPr>
          <p:cNvSpPr/>
          <p:nvPr/>
        </p:nvSpPr>
        <p:spPr>
          <a:xfrm rot="5400000">
            <a:off x="7368351" y="1742704"/>
            <a:ext cx="368050" cy="1509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 err="1"/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872446C1-2121-ED91-0B90-7B317788FBA1}"/>
              </a:ext>
            </a:extLst>
          </p:cNvPr>
          <p:cNvSpPr txBox="1"/>
          <p:nvPr/>
        </p:nvSpPr>
        <p:spPr>
          <a:xfrm>
            <a:off x="6790404" y="2361500"/>
            <a:ext cx="1524719" cy="2752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2000"/>
              </a:lnSpc>
            </a:pPr>
            <a:r>
              <a:rPr lang="de-DE" sz="1100" b="1"/>
              <a:t>LOHC-BT</a:t>
            </a:r>
          </a:p>
        </p:txBody>
      </p:sp>
      <p:sp>
        <p:nvSpPr>
          <p:cNvPr id="17" name="Oval 464">
            <a:extLst>
              <a:ext uri="{FF2B5EF4-FFF2-40B4-BE49-F238E27FC236}">
                <a16:creationId xmlns:a16="http://schemas.microsoft.com/office/drawing/2014/main" id="{34074313-61E8-F2E8-273C-8B7723FB0BF5}"/>
              </a:ext>
            </a:extLst>
          </p:cNvPr>
          <p:cNvSpPr/>
          <p:nvPr/>
        </p:nvSpPr>
        <p:spPr>
          <a:xfrm>
            <a:off x="11603415" y="1885405"/>
            <a:ext cx="462038" cy="465356"/>
          </a:xfrm>
          <a:prstGeom prst="ellipse">
            <a:avLst/>
          </a:prstGeom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en-US" sz="1100"/>
          </a:p>
        </p:txBody>
      </p:sp>
      <p:pic>
        <p:nvPicPr>
          <p:cNvPr id="15" name="Grafik 14" descr="Glühlampe mit einfarbiger Füllung">
            <a:extLst>
              <a:ext uri="{FF2B5EF4-FFF2-40B4-BE49-F238E27FC236}">
                <a16:creationId xmlns:a16="http://schemas.microsoft.com/office/drawing/2014/main" id="{6869852B-3A0D-DD91-9878-B540225A437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636434" y="1917379"/>
            <a:ext cx="396000" cy="396000"/>
          </a:xfrm>
          <a:prstGeom prst="rect">
            <a:avLst/>
          </a:prstGeom>
        </p:spPr>
      </p:pic>
      <p:pic>
        <p:nvPicPr>
          <p:cNvPr id="7" name="Grafik 538">
            <a:extLst>
              <a:ext uri="{FF2B5EF4-FFF2-40B4-BE49-F238E27FC236}">
                <a16:creationId xmlns:a16="http://schemas.microsoft.com/office/drawing/2014/main" id="{224A3D6D-193F-742E-2B7C-93D949C8E1B2}"/>
              </a:ext>
            </a:extLst>
          </p:cNvPr>
          <p:cNvPicPr>
            <a:picLocks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8910" y="4101631"/>
            <a:ext cx="195268" cy="195268"/>
          </a:xfrm>
          <a:prstGeom prst="rect">
            <a:avLst/>
          </a:prstGeom>
        </p:spPr>
      </p:pic>
      <p:pic>
        <p:nvPicPr>
          <p:cNvPr id="63" name="Grafik 534">
            <a:extLst>
              <a:ext uri="{FF2B5EF4-FFF2-40B4-BE49-F238E27FC236}">
                <a16:creationId xmlns:a16="http://schemas.microsoft.com/office/drawing/2014/main" id="{30A7F4A7-E70E-03D8-4CD0-F4C7C8C8C4A4}"/>
              </a:ext>
            </a:extLst>
          </p:cNvPr>
          <p:cNvPicPr>
            <a:picLocks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8910" y="4306106"/>
            <a:ext cx="194623" cy="194623"/>
          </a:xfrm>
          <a:prstGeom prst="rect">
            <a:avLst/>
          </a:prstGeom>
        </p:spPr>
      </p:pic>
      <p:pic>
        <p:nvPicPr>
          <p:cNvPr id="64" name="Grafik 536">
            <a:extLst>
              <a:ext uri="{FF2B5EF4-FFF2-40B4-BE49-F238E27FC236}">
                <a16:creationId xmlns:a16="http://schemas.microsoft.com/office/drawing/2014/main" id="{43EF9199-4544-E4F8-0995-F9785DEEA53E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8910" y="4509937"/>
            <a:ext cx="194684" cy="194684"/>
          </a:xfrm>
          <a:prstGeom prst="rect">
            <a:avLst/>
          </a:prstGeom>
        </p:spPr>
      </p:pic>
      <p:sp>
        <p:nvSpPr>
          <p:cNvPr id="65" name="Textfeld 64">
            <a:extLst>
              <a:ext uri="{FF2B5EF4-FFF2-40B4-BE49-F238E27FC236}">
                <a16:creationId xmlns:a16="http://schemas.microsoft.com/office/drawing/2014/main" id="{DC8BA465-F450-81D9-EEFB-179AADF0BD19}"/>
              </a:ext>
            </a:extLst>
          </p:cNvPr>
          <p:cNvSpPr txBox="1"/>
          <p:nvPr/>
        </p:nvSpPr>
        <p:spPr>
          <a:xfrm>
            <a:off x="10408633" y="4096527"/>
            <a:ext cx="1076528" cy="203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2000"/>
              </a:lnSpc>
            </a:pPr>
            <a:r>
              <a:rPr lang="de-DE" sz="700"/>
              <a:t>=  </a:t>
            </a:r>
            <a:r>
              <a:rPr lang="de-DE" sz="700" err="1"/>
              <a:t>Physical</a:t>
            </a:r>
            <a:r>
              <a:rPr lang="de-DE" sz="700"/>
              <a:t> </a:t>
            </a:r>
            <a:r>
              <a:rPr lang="de-DE" sz="700" err="1"/>
              <a:t>hazard</a:t>
            </a:r>
            <a:endParaRPr lang="de-DE" sz="700"/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DAF26798-5C1B-137A-8ACA-61CB656817BB}"/>
              </a:ext>
            </a:extLst>
          </p:cNvPr>
          <p:cNvSpPr txBox="1"/>
          <p:nvPr/>
        </p:nvSpPr>
        <p:spPr>
          <a:xfrm>
            <a:off x="10408633" y="4283596"/>
            <a:ext cx="1076528" cy="203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2000"/>
              </a:lnSpc>
            </a:pPr>
            <a:r>
              <a:rPr lang="de-DE" sz="700"/>
              <a:t>=  </a:t>
            </a:r>
            <a:r>
              <a:rPr lang="de-DE" sz="700" err="1"/>
              <a:t>Acute</a:t>
            </a:r>
            <a:r>
              <a:rPr lang="de-DE" sz="700"/>
              <a:t> </a:t>
            </a:r>
            <a:r>
              <a:rPr lang="de-DE" sz="700" err="1"/>
              <a:t>toxicity</a:t>
            </a:r>
            <a:endParaRPr lang="de-DE" sz="700"/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EB845F73-F632-0A7A-2287-7CBEFF67C9AA}"/>
              </a:ext>
            </a:extLst>
          </p:cNvPr>
          <p:cNvSpPr txBox="1"/>
          <p:nvPr/>
        </p:nvSpPr>
        <p:spPr>
          <a:xfrm>
            <a:off x="10408633" y="4499496"/>
            <a:ext cx="1076528" cy="203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2000"/>
              </a:lnSpc>
            </a:pPr>
            <a:r>
              <a:rPr lang="de-DE" sz="700"/>
              <a:t>=  </a:t>
            </a:r>
            <a:r>
              <a:rPr lang="de-DE" sz="700" err="1"/>
              <a:t>Envr</a:t>
            </a:r>
            <a:r>
              <a:rPr lang="de-DE" sz="700"/>
              <a:t>. </a:t>
            </a:r>
            <a:r>
              <a:rPr lang="de-DE" sz="700" err="1"/>
              <a:t>toxicity</a:t>
            </a:r>
            <a:endParaRPr lang="de-DE" sz="700"/>
          </a:p>
        </p:txBody>
      </p: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AE9C85C4-5982-FAD1-ADBD-AAF80AEF84BA}"/>
              </a:ext>
            </a:extLst>
          </p:cNvPr>
          <p:cNvGrpSpPr/>
          <p:nvPr/>
        </p:nvGrpSpPr>
        <p:grpSpPr>
          <a:xfrm>
            <a:off x="10258910" y="4943770"/>
            <a:ext cx="379942" cy="93156"/>
            <a:chOff x="7079602" y="6246561"/>
            <a:chExt cx="379942" cy="93156"/>
          </a:xfrm>
        </p:grpSpPr>
        <p:sp>
          <p:nvSpPr>
            <p:cNvPr id="69" name="Rechteck 68">
              <a:extLst>
                <a:ext uri="{FF2B5EF4-FFF2-40B4-BE49-F238E27FC236}">
                  <a16:creationId xmlns:a16="http://schemas.microsoft.com/office/drawing/2014/main" id="{0B154E7D-6A5E-6DEC-C1EA-410275329492}"/>
                </a:ext>
              </a:extLst>
            </p:cNvPr>
            <p:cNvSpPr/>
            <p:nvPr/>
          </p:nvSpPr>
          <p:spPr>
            <a:xfrm>
              <a:off x="7079602" y="6246561"/>
              <a:ext cx="93156" cy="93156"/>
            </a:xfrm>
            <a:prstGeom prst="rect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2000"/>
                </a:lnSpc>
              </a:pPr>
              <a:endParaRPr lang="de-DE" sz="1100" err="1"/>
            </a:p>
          </p:txBody>
        </p:sp>
        <p:sp>
          <p:nvSpPr>
            <p:cNvPr id="70" name="Rechteck 69">
              <a:extLst>
                <a:ext uri="{FF2B5EF4-FFF2-40B4-BE49-F238E27FC236}">
                  <a16:creationId xmlns:a16="http://schemas.microsoft.com/office/drawing/2014/main" id="{093C86D0-F236-B3F5-6D75-BC5ED0E22409}"/>
                </a:ext>
              </a:extLst>
            </p:cNvPr>
            <p:cNvSpPr/>
            <p:nvPr/>
          </p:nvSpPr>
          <p:spPr>
            <a:xfrm>
              <a:off x="7222995" y="6246561"/>
              <a:ext cx="93156" cy="9315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2000"/>
                </a:lnSpc>
              </a:pPr>
              <a:endParaRPr lang="de-DE" sz="1100" err="1"/>
            </a:p>
          </p:txBody>
        </p:sp>
        <p:sp>
          <p:nvSpPr>
            <p:cNvPr id="71" name="Rechteck 70">
              <a:extLst>
                <a:ext uri="{FF2B5EF4-FFF2-40B4-BE49-F238E27FC236}">
                  <a16:creationId xmlns:a16="http://schemas.microsoft.com/office/drawing/2014/main" id="{A7E8808B-2990-5523-8363-DBC65704F740}"/>
                </a:ext>
              </a:extLst>
            </p:cNvPr>
            <p:cNvSpPr/>
            <p:nvPr/>
          </p:nvSpPr>
          <p:spPr>
            <a:xfrm>
              <a:off x="7366388" y="6246561"/>
              <a:ext cx="93156" cy="9315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2000"/>
                </a:lnSpc>
              </a:pPr>
              <a:endParaRPr lang="de-DE" sz="1100" err="1"/>
            </a:p>
          </p:txBody>
        </p:sp>
      </p:grpSp>
      <p:grpSp>
        <p:nvGrpSpPr>
          <p:cNvPr id="72" name="Gruppieren 71">
            <a:extLst>
              <a:ext uri="{FF2B5EF4-FFF2-40B4-BE49-F238E27FC236}">
                <a16:creationId xmlns:a16="http://schemas.microsoft.com/office/drawing/2014/main" id="{E6239F20-A609-C709-58C7-6AB0EEAF1EAA}"/>
              </a:ext>
            </a:extLst>
          </p:cNvPr>
          <p:cNvGrpSpPr/>
          <p:nvPr/>
        </p:nvGrpSpPr>
        <p:grpSpPr>
          <a:xfrm>
            <a:off x="10258910" y="5138816"/>
            <a:ext cx="379942" cy="93156"/>
            <a:chOff x="7079602" y="6246561"/>
            <a:chExt cx="379942" cy="93156"/>
          </a:xfrm>
        </p:grpSpPr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0E83D3AF-00E8-65AB-4601-AEC9603A76CF}"/>
                </a:ext>
              </a:extLst>
            </p:cNvPr>
            <p:cNvSpPr/>
            <p:nvPr/>
          </p:nvSpPr>
          <p:spPr>
            <a:xfrm>
              <a:off x="7079602" y="6246561"/>
              <a:ext cx="93156" cy="93156"/>
            </a:xfrm>
            <a:prstGeom prst="rect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2000"/>
                </a:lnSpc>
              </a:pPr>
              <a:endParaRPr lang="de-DE" sz="1100" err="1"/>
            </a:p>
          </p:txBody>
        </p:sp>
        <p:sp>
          <p:nvSpPr>
            <p:cNvPr id="74" name="Rechteck 73">
              <a:extLst>
                <a:ext uri="{FF2B5EF4-FFF2-40B4-BE49-F238E27FC236}">
                  <a16:creationId xmlns:a16="http://schemas.microsoft.com/office/drawing/2014/main" id="{693AF103-6DD3-C70E-FD82-353D4619AE10}"/>
                </a:ext>
              </a:extLst>
            </p:cNvPr>
            <p:cNvSpPr/>
            <p:nvPr/>
          </p:nvSpPr>
          <p:spPr>
            <a:xfrm>
              <a:off x="7222995" y="6246561"/>
              <a:ext cx="93156" cy="93156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2000"/>
                </a:lnSpc>
              </a:pPr>
              <a:endParaRPr lang="de-DE" sz="1100" err="1"/>
            </a:p>
          </p:txBody>
        </p:sp>
        <p:sp>
          <p:nvSpPr>
            <p:cNvPr id="75" name="Rechteck 74">
              <a:extLst>
                <a:ext uri="{FF2B5EF4-FFF2-40B4-BE49-F238E27FC236}">
                  <a16:creationId xmlns:a16="http://schemas.microsoft.com/office/drawing/2014/main" id="{6EB04DFC-059A-6BC9-059B-23B4DBA11FFF}"/>
                </a:ext>
              </a:extLst>
            </p:cNvPr>
            <p:cNvSpPr/>
            <p:nvPr/>
          </p:nvSpPr>
          <p:spPr>
            <a:xfrm>
              <a:off x="7366388" y="6246561"/>
              <a:ext cx="93156" cy="9315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2000"/>
                </a:lnSpc>
              </a:pPr>
              <a:endParaRPr lang="de-DE" sz="1100" err="1"/>
            </a:p>
          </p:txBody>
        </p:sp>
      </p:grpSp>
      <p:grpSp>
        <p:nvGrpSpPr>
          <p:cNvPr id="76" name="Gruppieren 75">
            <a:extLst>
              <a:ext uri="{FF2B5EF4-FFF2-40B4-BE49-F238E27FC236}">
                <a16:creationId xmlns:a16="http://schemas.microsoft.com/office/drawing/2014/main" id="{427A1F92-B819-F14F-1ED9-ECA25E3E472A}"/>
              </a:ext>
            </a:extLst>
          </p:cNvPr>
          <p:cNvGrpSpPr/>
          <p:nvPr/>
        </p:nvGrpSpPr>
        <p:grpSpPr>
          <a:xfrm>
            <a:off x="10258910" y="5333862"/>
            <a:ext cx="379942" cy="93156"/>
            <a:chOff x="7079602" y="6246561"/>
            <a:chExt cx="379942" cy="93156"/>
          </a:xfrm>
        </p:grpSpPr>
        <p:sp>
          <p:nvSpPr>
            <p:cNvPr id="77" name="Rechteck 76">
              <a:extLst>
                <a:ext uri="{FF2B5EF4-FFF2-40B4-BE49-F238E27FC236}">
                  <a16:creationId xmlns:a16="http://schemas.microsoft.com/office/drawing/2014/main" id="{3107C8A5-F39C-E891-6678-3A43E26EBF95}"/>
                </a:ext>
              </a:extLst>
            </p:cNvPr>
            <p:cNvSpPr/>
            <p:nvPr/>
          </p:nvSpPr>
          <p:spPr>
            <a:xfrm>
              <a:off x="7079602" y="6246561"/>
              <a:ext cx="93156" cy="93156"/>
            </a:xfrm>
            <a:prstGeom prst="rect">
              <a:avLst/>
            </a:prstGeom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2000"/>
                </a:lnSpc>
              </a:pPr>
              <a:endParaRPr lang="de-DE" sz="1100" err="1"/>
            </a:p>
          </p:txBody>
        </p:sp>
        <p:sp>
          <p:nvSpPr>
            <p:cNvPr id="78" name="Rechteck 77">
              <a:extLst>
                <a:ext uri="{FF2B5EF4-FFF2-40B4-BE49-F238E27FC236}">
                  <a16:creationId xmlns:a16="http://schemas.microsoft.com/office/drawing/2014/main" id="{F4819B8C-2EAD-AD0D-0837-17D693A61E03}"/>
                </a:ext>
              </a:extLst>
            </p:cNvPr>
            <p:cNvSpPr/>
            <p:nvPr/>
          </p:nvSpPr>
          <p:spPr>
            <a:xfrm>
              <a:off x="7222995" y="6246561"/>
              <a:ext cx="93156" cy="93156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2000"/>
                </a:lnSpc>
              </a:pPr>
              <a:endParaRPr lang="de-DE" sz="1100" err="1"/>
            </a:p>
          </p:txBody>
        </p:sp>
        <p:sp>
          <p:nvSpPr>
            <p:cNvPr id="79" name="Rechteck 78">
              <a:extLst>
                <a:ext uri="{FF2B5EF4-FFF2-40B4-BE49-F238E27FC236}">
                  <a16:creationId xmlns:a16="http://schemas.microsoft.com/office/drawing/2014/main" id="{A73BEF31-2E68-9DEC-F24D-B98851A41131}"/>
                </a:ext>
              </a:extLst>
            </p:cNvPr>
            <p:cNvSpPr/>
            <p:nvPr/>
          </p:nvSpPr>
          <p:spPr>
            <a:xfrm>
              <a:off x="7366388" y="6246561"/>
              <a:ext cx="93156" cy="93156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2000"/>
                </a:lnSpc>
              </a:pPr>
              <a:endParaRPr lang="de-DE" sz="1100" err="1"/>
            </a:p>
          </p:txBody>
        </p:sp>
      </p:grpSp>
      <p:sp>
        <p:nvSpPr>
          <p:cNvPr id="80" name="Textfeld 79">
            <a:extLst>
              <a:ext uri="{FF2B5EF4-FFF2-40B4-BE49-F238E27FC236}">
                <a16:creationId xmlns:a16="http://schemas.microsoft.com/office/drawing/2014/main" id="{540E20B1-4035-1290-3941-48F39A8032A5}"/>
              </a:ext>
            </a:extLst>
          </p:cNvPr>
          <p:cNvSpPr txBox="1"/>
          <p:nvPr/>
        </p:nvSpPr>
        <p:spPr>
          <a:xfrm>
            <a:off x="10599153" y="4869432"/>
            <a:ext cx="1199005" cy="203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2000"/>
              </a:lnSpc>
            </a:pPr>
            <a:r>
              <a:rPr lang="de-DE" sz="700"/>
              <a:t>=  Low </a:t>
            </a:r>
            <a:r>
              <a:rPr lang="de-DE" sz="700" err="1"/>
              <a:t>hazard</a:t>
            </a:r>
            <a:r>
              <a:rPr lang="de-DE" sz="700"/>
              <a:t>/</a:t>
            </a:r>
            <a:r>
              <a:rPr lang="de-DE" sz="700" err="1"/>
              <a:t>toxicity</a:t>
            </a:r>
            <a:r>
              <a:rPr lang="de-DE" sz="700"/>
              <a:t> </a:t>
            </a:r>
            <a:r>
              <a:rPr lang="de-DE" sz="700" err="1"/>
              <a:t>lvl</a:t>
            </a:r>
            <a:r>
              <a:rPr lang="de-DE" sz="700"/>
              <a:t>.</a:t>
            </a:r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B30CC3AF-2FA8-B7E6-56C6-3EAC5EC853E2}"/>
              </a:ext>
            </a:extLst>
          </p:cNvPr>
          <p:cNvSpPr txBox="1"/>
          <p:nvPr/>
        </p:nvSpPr>
        <p:spPr>
          <a:xfrm>
            <a:off x="10599153" y="5080405"/>
            <a:ext cx="1390865" cy="203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2000"/>
              </a:lnSpc>
            </a:pPr>
            <a:r>
              <a:rPr lang="de-DE" sz="700"/>
              <a:t>=  Medium </a:t>
            </a:r>
            <a:r>
              <a:rPr lang="de-DE" sz="700" err="1"/>
              <a:t>hazard</a:t>
            </a:r>
            <a:r>
              <a:rPr lang="de-DE" sz="700"/>
              <a:t>/</a:t>
            </a:r>
            <a:r>
              <a:rPr lang="de-DE" sz="700" err="1"/>
              <a:t>toxicity</a:t>
            </a:r>
            <a:r>
              <a:rPr lang="de-DE" sz="700"/>
              <a:t> </a:t>
            </a:r>
            <a:r>
              <a:rPr lang="de-DE" sz="700" err="1"/>
              <a:t>lvl</a:t>
            </a:r>
            <a:r>
              <a:rPr lang="de-DE" sz="700"/>
              <a:t>.</a:t>
            </a:r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9F46E846-A807-EB3F-C100-6F20A693451F}"/>
              </a:ext>
            </a:extLst>
          </p:cNvPr>
          <p:cNvSpPr txBox="1"/>
          <p:nvPr/>
        </p:nvSpPr>
        <p:spPr>
          <a:xfrm>
            <a:off x="10599154" y="5272401"/>
            <a:ext cx="1254720" cy="203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2000"/>
              </a:lnSpc>
            </a:pPr>
            <a:r>
              <a:rPr lang="de-DE" sz="700"/>
              <a:t>=  High </a:t>
            </a:r>
            <a:r>
              <a:rPr lang="de-DE" sz="700" err="1"/>
              <a:t>hazard</a:t>
            </a:r>
            <a:r>
              <a:rPr lang="de-DE" sz="700"/>
              <a:t>/</a:t>
            </a:r>
            <a:r>
              <a:rPr lang="de-DE" sz="700" err="1"/>
              <a:t>toxicity</a:t>
            </a:r>
            <a:r>
              <a:rPr lang="de-DE" sz="700"/>
              <a:t> </a:t>
            </a:r>
            <a:r>
              <a:rPr lang="de-DE" sz="700" err="1"/>
              <a:t>lvl</a:t>
            </a:r>
            <a:r>
              <a:rPr lang="de-DE" sz="700"/>
              <a:t>.</a:t>
            </a:r>
          </a:p>
        </p:txBody>
      </p:sp>
      <p:sp>
        <p:nvSpPr>
          <p:cNvPr id="84" name="Foliennummernplatzhalter 83">
            <a:extLst>
              <a:ext uri="{FF2B5EF4-FFF2-40B4-BE49-F238E27FC236}">
                <a16:creationId xmlns:a16="http://schemas.microsoft.com/office/drawing/2014/main" id="{ABAE7016-B28E-37B6-EA6B-2C24E2004A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12</a:t>
            </a:fld>
            <a:endParaRPr lang="en-GB" noProof="0"/>
          </a:p>
        </p:txBody>
      </p:sp>
      <p:sp>
        <p:nvSpPr>
          <p:cNvPr id="85" name="Fußzeilenplatzhalter 84">
            <a:extLst>
              <a:ext uri="{FF2B5EF4-FFF2-40B4-BE49-F238E27FC236}">
                <a16:creationId xmlns:a16="http://schemas.microsoft.com/office/drawing/2014/main" id="{E79FAAC9-AE51-3FEE-245B-F2498B660C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86" name="Datumsplatzhalter 85">
            <a:extLst>
              <a:ext uri="{FF2B5EF4-FFF2-40B4-BE49-F238E27FC236}">
                <a16:creationId xmlns:a16="http://schemas.microsoft.com/office/drawing/2014/main" id="{2BAF5F28-C483-DFA7-B11C-8CDE6DBB8A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pic>
        <p:nvPicPr>
          <p:cNvPr id="1030" name="Picture 6" descr="Press release: Study on hydrogen in ports and industrial coastal areas">
            <a:extLst>
              <a:ext uri="{FF2B5EF4-FFF2-40B4-BE49-F238E27FC236}">
                <a16:creationId xmlns:a16="http://schemas.microsoft.com/office/drawing/2014/main" id="{792A9562-4FC8-EBE3-8412-A4378A0F68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5089" y="4272861"/>
            <a:ext cx="3091639" cy="1739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75D13D19-B3FE-ED38-CAB0-479518B212C4}"/>
              </a:ext>
            </a:extLst>
          </p:cNvPr>
          <p:cNvSpPr/>
          <p:nvPr/>
        </p:nvSpPr>
        <p:spPr>
          <a:xfrm rot="5400000">
            <a:off x="9013960" y="1733722"/>
            <a:ext cx="368050" cy="15310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 err="1"/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791B249A-C254-FCD0-8DC6-B6D8D509E7DD}"/>
              </a:ext>
            </a:extLst>
          </p:cNvPr>
          <p:cNvSpPr/>
          <p:nvPr/>
        </p:nvSpPr>
        <p:spPr>
          <a:xfrm rot="5400000">
            <a:off x="10661827" y="1733549"/>
            <a:ext cx="368050" cy="15310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 err="1"/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D5EC88EA-1C9C-6C4C-EF68-2FEC668BC645}"/>
              </a:ext>
            </a:extLst>
          </p:cNvPr>
          <p:cNvSpPr txBox="1"/>
          <p:nvPr/>
        </p:nvSpPr>
        <p:spPr>
          <a:xfrm>
            <a:off x="8667662" y="2280816"/>
            <a:ext cx="1045554" cy="4087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2000"/>
              </a:lnSpc>
            </a:pPr>
            <a:r>
              <a:rPr lang="de-DE" sz="1100" b="1" err="1"/>
              <a:t>Ammonia</a:t>
            </a:r>
            <a:br>
              <a:rPr lang="de-DE" sz="1100" b="1"/>
            </a:br>
            <a:r>
              <a:rPr lang="de-DE" sz="800"/>
              <a:t>(incl. </a:t>
            </a:r>
            <a:r>
              <a:rPr lang="de-DE" sz="800" err="1"/>
              <a:t>Cracking</a:t>
            </a:r>
            <a:r>
              <a:rPr lang="de-DE" sz="800"/>
              <a:t>)</a:t>
            </a: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380D3E15-596B-792B-827C-88629A4DF8DF}"/>
              </a:ext>
            </a:extLst>
          </p:cNvPr>
          <p:cNvSpPr txBox="1"/>
          <p:nvPr/>
        </p:nvSpPr>
        <p:spPr>
          <a:xfrm>
            <a:off x="10315538" y="2369943"/>
            <a:ext cx="1045554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2000"/>
              </a:lnSpc>
            </a:pPr>
            <a:r>
              <a:rPr lang="de-DE" sz="1100" b="1" err="1"/>
              <a:t>Liquified</a:t>
            </a:r>
            <a:r>
              <a:rPr lang="de-DE" sz="1100" b="1"/>
              <a:t> H</a:t>
            </a:r>
            <a:r>
              <a:rPr lang="de-DE" sz="1100" b="1" baseline="-2500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8219237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3" fill="hold">
                      <p:stCondLst>
                        <p:cond delay="indefinite"/>
                      </p:stCondLst>
                      <p:childTnLst>
                        <p:par>
                          <p:cTn id="134" fill="hold">
                            <p:stCondLst>
                              <p:cond delay="0"/>
                            </p:stCondLst>
                            <p:childTnLst>
                              <p:par>
                                <p:cTn id="1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9" grpId="0" animBg="1"/>
      <p:bldP spid="18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48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4" grpId="0" animBg="1"/>
      <p:bldP spid="55" grpId="0" animBg="1"/>
      <p:bldP spid="56" grpId="0" animBg="1"/>
      <p:bldP spid="57" grpId="0" animBg="1"/>
      <p:bldP spid="58" grpId="0"/>
      <p:bldP spid="17" grpId="0" animBg="1"/>
      <p:bldP spid="65" grpId="0"/>
      <p:bldP spid="66" grpId="0"/>
      <p:bldP spid="67" grpId="0"/>
      <p:bldP spid="80" grpId="0"/>
      <p:bldP spid="81" grpId="0"/>
      <p:bldP spid="82" grpId="0"/>
      <p:bldP spid="3" grpId="0" animBg="1"/>
      <p:bldP spid="83" grpId="0" animBg="1"/>
      <p:bldP spid="60" grpId="0"/>
      <p:bldP spid="6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eck 27">
            <a:extLst>
              <a:ext uri="{FF2B5EF4-FFF2-40B4-BE49-F238E27FC236}">
                <a16:creationId xmlns:a16="http://schemas.microsoft.com/office/drawing/2014/main" id="{544F5D73-0D29-11C7-4A71-4CE4C96DA27B}"/>
              </a:ext>
            </a:extLst>
          </p:cNvPr>
          <p:cNvSpPr/>
          <p:nvPr/>
        </p:nvSpPr>
        <p:spPr>
          <a:xfrm>
            <a:off x="3851996" y="1948282"/>
            <a:ext cx="7278693" cy="146928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144000" rIns="144000" bIns="144000" rtlCol="0" anchor="t" anchorCtr="0"/>
          <a:lstStyle/>
          <a:p>
            <a:pPr marL="342900" indent="-342900">
              <a:lnSpc>
                <a:spcPct val="113000"/>
              </a:lnSpc>
              <a:buFont typeface="+mj-lt"/>
              <a:buAutoNum type="arabicPeriod"/>
            </a:pPr>
            <a:r>
              <a:rPr lang="de-DE" sz="1400" b="1">
                <a:solidFill>
                  <a:schemeClr val="tx1"/>
                </a:solidFill>
              </a:rPr>
              <a:t>Carrier Density</a:t>
            </a:r>
          </a:p>
          <a:p>
            <a:pPr marL="342900" indent="-342900">
              <a:lnSpc>
                <a:spcPct val="113000"/>
              </a:lnSpc>
              <a:buFont typeface="+mj-lt"/>
              <a:buAutoNum type="arabicPeriod"/>
            </a:pPr>
            <a:r>
              <a:rPr lang="de-DE" sz="1400" b="1">
                <a:solidFill>
                  <a:schemeClr val="tx1"/>
                </a:solidFill>
              </a:rPr>
              <a:t>H</a:t>
            </a:r>
            <a:r>
              <a:rPr lang="de-DE" sz="1400" b="1" baseline="-25000">
                <a:solidFill>
                  <a:schemeClr val="tx1"/>
                </a:solidFill>
              </a:rPr>
              <a:t>2</a:t>
            </a:r>
            <a:r>
              <a:rPr lang="de-DE" sz="1400" b="1">
                <a:solidFill>
                  <a:schemeClr val="tx1"/>
                </a:solidFill>
              </a:rPr>
              <a:t>-Purity (98 </a:t>
            </a:r>
            <a:r>
              <a:rPr lang="de-DE" sz="1400" b="1" err="1">
                <a:solidFill>
                  <a:schemeClr val="tx1"/>
                </a:solidFill>
              </a:rPr>
              <a:t>va</a:t>
            </a:r>
            <a:r>
              <a:rPr lang="de-DE" sz="1400" b="1">
                <a:solidFill>
                  <a:schemeClr val="tx1"/>
                </a:solidFill>
              </a:rPr>
              <a:t>. 99.5 vs. 99.9997 %)</a:t>
            </a:r>
          </a:p>
          <a:p>
            <a:pPr marL="342900" indent="-342900">
              <a:lnSpc>
                <a:spcPct val="113000"/>
              </a:lnSpc>
              <a:buFont typeface="+mj-lt"/>
              <a:buAutoNum type="arabicPeriod"/>
            </a:pPr>
            <a:r>
              <a:rPr lang="de-DE" sz="1400" b="1">
                <a:solidFill>
                  <a:schemeClr val="tx1"/>
                </a:solidFill>
              </a:rPr>
              <a:t>Use </a:t>
            </a:r>
            <a:r>
              <a:rPr lang="de-DE" sz="1400" b="1" err="1">
                <a:solidFill>
                  <a:schemeClr val="tx1"/>
                </a:solidFill>
              </a:rPr>
              <a:t>of</a:t>
            </a:r>
            <a:r>
              <a:rPr lang="de-DE" sz="1400" b="1">
                <a:solidFill>
                  <a:schemeClr val="tx1"/>
                </a:solidFill>
              </a:rPr>
              <a:t> </a:t>
            </a:r>
            <a:r>
              <a:rPr lang="de-DE" sz="1400" b="1" err="1">
                <a:solidFill>
                  <a:schemeClr val="tx1"/>
                </a:solidFill>
              </a:rPr>
              <a:t>existing</a:t>
            </a:r>
            <a:r>
              <a:rPr lang="de-DE" sz="1400" b="1">
                <a:solidFill>
                  <a:schemeClr val="tx1"/>
                </a:solidFill>
              </a:rPr>
              <a:t> </a:t>
            </a:r>
            <a:r>
              <a:rPr lang="de-DE" sz="1400" b="1" err="1">
                <a:solidFill>
                  <a:schemeClr val="tx1"/>
                </a:solidFill>
              </a:rPr>
              <a:t>infrastructure</a:t>
            </a:r>
            <a:endParaRPr lang="de-DE" sz="1400" b="1">
              <a:solidFill>
                <a:schemeClr val="tx1"/>
              </a:solidFill>
            </a:endParaRPr>
          </a:p>
          <a:p>
            <a:pPr marL="342900" indent="-342900">
              <a:lnSpc>
                <a:spcPct val="113000"/>
              </a:lnSpc>
              <a:buFont typeface="+mj-lt"/>
              <a:buAutoNum type="arabicPeriod"/>
            </a:pPr>
            <a:r>
              <a:rPr lang="de-DE" sz="1400" b="1">
                <a:solidFill>
                  <a:schemeClr val="tx1"/>
                </a:solidFill>
              </a:rPr>
              <a:t>Demand and </a:t>
            </a:r>
            <a:r>
              <a:rPr lang="de-DE" sz="1400" b="1" err="1">
                <a:solidFill>
                  <a:schemeClr val="tx1"/>
                </a:solidFill>
              </a:rPr>
              <a:t>supply</a:t>
            </a:r>
            <a:r>
              <a:rPr lang="de-DE" sz="1400" b="1">
                <a:solidFill>
                  <a:schemeClr val="tx1"/>
                </a:solidFill>
              </a:rPr>
              <a:t> </a:t>
            </a:r>
            <a:r>
              <a:rPr lang="de-DE" sz="1400" b="1" err="1">
                <a:solidFill>
                  <a:schemeClr val="tx1"/>
                </a:solidFill>
              </a:rPr>
              <a:t>of</a:t>
            </a:r>
            <a:r>
              <a:rPr lang="de-DE" sz="1400" b="1">
                <a:solidFill>
                  <a:schemeClr val="tx1"/>
                </a:solidFill>
              </a:rPr>
              <a:t> hydrogen </a:t>
            </a:r>
            <a:r>
              <a:rPr lang="de-DE" sz="1400" b="1" err="1">
                <a:solidFill>
                  <a:schemeClr val="tx1"/>
                </a:solidFill>
              </a:rPr>
              <a:t>or</a:t>
            </a:r>
            <a:r>
              <a:rPr lang="de-DE" sz="1400" b="1">
                <a:solidFill>
                  <a:schemeClr val="tx1"/>
                </a:solidFill>
              </a:rPr>
              <a:t> hydrogen derivative</a:t>
            </a:r>
          </a:p>
          <a:p>
            <a:pPr marL="342900" indent="-342900">
              <a:lnSpc>
                <a:spcPct val="113000"/>
              </a:lnSpc>
              <a:buFont typeface="+mj-lt"/>
              <a:buAutoNum type="arabicPeriod"/>
            </a:pPr>
            <a:r>
              <a:rPr lang="de-DE" sz="1400" b="1">
                <a:solidFill>
                  <a:schemeClr val="tx1"/>
                </a:solidFill>
              </a:rPr>
              <a:t>GHG-</a:t>
            </a:r>
            <a:r>
              <a:rPr lang="de-DE" sz="1400" b="1" err="1">
                <a:solidFill>
                  <a:schemeClr val="tx1"/>
                </a:solidFill>
              </a:rPr>
              <a:t>Emissions</a:t>
            </a:r>
            <a:r>
              <a:rPr lang="de-DE" sz="1400" b="1">
                <a:solidFill>
                  <a:schemeClr val="tx1"/>
                </a:solidFill>
              </a:rPr>
              <a:t> (H2 </a:t>
            </a:r>
            <a:r>
              <a:rPr lang="de-DE" sz="1400" b="1" err="1">
                <a:solidFill>
                  <a:schemeClr val="tx1"/>
                </a:solidFill>
              </a:rPr>
              <a:t>leakage</a:t>
            </a:r>
            <a:r>
              <a:rPr lang="de-DE" sz="1400" b="1">
                <a:solidFill>
                  <a:schemeClr val="tx1"/>
                </a:solidFill>
              </a:rPr>
              <a:t>, N2O, CO2, …)</a:t>
            </a:r>
          </a:p>
          <a:p>
            <a:pPr marL="342900" indent="-342900">
              <a:lnSpc>
                <a:spcPct val="113000"/>
              </a:lnSpc>
              <a:buFont typeface="+mj-lt"/>
              <a:buAutoNum type="arabicPeriod"/>
            </a:pPr>
            <a:endParaRPr lang="de-DE" sz="1400" b="1">
              <a:solidFill>
                <a:schemeClr val="tx1"/>
              </a:solidFill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687CA82-968E-BFC6-6D7C-EC1156C5E5ED}"/>
              </a:ext>
            </a:extLst>
          </p:cNvPr>
          <p:cNvSpPr/>
          <p:nvPr/>
        </p:nvSpPr>
        <p:spPr>
          <a:xfrm>
            <a:off x="3851996" y="1623833"/>
            <a:ext cx="7278693" cy="330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144000" rIns="144000" bIns="144000" rtlCol="0" anchor="ctr" anchorCtr="0"/>
          <a:lstStyle/>
          <a:p>
            <a:r>
              <a:rPr lang="en-GB" sz="1600" b="1"/>
              <a:t>Cost Efficiency</a:t>
            </a:r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786C670B-C597-81BB-035A-9039A239C553}"/>
              </a:ext>
            </a:extLst>
          </p:cNvPr>
          <p:cNvSpPr/>
          <p:nvPr/>
        </p:nvSpPr>
        <p:spPr>
          <a:xfrm>
            <a:off x="3851996" y="3811061"/>
            <a:ext cx="7278693" cy="10032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144000" rIns="144000" bIns="144000" rtlCol="0" anchor="t" anchorCtr="0"/>
          <a:lstStyle/>
          <a:p>
            <a:pPr marL="342900" indent="-342900">
              <a:lnSpc>
                <a:spcPct val="113000"/>
              </a:lnSpc>
              <a:buFont typeface="+mj-lt"/>
              <a:buAutoNum type="arabicPeriod"/>
            </a:pPr>
            <a:r>
              <a:rPr lang="de-DE" sz="1400" b="1" dirty="0">
                <a:solidFill>
                  <a:schemeClr val="tx1"/>
                </a:solidFill>
              </a:rPr>
              <a:t>Use </a:t>
            </a:r>
            <a:r>
              <a:rPr lang="de-DE" sz="1400" b="1" dirty="0" err="1">
                <a:solidFill>
                  <a:schemeClr val="tx1"/>
                </a:solidFill>
              </a:rPr>
              <a:t>of</a:t>
            </a:r>
            <a:r>
              <a:rPr lang="de-DE" sz="1400" b="1" dirty="0">
                <a:solidFill>
                  <a:schemeClr val="tx1"/>
                </a:solidFill>
              </a:rPr>
              <a:t> </a:t>
            </a:r>
            <a:r>
              <a:rPr lang="de-DE" sz="1400" b="1" dirty="0" err="1">
                <a:solidFill>
                  <a:schemeClr val="tx1"/>
                </a:solidFill>
              </a:rPr>
              <a:t>existing</a:t>
            </a:r>
            <a:r>
              <a:rPr lang="de-DE" sz="1400" b="1" dirty="0">
                <a:solidFill>
                  <a:schemeClr val="tx1"/>
                </a:solidFill>
              </a:rPr>
              <a:t> </a:t>
            </a:r>
            <a:r>
              <a:rPr lang="de-DE" sz="1400" b="1" dirty="0" err="1">
                <a:solidFill>
                  <a:schemeClr val="tx1"/>
                </a:solidFill>
              </a:rPr>
              <a:t>infrastructure</a:t>
            </a:r>
            <a:r>
              <a:rPr lang="de-DE" sz="1400" b="1" dirty="0">
                <a:solidFill>
                  <a:schemeClr val="tx1"/>
                </a:solidFill>
              </a:rPr>
              <a:t>, i.e., </a:t>
            </a:r>
            <a:r>
              <a:rPr lang="de-DE" sz="1400" b="1" dirty="0" err="1">
                <a:solidFill>
                  <a:schemeClr val="tx1"/>
                </a:solidFill>
              </a:rPr>
              <a:t>port</a:t>
            </a:r>
            <a:r>
              <a:rPr lang="de-DE" sz="1400" b="1" dirty="0">
                <a:solidFill>
                  <a:schemeClr val="tx1"/>
                </a:solidFill>
              </a:rPr>
              <a:t> </a:t>
            </a:r>
            <a:r>
              <a:rPr lang="de-DE" sz="1400" b="1" dirty="0" err="1">
                <a:solidFill>
                  <a:schemeClr val="tx1"/>
                </a:solidFill>
              </a:rPr>
              <a:t>terminals</a:t>
            </a:r>
            <a:r>
              <a:rPr lang="de-DE" sz="1400" b="1" dirty="0">
                <a:solidFill>
                  <a:schemeClr val="tx1"/>
                </a:solidFill>
              </a:rPr>
              <a:t>, </a:t>
            </a:r>
            <a:r>
              <a:rPr lang="de-DE" sz="1400" b="1" dirty="0" err="1">
                <a:solidFill>
                  <a:schemeClr val="tx1"/>
                </a:solidFill>
              </a:rPr>
              <a:t>storage</a:t>
            </a:r>
            <a:r>
              <a:rPr lang="de-DE" sz="1400" b="1" dirty="0">
                <a:solidFill>
                  <a:schemeClr val="tx1"/>
                </a:solidFill>
              </a:rPr>
              <a:t>, </a:t>
            </a:r>
            <a:r>
              <a:rPr lang="de-DE" sz="1400" b="1" dirty="0" err="1">
                <a:solidFill>
                  <a:schemeClr val="tx1"/>
                </a:solidFill>
              </a:rPr>
              <a:t>ships</a:t>
            </a:r>
            <a:r>
              <a:rPr lang="de-DE" sz="1400" b="1" dirty="0">
                <a:solidFill>
                  <a:schemeClr val="tx1"/>
                </a:solidFill>
              </a:rPr>
              <a:t> &amp; </a:t>
            </a:r>
            <a:r>
              <a:rPr lang="de-DE" sz="1400" b="1" dirty="0" err="1">
                <a:solidFill>
                  <a:schemeClr val="tx1"/>
                </a:solidFill>
              </a:rPr>
              <a:t>pipelines</a:t>
            </a:r>
            <a:endParaRPr lang="de-DE" sz="1400" b="1" dirty="0">
              <a:solidFill>
                <a:schemeClr val="tx1"/>
              </a:solidFill>
            </a:endParaRPr>
          </a:p>
          <a:p>
            <a:pPr marL="342900" indent="-342900">
              <a:lnSpc>
                <a:spcPct val="113000"/>
              </a:lnSpc>
              <a:buFont typeface="+mj-lt"/>
              <a:buAutoNum type="arabicPeriod"/>
            </a:pPr>
            <a:r>
              <a:rPr lang="de-DE" sz="1400" b="1" dirty="0">
                <a:solidFill>
                  <a:schemeClr val="tx1"/>
                </a:solidFill>
              </a:rPr>
              <a:t>Technology </a:t>
            </a:r>
            <a:r>
              <a:rPr lang="de-DE" sz="1400" b="1" dirty="0" err="1">
                <a:solidFill>
                  <a:schemeClr val="tx1"/>
                </a:solidFill>
              </a:rPr>
              <a:t>readiness</a:t>
            </a:r>
            <a:r>
              <a:rPr lang="de-DE" sz="1400" b="1" dirty="0">
                <a:solidFill>
                  <a:schemeClr val="tx1"/>
                </a:solidFill>
              </a:rPr>
              <a:t> </a:t>
            </a:r>
            <a:r>
              <a:rPr lang="de-DE" sz="1400" b="1" dirty="0" err="1">
                <a:solidFill>
                  <a:schemeClr val="tx1"/>
                </a:solidFill>
              </a:rPr>
              <a:t>level</a:t>
            </a:r>
            <a:r>
              <a:rPr lang="de-DE" sz="1400" b="1" dirty="0">
                <a:solidFill>
                  <a:schemeClr val="tx1"/>
                </a:solidFill>
              </a:rPr>
              <a:t> (TRL)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330C0211-B544-AF7E-8167-1611596FAEAA}"/>
              </a:ext>
            </a:extLst>
          </p:cNvPr>
          <p:cNvSpPr/>
          <p:nvPr/>
        </p:nvSpPr>
        <p:spPr>
          <a:xfrm>
            <a:off x="3851996" y="3529232"/>
            <a:ext cx="7278693" cy="330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144000" rIns="144000" bIns="144000" rtlCol="0" anchor="ctr" anchorCtr="0"/>
          <a:lstStyle/>
          <a:p>
            <a:r>
              <a:rPr lang="en-GB" sz="1600" b="1"/>
              <a:t>Availability</a:t>
            </a:r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DCFF7156-FA88-52D0-2CA6-64A1E86DE448}"/>
              </a:ext>
            </a:extLst>
          </p:cNvPr>
          <p:cNvSpPr/>
          <p:nvPr/>
        </p:nvSpPr>
        <p:spPr>
          <a:xfrm>
            <a:off x="3851996" y="5207810"/>
            <a:ext cx="7278693" cy="8280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144000" rIns="144000" bIns="144000" rtlCol="0" anchor="t" anchorCtr="0"/>
          <a:lstStyle/>
          <a:p>
            <a:pPr marL="342900" indent="-342900">
              <a:lnSpc>
                <a:spcPct val="113000"/>
              </a:lnSpc>
              <a:buFont typeface="+mj-lt"/>
              <a:buAutoNum type="arabicPeriod"/>
            </a:pPr>
            <a:r>
              <a:rPr lang="de-DE" sz="1400" b="1" err="1">
                <a:solidFill>
                  <a:schemeClr val="tx1"/>
                </a:solidFill>
              </a:rPr>
              <a:t>Regulatory</a:t>
            </a:r>
            <a:r>
              <a:rPr lang="de-DE" sz="1400" b="1">
                <a:solidFill>
                  <a:schemeClr val="tx1"/>
                </a:solidFill>
              </a:rPr>
              <a:t> Framework</a:t>
            </a:r>
          </a:p>
          <a:p>
            <a:pPr marL="342900" indent="-342900">
              <a:lnSpc>
                <a:spcPct val="113000"/>
              </a:lnSpc>
              <a:buFont typeface="+mj-lt"/>
              <a:buAutoNum type="arabicPeriod"/>
            </a:pPr>
            <a:r>
              <a:rPr lang="de-DE" sz="1400" b="1">
                <a:solidFill>
                  <a:schemeClr val="tx1"/>
                </a:solidFill>
              </a:rPr>
              <a:t>Public Acceptance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470270C5-4389-23DD-4D69-30E939806B1A}"/>
              </a:ext>
            </a:extLst>
          </p:cNvPr>
          <p:cNvSpPr/>
          <p:nvPr/>
        </p:nvSpPr>
        <p:spPr>
          <a:xfrm>
            <a:off x="3851996" y="4925980"/>
            <a:ext cx="7278693" cy="330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144000" rIns="144000" bIns="144000" rtlCol="0" anchor="ctr" anchorCtr="0"/>
          <a:lstStyle/>
          <a:p>
            <a:r>
              <a:rPr lang="en-GB" sz="1600" b="1"/>
              <a:t>Safety</a:t>
            </a:r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EE60E08-F5E5-F65E-48EF-129551BFB6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8812" y="503482"/>
            <a:ext cx="8497887" cy="180000"/>
          </a:xfrm>
        </p:spPr>
        <p:txBody>
          <a:bodyPr/>
          <a:lstStyle/>
          <a:p>
            <a:r>
              <a:rPr lang="en-GB"/>
              <a:t>Summary</a:t>
            </a:r>
          </a:p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50DB93-95E7-4DD7-A351-A0033D642A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13</a:t>
            </a:fld>
            <a:endParaRPr lang="en-GB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4A5184D-CAD1-8CE2-653D-1CD27ED4F9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D972E012-E1AC-2F4C-9825-0B1F5A4EDD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1C82C87-E579-BC1D-04A0-26649F19E419}"/>
              </a:ext>
            </a:extLst>
          </p:cNvPr>
          <p:cNvGrpSpPr/>
          <p:nvPr/>
        </p:nvGrpSpPr>
        <p:grpSpPr>
          <a:xfrm>
            <a:off x="922762" y="2735503"/>
            <a:ext cx="2129608" cy="2129608"/>
            <a:chOff x="4806857" y="3460470"/>
            <a:chExt cx="2129608" cy="2129608"/>
          </a:xfrm>
        </p:grpSpPr>
        <p:pic>
          <p:nvPicPr>
            <p:cNvPr id="10" name="Grafik 9" descr="Ein Bild, das Kreis enthält.&#10;&#10;Automatisch generierte Beschreibung">
              <a:extLst>
                <a:ext uri="{FF2B5EF4-FFF2-40B4-BE49-F238E27FC236}">
                  <a16:creationId xmlns:a16="http://schemas.microsoft.com/office/drawing/2014/main" id="{05D65D18-2CCD-EE15-0964-0422B222C8D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09356" y="3862969"/>
              <a:ext cx="1324610" cy="1324610"/>
            </a:xfrm>
            <a:prstGeom prst="rect">
              <a:avLst/>
            </a:prstGeom>
          </p:spPr>
        </p:pic>
        <p:pic>
          <p:nvPicPr>
            <p:cNvPr id="12" name="Grafik 11" descr="Ein Bild, das Design, Darstellung, Kunst enthält.&#10;&#10;Automatisch generierte Beschreibung mit mittlerer Zuverlässigkeit">
              <a:extLst>
                <a:ext uri="{FF2B5EF4-FFF2-40B4-BE49-F238E27FC236}">
                  <a16:creationId xmlns:a16="http://schemas.microsoft.com/office/drawing/2014/main" id="{B77292D1-91B7-48B7-6CF4-41BE6B52AA4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06857" y="3460470"/>
              <a:ext cx="2129608" cy="2129608"/>
            </a:xfrm>
            <a:prstGeom prst="rect">
              <a:avLst/>
            </a:prstGeom>
          </p:spPr>
        </p:pic>
      </p:grpSp>
      <p:sp>
        <p:nvSpPr>
          <p:cNvPr id="14" name="Titel 13">
            <a:extLst>
              <a:ext uri="{FF2B5EF4-FFF2-40B4-BE49-F238E27FC236}">
                <a16:creationId xmlns:a16="http://schemas.microsoft.com/office/drawing/2014/main" id="{CF15E402-D53B-2B82-48CA-FE580222A5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lways </a:t>
            </a:r>
            <a:r>
              <a:rPr lang="de-DE" err="1"/>
              <a:t>look</a:t>
            </a:r>
            <a:r>
              <a:rPr lang="de-DE"/>
              <a:t> at </a:t>
            </a:r>
            <a:r>
              <a:rPr lang="de-DE" b="1"/>
              <a:t>all</a:t>
            </a:r>
            <a:r>
              <a:rPr lang="de-DE"/>
              <a:t> </a:t>
            </a:r>
            <a:r>
              <a:rPr lang="de-DE" err="1"/>
              <a:t>these</a:t>
            </a:r>
            <a:r>
              <a:rPr lang="de-DE"/>
              <a:t> </a:t>
            </a:r>
            <a:r>
              <a:rPr lang="de-DE" err="1"/>
              <a:t>criteria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valuate</a:t>
            </a:r>
            <a:r>
              <a:rPr lang="de-DE"/>
              <a:t> H</a:t>
            </a:r>
            <a:r>
              <a:rPr lang="de-DE" baseline="-25000"/>
              <a:t>2 </a:t>
            </a:r>
            <a:r>
              <a:rPr lang="de-DE"/>
              <a:t> transport option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1401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D17E2BE-ED98-B1D5-A366-132B0EB487D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Let’s carry the </a:t>
            </a:r>
            <a:br>
              <a:rPr lang="en-GB"/>
            </a:br>
            <a:r>
              <a:rPr lang="en-GB"/>
              <a:t>new energy world </a:t>
            </a:r>
            <a:br>
              <a:rPr lang="en-GB"/>
            </a:br>
            <a:r>
              <a:rPr lang="en-GB"/>
              <a:t>together.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B837011-1F4E-E498-9CB0-E8F92A8EB9B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58812" y="5069711"/>
            <a:ext cx="10874375" cy="1004518"/>
          </a:xfrm>
        </p:spPr>
        <p:txBody>
          <a:bodyPr/>
          <a:lstStyle/>
          <a:p>
            <a:pPr algn="r"/>
            <a:r>
              <a:rPr lang="en-GB" sz="1200"/>
              <a:t>HYDROGENIOUS LOHC TECHNOLOGIES GmbH</a:t>
            </a:r>
            <a:br>
              <a:rPr lang="en-GB" sz="1200"/>
            </a:br>
            <a:r>
              <a:rPr lang="en-GB" sz="1200" err="1"/>
              <a:t>Weidenweg</a:t>
            </a:r>
            <a:r>
              <a:rPr lang="en-GB" sz="1200"/>
              <a:t> 13</a:t>
            </a:r>
            <a:br>
              <a:rPr lang="en-GB" sz="1200"/>
            </a:br>
            <a:r>
              <a:rPr lang="en-GB" sz="1200"/>
              <a:t>91058 Erlangen/Germany</a:t>
            </a:r>
            <a:br>
              <a:rPr lang="en-GB" sz="1200"/>
            </a:br>
            <a:r>
              <a:rPr lang="en-GB" sz="120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hydrogenious.net</a:t>
            </a:r>
            <a:r>
              <a:rPr lang="en-GB" sz="1200"/>
              <a:t> </a:t>
            </a:r>
            <a:br>
              <a:rPr lang="en-GB" sz="1200"/>
            </a:br>
            <a:r>
              <a:rPr lang="en-GB" sz="120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hydrogenious.net</a:t>
            </a:r>
            <a:r>
              <a:rPr lang="en-GB" sz="1200"/>
              <a:t> 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A7C13B3-5921-4DA1-ABBB-EC83A3E28911}"/>
              </a:ext>
            </a:extLst>
          </p:cNvPr>
          <p:cNvSpPr txBox="1"/>
          <p:nvPr/>
        </p:nvSpPr>
        <p:spPr>
          <a:xfrm>
            <a:off x="658812" y="5069711"/>
            <a:ext cx="624454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>
                <a:solidFill>
                  <a:schemeClr val="bg1"/>
                </a:solidFill>
              </a:rPr>
              <a:t>Markus Albuscheit</a:t>
            </a:r>
            <a:br>
              <a:rPr lang="en-US" sz="1200">
                <a:solidFill>
                  <a:schemeClr val="bg1"/>
                </a:solidFill>
              </a:rPr>
            </a:br>
            <a:r>
              <a:rPr lang="en-US" sz="1200">
                <a:solidFill>
                  <a:schemeClr val="bg1"/>
                </a:solidFill>
              </a:rPr>
              <a:t>Strategic Analytics and Modeling</a:t>
            </a:r>
          </a:p>
        </p:txBody>
      </p:sp>
    </p:spTree>
    <p:extLst>
      <p:ext uri="{BB962C8B-B14F-4D97-AF65-F5344CB8AC3E}">
        <p14:creationId xmlns:p14="http://schemas.microsoft.com/office/powerpoint/2010/main" val="34624553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7CB53F27-7AB3-C594-83F2-7F716F6860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w to locally store the transported hydrogen? Especially, if natural gas storage not sufficient/not usable for hydrog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ADE48C3-5B78-E086-EE44-BCF40AAA20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26288" y="1908025"/>
            <a:ext cx="4213185" cy="450383"/>
          </a:xfrm>
        </p:spPr>
        <p:txBody>
          <a:bodyPr/>
          <a:lstStyle/>
          <a:p>
            <a:pPr algn="ctr"/>
            <a:r>
              <a:rPr lang="en-US" b="1">
                <a:latin typeface="+mj-lt"/>
                <a:cs typeface="Calibri" panose="020F0502020204030204" pitchFamily="34" charset="0"/>
              </a:rPr>
              <a:t>Or: How to store the eggs?</a:t>
            </a:r>
            <a:endParaRPr lang="en-US" b="1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E544419-D65E-039F-C114-E329B6CA57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err="1"/>
              <a:t>Availlability</a:t>
            </a:r>
            <a:endParaRPr lang="en-US"/>
          </a:p>
        </p:txBody>
      </p:sp>
      <p:pic>
        <p:nvPicPr>
          <p:cNvPr id="83" name="Grafik 82" descr="Ein Bild, das Clipart, Design, Darstellung enthält.&#10;&#10;Automatisch generierte Beschreibung">
            <a:extLst>
              <a:ext uri="{FF2B5EF4-FFF2-40B4-BE49-F238E27FC236}">
                <a16:creationId xmlns:a16="http://schemas.microsoft.com/office/drawing/2014/main" id="{CC9B6BAD-635D-31A1-79E8-7630863C9B6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621" y="2782612"/>
            <a:ext cx="2908520" cy="2908520"/>
          </a:xfrm>
          <a:prstGeom prst="rect">
            <a:avLst/>
          </a:prstGeom>
        </p:spPr>
      </p:pic>
      <p:grpSp>
        <p:nvGrpSpPr>
          <p:cNvPr id="173" name="Gruppieren 172">
            <a:extLst>
              <a:ext uri="{FF2B5EF4-FFF2-40B4-BE49-F238E27FC236}">
                <a16:creationId xmlns:a16="http://schemas.microsoft.com/office/drawing/2014/main" id="{79272352-BE8C-F761-DC0A-8D9FC0DAC8D0}"/>
              </a:ext>
            </a:extLst>
          </p:cNvPr>
          <p:cNvGrpSpPr/>
          <p:nvPr/>
        </p:nvGrpSpPr>
        <p:grpSpPr>
          <a:xfrm>
            <a:off x="7847994" y="1412734"/>
            <a:ext cx="2665385" cy="4474092"/>
            <a:chOff x="8727384" y="919712"/>
            <a:chExt cx="2665385" cy="4474092"/>
          </a:xfrm>
        </p:grpSpPr>
        <p:sp>
          <p:nvSpPr>
            <p:cNvPr id="84" name="Textplatzhalter 8">
              <a:extLst>
                <a:ext uri="{FF2B5EF4-FFF2-40B4-BE49-F238E27FC236}">
                  <a16:creationId xmlns:a16="http://schemas.microsoft.com/office/drawing/2014/main" id="{28FA722F-A3BA-47D3-E0B3-51B37031135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727384" y="1135050"/>
              <a:ext cx="2457457" cy="4258754"/>
            </a:xfrm>
            <a:prstGeom prst="rect">
              <a:avLst/>
            </a:prstGeom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35000"/>
                <a:buFont typeface="Arial" panose="020B0604020202020204" pitchFamily="34" charset="0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36800" indent="-13652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35000"/>
                <a:buFont typeface="Arial" panose="020B0604020202020204" pitchFamily="34" charset="0"/>
                <a:buChar char="›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56400" indent="-13176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35000"/>
                <a:buFont typeface="Arial" panose="020B0604020202020204" pitchFamily="34" charset="0"/>
                <a:buChar char="›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79600" indent="-13652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35000"/>
                <a:buFont typeface="Arial" panose="020B0604020202020204" pitchFamily="34" charset="0"/>
                <a:buChar char="›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806400" indent="-130175" algn="l" defTabSz="914400" rtl="0" eaLnBrk="1" latinLnBrk="0" hangingPunct="1">
                <a:lnSpc>
                  <a:spcPct val="113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35000"/>
                <a:buFont typeface="Arial" panose="020B0604020202020204" pitchFamily="34" charset="0"/>
                <a:buChar char="›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040400" indent="-134938" algn="l" defTabSz="914400" rtl="0" eaLnBrk="1" latinLnBrk="0" hangingPunct="1">
                <a:lnSpc>
                  <a:spcPct val="113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35000"/>
                <a:buFont typeface="Arial" panose="020B0604020202020204" pitchFamily="34" charset="0"/>
                <a:buChar char="›"/>
                <a:tabLst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2900D537-D1FD-A28D-7604-5E4584F3F57F}"/>
                </a:ext>
              </a:extLst>
            </p:cNvPr>
            <p:cNvSpPr/>
            <p:nvPr/>
          </p:nvSpPr>
          <p:spPr>
            <a:xfrm>
              <a:off x="9386801" y="1378860"/>
              <a:ext cx="1536028" cy="4826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2000"/>
                </a:lnSpc>
              </a:pPr>
              <a:r>
                <a:rPr lang="de-DE" sz="1100"/>
                <a:t>Storage</a:t>
              </a:r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BB77234B-FC62-E787-C9DC-B36B6D1CF7AA}"/>
                </a:ext>
              </a:extLst>
            </p:cNvPr>
            <p:cNvSpPr/>
            <p:nvPr/>
          </p:nvSpPr>
          <p:spPr>
            <a:xfrm>
              <a:off x="9395534" y="1911592"/>
              <a:ext cx="1527295" cy="103520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2000"/>
                </a:lnSpc>
              </a:pPr>
              <a:endParaRPr lang="de-DE" sz="1100">
                <a:solidFill>
                  <a:schemeClr val="tx1"/>
                </a:solidFill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8D810BA0-27FC-302B-3149-3AC214746E91}"/>
                </a:ext>
              </a:extLst>
            </p:cNvPr>
            <p:cNvSpPr/>
            <p:nvPr/>
          </p:nvSpPr>
          <p:spPr>
            <a:xfrm>
              <a:off x="9398316" y="3010252"/>
              <a:ext cx="1534081" cy="103505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2000"/>
                </a:lnSpc>
              </a:pPr>
              <a:endParaRPr lang="de-DE" sz="1100">
                <a:solidFill>
                  <a:schemeClr val="tx1"/>
                </a:solidFill>
              </a:endParaRPr>
            </a:p>
          </p:txBody>
        </p:sp>
        <p:sp>
          <p:nvSpPr>
            <p:cNvPr id="112" name="Rechteck 111">
              <a:extLst>
                <a:ext uri="{FF2B5EF4-FFF2-40B4-BE49-F238E27FC236}">
                  <a16:creationId xmlns:a16="http://schemas.microsoft.com/office/drawing/2014/main" id="{72B33496-85FE-4DBE-EB19-F08349D252B6}"/>
                </a:ext>
              </a:extLst>
            </p:cNvPr>
            <p:cNvSpPr/>
            <p:nvPr/>
          </p:nvSpPr>
          <p:spPr>
            <a:xfrm>
              <a:off x="9396251" y="4111772"/>
              <a:ext cx="1536027" cy="10423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2000"/>
                </a:lnSpc>
              </a:pPr>
              <a:endParaRPr lang="de-DE" sz="1100">
                <a:solidFill>
                  <a:schemeClr val="tx1"/>
                </a:solidFill>
              </a:endParaRPr>
            </a:p>
          </p:txBody>
        </p:sp>
        <p:sp>
          <p:nvSpPr>
            <p:cNvPr id="125" name="Rechteck 124">
              <a:extLst>
                <a:ext uri="{FF2B5EF4-FFF2-40B4-BE49-F238E27FC236}">
                  <a16:creationId xmlns:a16="http://schemas.microsoft.com/office/drawing/2014/main" id="{264DDF48-CB42-7366-AF37-03D20619331A}"/>
                </a:ext>
              </a:extLst>
            </p:cNvPr>
            <p:cNvSpPr/>
            <p:nvPr/>
          </p:nvSpPr>
          <p:spPr>
            <a:xfrm>
              <a:off x="8965154" y="1911592"/>
              <a:ext cx="356649" cy="103504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2000"/>
                </a:lnSpc>
              </a:pPr>
              <a:endParaRPr lang="de-DE" sz="1100" err="1"/>
            </a:p>
          </p:txBody>
        </p: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1E2312E8-0D5F-662F-5ECC-B1DBFFCCE0A3}"/>
                </a:ext>
              </a:extLst>
            </p:cNvPr>
            <p:cNvSpPr txBox="1"/>
            <p:nvPr/>
          </p:nvSpPr>
          <p:spPr>
            <a:xfrm rot="16200000">
              <a:off x="8618682" y="2296038"/>
              <a:ext cx="1045554" cy="2666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12000"/>
                </a:lnSpc>
              </a:pPr>
              <a:r>
                <a:rPr lang="de-DE" sz="1100" b="1"/>
                <a:t>LOHC-BT</a:t>
              </a:r>
            </a:p>
          </p:txBody>
        </p:sp>
        <p:sp>
          <p:nvSpPr>
            <p:cNvPr id="127" name="Rechteck 126">
              <a:extLst>
                <a:ext uri="{FF2B5EF4-FFF2-40B4-BE49-F238E27FC236}">
                  <a16:creationId xmlns:a16="http://schemas.microsoft.com/office/drawing/2014/main" id="{31125012-07E3-9B6C-FEA4-11200DE62EF3}"/>
                </a:ext>
              </a:extLst>
            </p:cNvPr>
            <p:cNvSpPr/>
            <p:nvPr/>
          </p:nvSpPr>
          <p:spPr>
            <a:xfrm>
              <a:off x="8965154" y="3015655"/>
              <a:ext cx="356649" cy="103504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2000"/>
                </a:lnSpc>
              </a:pPr>
              <a:endParaRPr lang="de-DE" sz="1100" err="1"/>
            </a:p>
          </p:txBody>
        </p:sp>
        <p:sp>
          <p:nvSpPr>
            <p:cNvPr id="128" name="Textfeld 127">
              <a:extLst>
                <a:ext uri="{FF2B5EF4-FFF2-40B4-BE49-F238E27FC236}">
                  <a16:creationId xmlns:a16="http://schemas.microsoft.com/office/drawing/2014/main" id="{CD73C66B-74A9-A899-2EC3-C86DFDA43D8C}"/>
                </a:ext>
              </a:extLst>
            </p:cNvPr>
            <p:cNvSpPr txBox="1"/>
            <p:nvPr/>
          </p:nvSpPr>
          <p:spPr>
            <a:xfrm rot="16200000">
              <a:off x="8599632" y="3319564"/>
              <a:ext cx="1045554" cy="4087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12000"/>
                </a:lnSpc>
              </a:pPr>
              <a:r>
                <a:rPr lang="de-DE" sz="1100" b="1" err="1"/>
                <a:t>Ammonia</a:t>
              </a:r>
              <a:br>
                <a:rPr lang="de-DE" sz="1100" b="1"/>
              </a:br>
              <a:r>
                <a:rPr lang="de-DE" sz="800"/>
                <a:t>(incl. </a:t>
              </a:r>
              <a:r>
                <a:rPr lang="de-DE" sz="800" err="1"/>
                <a:t>Cracking</a:t>
              </a:r>
              <a:r>
                <a:rPr lang="de-DE" sz="800"/>
                <a:t>)</a:t>
              </a:r>
            </a:p>
          </p:txBody>
        </p:sp>
        <p:sp>
          <p:nvSpPr>
            <p:cNvPr id="129" name="Rechteck 128">
              <a:extLst>
                <a:ext uri="{FF2B5EF4-FFF2-40B4-BE49-F238E27FC236}">
                  <a16:creationId xmlns:a16="http://schemas.microsoft.com/office/drawing/2014/main" id="{546CFB6E-D4D6-284C-703D-F658DD5945F3}"/>
                </a:ext>
              </a:extLst>
            </p:cNvPr>
            <p:cNvSpPr/>
            <p:nvPr/>
          </p:nvSpPr>
          <p:spPr>
            <a:xfrm>
              <a:off x="8965153" y="4115664"/>
              <a:ext cx="356649" cy="10423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2000"/>
                </a:lnSpc>
              </a:pPr>
              <a:endParaRPr lang="de-DE" sz="1100" err="1"/>
            </a:p>
          </p:txBody>
        </p:sp>
        <p:sp>
          <p:nvSpPr>
            <p:cNvPr id="130" name="Textfeld 129">
              <a:extLst>
                <a:ext uri="{FF2B5EF4-FFF2-40B4-BE49-F238E27FC236}">
                  <a16:creationId xmlns:a16="http://schemas.microsoft.com/office/drawing/2014/main" id="{0320CAC8-0F90-C7DC-BECE-912EE99151ED}"/>
                </a:ext>
              </a:extLst>
            </p:cNvPr>
            <p:cNvSpPr txBox="1"/>
            <p:nvPr/>
          </p:nvSpPr>
          <p:spPr>
            <a:xfrm rot="16200000">
              <a:off x="8618681" y="4490585"/>
              <a:ext cx="1045554" cy="2666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12000"/>
                </a:lnSpc>
              </a:pPr>
              <a:r>
                <a:rPr lang="de-DE" sz="1100" b="1" err="1"/>
                <a:t>Liquified</a:t>
              </a:r>
              <a:r>
                <a:rPr lang="de-DE" sz="1100" b="1"/>
                <a:t> H</a:t>
              </a:r>
              <a:r>
                <a:rPr lang="de-DE" sz="1100" b="1" baseline="-25000"/>
                <a:t>2</a:t>
              </a:r>
            </a:p>
          </p:txBody>
        </p:sp>
        <p:sp>
          <p:nvSpPr>
            <p:cNvPr id="131" name="Oval 464">
              <a:extLst>
                <a:ext uri="{FF2B5EF4-FFF2-40B4-BE49-F238E27FC236}">
                  <a16:creationId xmlns:a16="http://schemas.microsoft.com/office/drawing/2014/main" id="{C5047027-4EA3-A779-3094-7A6744DE138A}"/>
                </a:ext>
              </a:extLst>
            </p:cNvPr>
            <p:cNvSpPr/>
            <p:nvPr/>
          </p:nvSpPr>
          <p:spPr>
            <a:xfrm>
              <a:off x="10930731" y="919712"/>
              <a:ext cx="462038" cy="465356"/>
            </a:xfrm>
            <a:prstGeom prst="ellipse">
              <a:avLst/>
            </a:prstGeom>
            <a:ln w="190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en-US" sz="1100"/>
            </a:p>
          </p:txBody>
        </p:sp>
        <p:pic>
          <p:nvPicPr>
            <p:cNvPr id="132" name="Grafik 131" descr="Glühlampe mit einfarbiger Füllung">
              <a:extLst>
                <a:ext uri="{FF2B5EF4-FFF2-40B4-BE49-F238E27FC236}">
                  <a16:creationId xmlns:a16="http://schemas.microsoft.com/office/drawing/2014/main" id="{2AAC2932-D54E-B924-30C2-0170CF6D4BD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963750" y="951686"/>
              <a:ext cx="396000" cy="396000"/>
            </a:xfrm>
            <a:prstGeom prst="rect">
              <a:avLst/>
            </a:prstGeom>
          </p:spPr>
        </p:pic>
        <p:grpSp>
          <p:nvGrpSpPr>
            <p:cNvPr id="154" name="Gruppieren 153">
              <a:extLst>
                <a:ext uri="{FF2B5EF4-FFF2-40B4-BE49-F238E27FC236}">
                  <a16:creationId xmlns:a16="http://schemas.microsoft.com/office/drawing/2014/main" id="{6C3A6B62-BC85-6183-D593-8DCB0C9FEC14}"/>
                </a:ext>
              </a:extLst>
            </p:cNvPr>
            <p:cNvGrpSpPr/>
            <p:nvPr/>
          </p:nvGrpSpPr>
          <p:grpSpPr>
            <a:xfrm>
              <a:off x="9608522" y="2015965"/>
              <a:ext cx="288000" cy="288000"/>
              <a:chOff x="3873817" y="2867228"/>
              <a:chExt cx="360000" cy="360000"/>
            </a:xfrm>
          </p:grpSpPr>
          <p:sp>
            <p:nvSpPr>
              <p:cNvPr id="155" name="Rechteck 154">
                <a:extLst>
                  <a:ext uri="{FF2B5EF4-FFF2-40B4-BE49-F238E27FC236}">
                    <a16:creationId xmlns:a16="http://schemas.microsoft.com/office/drawing/2014/main" id="{DF4EA697-731D-411F-6F20-E35FC18E29CD}"/>
                  </a:ext>
                </a:extLst>
              </p:cNvPr>
              <p:cNvSpPr/>
              <p:nvPr/>
            </p:nvSpPr>
            <p:spPr>
              <a:xfrm>
                <a:off x="3873817" y="2867228"/>
                <a:ext cx="360000" cy="36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2000"/>
                  </a:lnSpc>
                </a:pPr>
                <a:endParaRPr lang="de-DE" sz="1100" err="1"/>
              </a:p>
            </p:txBody>
          </p:sp>
          <p:pic>
            <p:nvPicPr>
              <p:cNvPr id="156" name="Grafik 155" descr="Ein Bild, das Logo, Grafiken, Symbol, weiß enthält.&#10;&#10;Automatisch generierte Beschreibung">
                <a:extLst>
                  <a:ext uri="{FF2B5EF4-FFF2-40B4-BE49-F238E27FC236}">
                    <a16:creationId xmlns:a16="http://schemas.microsoft.com/office/drawing/2014/main" id="{43BA2660-D108-B309-2410-A1A47A865C7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17249" y="2909907"/>
                <a:ext cx="274641" cy="274641"/>
              </a:xfrm>
              <a:prstGeom prst="rect">
                <a:avLst/>
              </a:prstGeom>
            </p:spPr>
          </p:pic>
        </p:grpSp>
        <p:grpSp>
          <p:nvGrpSpPr>
            <p:cNvPr id="157" name="Gruppieren 156">
              <a:extLst>
                <a:ext uri="{FF2B5EF4-FFF2-40B4-BE49-F238E27FC236}">
                  <a16:creationId xmlns:a16="http://schemas.microsoft.com/office/drawing/2014/main" id="{0E8546A4-0227-052F-AC56-67F789F39470}"/>
                </a:ext>
              </a:extLst>
            </p:cNvPr>
            <p:cNvGrpSpPr/>
            <p:nvPr/>
          </p:nvGrpSpPr>
          <p:grpSpPr>
            <a:xfrm>
              <a:off x="10025850" y="2015965"/>
              <a:ext cx="288000" cy="288000"/>
              <a:chOff x="3873817" y="2867228"/>
              <a:chExt cx="360000" cy="360000"/>
            </a:xfrm>
          </p:grpSpPr>
          <p:sp>
            <p:nvSpPr>
              <p:cNvPr id="158" name="Rechteck 157">
                <a:extLst>
                  <a:ext uri="{FF2B5EF4-FFF2-40B4-BE49-F238E27FC236}">
                    <a16:creationId xmlns:a16="http://schemas.microsoft.com/office/drawing/2014/main" id="{97F05789-533D-CA96-2665-E92D4ED7DEEE}"/>
                  </a:ext>
                </a:extLst>
              </p:cNvPr>
              <p:cNvSpPr/>
              <p:nvPr/>
            </p:nvSpPr>
            <p:spPr>
              <a:xfrm>
                <a:off x="3873817" y="2867228"/>
                <a:ext cx="360000" cy="36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2000"/>
                  </a:lnSpc>
                </a:pPr>
                <a:endParaRPr lang="de-DE" sz="1100" err="1"/>
              </a:p>
            </p:txBody>
          </p:sp>
          <p:pic>
            <p:nvPicPr>
              <p:cNvPr id="159" name="Grafik 158" descr="Ein Bild, das Logo, Grafiken, Symbol, weiß enthält.&#10;&#10;Automatisch generierte Beschreibung">
                <a:extLst>
                  <a:ext uri="{FF2B5EF4-FFF2-40B4-BE49-F238E27FC236}">
                    <a16:creationId xmlns:a16="http://schemas.microsoft.com/office/drawing/2014/main" id="{2A15AF4D-B290-9E5D-9530-79306FD9CEB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17249" y="2909907"/>
                <a:ext cx="274641" cy="274641"/>
              </a:xfrm>
              <a:prstGeom prst="rect">
                <a:avLst/>
              </a:prstGeom>
            </p:spPr>
          </p:pic>
        </p:grpSp>
        <p:grpSp>
          <p:nvGrpSpPr>
            <p:cNvPr id="160" name="Gruppieren 159">
              <a:extLst>
                <a:ext uri="{FF2B5EF4-FFF2-40B4-BE49-F238E27FC236}">
                  <a16:creationId xmlns:a16="http://schemas.microsoft.com/office/drawing/2014/main" id="{7C3F369F-1462-27D8-00CF-2A37CEF6ED53}"/>
                </a:ext>
              </a:extLst>
            </p:cNvPr>
            <p:cNvGrpSpPr/>
            <p:nvPr/>
          </p:nvGrpSpPr>
          <p:grpSpPr>
            <a:xfrm>
              <a:off x="10443178" y="2015971"/>
              <a:ext cx="288000" cy="288000"/>
              <a:chOff x="3873817" y="2867228"/>
              <a:chExt cx="360000" cy="360000"/>
            </a:xfrm>
          </p:grpSpPr>
          <p:sp>
            <p:nvSpPr>
              <p:cNvPr id="161" name="Rechteck 160">
                <a:extLst>
                  <a:ext uri="{FF2B5EF4-FFF2-40B4-BE49-F238E27FC236}">
                    <a16:creationId xmlns:a16="http://schemas.microsoft.com/office/drawing/2014/main" id="{3DF3C8AA-F6AC-93BF-67A5-D3347D71E359}"/>
                  </a:ext>
                </a:extLst>
              </p:cNvPr>
              <p:cNvSpPr/>
              <p:nvPr/>
            </p:nvSpPr>
            <p:spPr>
              <a:xfrm>
                <a:off x="3873817" y="2867228"/>
                <a:ext cx="360000" cy="36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2000"/>
                  </a:lnSpc>
                </a:pPr>
                <a:endParaRPr lang="de-DE" sz="1100" err="1"/>
              </a:p>
            </p:txBody>
          </p:sp>
          <p:pic>
            <p:nvPicPr>
              <p:cNvPr id="162" name="Grafik 161" descr="Ein Bild, das Logo, Grafiken, Symbol, weiß enthält.&#10;&#10;Automatisch generierte Beschreibung">
                <a:extLst>
                  <a:ext uri="{FF2B5EF4-FFF2-40B4-BE49-F238E27FC236}">
                    <a16:creationId xmlns:a16="http://schemas.microsoft.com/office/drawing/2014/main" id="{351725AF-595A-808F-272E-229A51FB2C1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17249" y="2909907"/>
                <a:ext cx="274641" cy="274641"/>
              </a:xfrm>
              <a:prstGeom prst="rect">
                <a:avLst/>
              </a:prstGeom>
            </p:spPr>
          </p:pic>
        </p:grpSp>
        <p:sp>
          <p:nvSpPr>
            <p:cNvPr id="163" name="Textfeld 162">
              <a:extLst>
                <a:ext uri="{FF2B5EF4-FFF2-40B4-BE49-F238E27FC236}">
                  <a16:creationId xmlns:a16="http://schemas.microsoft.com/office/drawing/2014/main" id="{9EBE5F6F-FD9F-453E-FF39-49F38B8B3228}"/>
                </a:ext>
              </a:extLst>
            </p:cNvPr>
            <p:cNvSpPr txBox="1"/>
            <p:nvPr/>
          </p:nvSpPr>
          <p:spPr>
            <a:xfrm>
              <a:off x="9386801" y="2348007"/>
              <a:ext cx="1548973" cy="5954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12000"/>
                </a:lnSpc>
              </a:pPr>
              <a:r>
                <a:rPr lang="de-DE" sz="1000"/>
                <a:t>Use </a:t>
              </a:r>
              <a:r>
                <a:rPr lang="de-DE" sz="1000" err="1"/>
                <a:t>of</a:t>
              </a:r>
              <a:r>
                <a:rPr lang="de-DE" sz="1000"/>
                <a:t> </a:t>
              </a:r>
              <a:r>
                <a:rPr lang="de-DE" sz="1000" err="1"/>
                <a:t>widely</a:t>
              </a:r>
              <a:r>
                <a:rPr lang="de-DE" sz="1000"/>
                <a:t> </a:t>
              </a:r>
              <a:r>
                <a:rPr lang="de-DE" sz="1000" err="1"/>
                <a:t>existing</a:t>
              </a:r>
              <a:r>
                <a:rPr lang="de-DE" sz="1000"/>
                <a:t> </a:t>
              </a:r>
              <a:r>
                <a:rPr lang="de-DE" sz="1000" err="1"/>
                <a:t>infrastructure</a:t>
              </a:r>
              <a:r>
                <a:rPr lang="de-DE" sz="1000"/>
                <a:t> </a:t>
              </a:r>
              <a:r>
                <a:rPr lang="de-DE" sz="1000" err="1"/>
                <a:t>for</a:t>
              </a:r>
              <a:endParaRPr lang="de-DE" sz="1000"/>
            </a:p>
            <a:p>
              <a:pPr algn="ctr">
                <a:lnSpc>
                  <a:spcPct val="112000"/>
                </a:lnSpc>
              </a:pPr>
              <a:r>
                <a:rPr lang="de-DE" sz="1000"/>
                <a:t> liquid oil infrastructure</a:t>
              </a:r>
            </a:p>
          </p:txBody>
        </p:sp>
        <p:grpSp>
          <p:nvGrpSpPr>
            <p:cNvPr id="164" name="Gruppieren 163">
              <a:extLst>
                <a:ext uri="{FF2B5EF4-FFF2-40B4-BE49-F238E27FC236}">
                  <a16:creationId xmlns:a16="http://schemas.microsoft.com/office/drawing/2014/main" id="{A3CA430D-E2CB-B86B-1BBB-B86B42D6B2B5}"/>
                </a:ext>
              </a:extLst>
            </p:cNvPr>
            <p:cNvGrpSpPr/>
            <p:nvPr/>
          </p:nvGrpSpPr>
          <p:grpSpPr>
            <a:xfrm>
              <a:off x="9813813" y="3103332"/>
              <a:ext cx="288000" cy="288000"/>
              <a:chOff x="3873817" y="2867228"/>
              <a:chExt cx="360000" cy="360000"/>
            </a:xfrm>
          </p:grpSpPr>
          <p:sp>
            <p:nvSpPr>
              <p:cNvPr id="165" name="Rechteck 164">
                <a:extLst>
                  <a:ext uri="{FF2B5EF4-FFF2-40B4-BE49-F238E27FC236}">
                    <a16:creationId xmlns:a16="http://schemas.microsoft.com/office/drawing/2014/main" id="{7E187C15-F42F-2F98-84F7-6C8136684990}"/>
                  </a:ext>
                </a:extLst>
              </p:cNvPr>
              <p:cNvSpPr/>
              <p:nvPr/>
            </p:nvSpPr>
            <p:spPr>
              <a:xfrm>
                <a:off x="3873817" y="2867228"/>
                <a:ext cx="360000" cy="36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2000"/>
                  </a:lnSpc>
                </a:pPr>
                <a:endParaRPr lang="de-DE" sz="1100" err="1"/>
              </a:p>
            </p:txBody>
          </p:sp>
          <p:pic>
            <p:nvPicPr>
              <p:cNvPr id="166" name="Grafik 165" descr="Ein Bild, das Logo, Grafiken, Symbol, weiß enthält.&#10;&#10;Automatisch generierte Beschreibung">
                <a:extLst>
                  <a:ext uri="{FF2B5EF4-FFF2-40B4-BE49-F238E27FC236}">
                    <a16:creationId xmlns:a16="http://schemas.microsoft.com/office/drawing/2014/main" id="{2F8748FF-4202-8493-0D21-E703175F0F0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17249" y="2909907"/>
                <a:ext cx="274641" cy="274641"/>
              </a:xfrm>
              <a:prstGeom prst="rect">
                <a:avLst/>
              </a:prstGeom>
            </p:spPr>
          </p:pic>
        </p:grpSp>
        <p:grpSp>
          <p:nvGrpSpPr>
            <p:cNvPr id="167" name="Gruppieren 166">
              <a:extLst>
                <a:ext uri="{FF2B5EF4-FFF2-40B4-BE49-F238E27FC236}">
                  <a16:creationId xmlns:a16="http://schemas.microsoft.com/office/drawing/2014/main" id="{89C92C64-9584-B24A-9F3C-A90107FC016F}"/>
                </a:ext>
              </a:extLst>
            </p:cNvPr>
            <p:cNvGrpSpPr/>
            <p:nvPr/>
          </p:nvGrpSpPr>
          <p:grpSpPr>
            <a:xfrm>
              <a:off x="10229174" y="3103338"/>
              <a:ext cx="288000" cy="288000"/>
              <a:chOff x="3873817" y="2867228"/>
              <a:chExt cx="360000" cy="360000"/>
            </a:xfrm>
          </p:grpSpPr>
          <p:sp>
            <p:nvSpPr>
              <p:cNvPr id="168" name="Rechteck 167">
                <a:extLst>
                  <a:ext uri="{FF2B5EF4-FFF2-40B4-BE49-F238E27FC236}">
                    <a16:creationId xmlns:a16="http://schemas.microsoft.com/office/drawing/2014/main" id="{DD9D508E-3FF5-3F62-A93B-B3FD7C79D051}"/>
                  </a:ext>
                </a:extLst>
              </p:cNvPr>
              <p:cNvSpPr/>
              <p:nvPr/>
            </p:nvSpPr>
            <p:spPr>
              <a:xfrm>
                <a:off x="3873817" y="2867228"/>
                <a:ext cx="360000" cy="36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12000"/>
                  </a:lnSpc>
                </a:pPr>
                <a:endParaRPr lang="de-DE" sz="1100" err="1"/>
              </a:p>
            </p:txBody>
          </p:sp>
          <p:pic>
            <p:nvPicPr>
              <p:cNvPr id="169" name="Grafik 168" descr="Ein Bild, das Logo, Grafiken, Symbol, weiß enthält.&#10;&#10;Automatisch generierte Beschreibung">
                <a:extLst>
                  <a:ext uri="{FF2B5EF4-FFF2-40B4-BE49-F238E27FC236}">
                    <a16:creationId xmlns:a16="http://schemas.microsoft.com/office/drawing/2014/main" id="{47A5BD91-C8E2-95DF-2AE4-00926177EC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17249" y="2909907"/>
                <a:ext cx="274641" cy="274641"/>
              </a:xfrm>
              <a:prstGeom prst="rect">
                <a:avLst/>
              </a:prstGeom>
            </p:spPr>
          </p:pic>
        </p:grpSp>
        <p:sp>
          <p:nvSpPr>
            <p:cNvPr id="170" name="Textfeld 169">
              <a:extLst>
                <a:ext uri="{FF2B5EF4-FFF2-40B4-BE49-F238E27FC236}">
                  <a16:creationId xmlns:a16="http://schemas.microsoft.com/office/drawing/2014/main" id="{ADC28E12-A698-2A89-35C7-E359805B02AD}"/>
                </a:ext>
              </a:extLst>
            </p:cNvPr>
            <p:cNvSpPr txBox="1"/>
            <p:nvPr/>
          </p:nvSpPr>
          <p:spPr>
            <a:xfrm>
              <a:off x="9401209" y="3438016"/>
              <a:ext cx="1521620" cy="5954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12000"/>
                </a:lnSpc>
              </a:pPr>
              <a:r>
                <a:rPr lang="de-DE" sz="1000"/>
                <a:t>NH</a:t>
              </a:r>
              <a:r>
                <a:rPr lang="de-DE" sz="1000" baseline="-25000"/>
                <a:t>3</a:t>
              </a:r>
              <a:r>
                <a:rPr lang="de-DE" sz="1000"/>
                <a:t> </a:t>
              </a:r>
              <a:r>
                <a:rPr lang="de-DE" sz="1000" err="1"/>
                <a:t>infrastructure</a:t>
              </a:r>
              <a:r>
                <a:rPr lang="de-DE" sz="1000"/>
                <a:t> </a:t>
              </a:r>
              <a:r>
                <a:rPr lang="de-DE" sz="1000" err="1"/>
                <a:t>available</a:t>
              </a:r>
              <a:r>
                <a:rPr lang="de-DE" sz="1000"/>
                <a:t> in </a:t>
              </a:r>
              <a:r>
                <a:rPr lang="de-DE" sz="1000" err="1"/>
                <a:t>selected</a:t>
              </a:r>
              <a:r>
                <a:rPr lang="de-DE" sz="1000"/>
                <a:t> </a:t>
              </a:r>
              <a:r>
                <a:rPr lang="de-DE" sz="1000" err="1"/>
                <a:t>ports</a:t>
              </a:r>
              <a:r>
                <a:rPr lang="de-DE" sz="1000"/>
                <a:t> &amp; </a:t>
              </a:r>
              <a:r>
                <a:rPr lang="de-DE" sz="1000" err="1"/>
                <a:t>areas</a:t>
              </a:r>
              <a:endParaRPr lang="de-DE" sz="1000"/>
            </a:p>
          </p:txBody>
        </p:sp>
        <p:pic>
          <p:nvPicPr>
            <p:cNvPr id="171" name="Grafik 170" descr="Ein Bild, das Symbol, Schrift, Logo, Grafiken enthält.&#10;&#10;Automatisch generierte Beschreibung">
              <a:extLst>
                <a:ext uri="{FF2B5EF4-FFF2-40B4-BE49-F238E27FC236}">
                  <a16:creationId xmlns:a16="http://schemas.microsoft.com/office/drawing/2014/main" id="{A10CA5B0-6644-3078-ADED-1998492C948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20130" y="4192159"/>
              <a:ext cx="288000" cy="288000"/>
            </a:xfrm>
            <a:prstGeom prst="rect">
              <a:avLst/>
            </a:prstGeom>
            <a:solidFill>
              <a:schemeClr val="accent1"/>
            </a:solidFill>
          </p:spPr>
        </p:pic>
        <p:sp>
          <p:nvSpPr>
            <p:cNvPr id="172" name="Textfeld 171">
              <a:extLst>
                <a:ext uri="{FF2B5EF4-FFF2-40B4-BE49-F238E27FC236}">
                  <a16:creationId xmlns:a16="http://schemas.microsoft.com/office/drawing/2014/main" id="{D018FD46-B33D-B597-42C1-FD58F0EFDE7C}"/>
                </a:ext>
              </a:extLst>
            </p:cNvPr>
            <p:cNvSpPr txBox="1"/>
            <p:nvPr/>
          </p:nvSpPr>
          <p:spPr>
            <a:xfrm>
              <a:off x="9317763" y="4550331"/>
              <a:ext cx="1727534" cy="5954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12000"/>
                </a:lnSpc>
              </a:pPr>
              <a:r>
                <a:rPr lang="de-DE" sz="1000"/>
                <a:t>New </a:t>
              </a:r>
              <a:r>
                <a:rPr lang="de-DE" sz="1000" err="1"/>
                <a:t>infrastructure</a:t>
              </a:r>
              <a:r>
                <a:rPr lang="de-DE" sz="1000"/>
                <a:t> </a:t>
              </a:r>
              <a:r>
                <a:rPr lang="de-DE" sz="1000" err="1"/>
                <a:t>to</a:t>
              </a:r>
              <a:r>
                <a:rPr lang="de-DE" sz="1000"/>
                <a:t> </a:t>
              </a:r>
              <a:r>
                <a:rPr lang="de-DE" sz="1000" err="1"/>
                <a:t>be</a:t>
              </a:r>
              <a:r>
                <a:rPr lang="de-DE" sz="1000"/>
                <a:t> </a:t>
              </a:r>
              <a:r>
                <a:rPr lang="de-DE" sz="1000" err="1"/>
                <a:t>build</a:t>
              </a:r>
              <a:r>
                <a:rPr lang="de-DE" sz="1000"/>
                <a:t> </a:t>
              </a:r>
              <a:r>
                <a:rPr lang="de-DE" sz="1000" err="1"/>
                <a:t>up</a:t>
              </a:r>
              <a:r>
                <a:rPr lang="de-DE" sz="1000"/>
                <a:t> </a:t>
              </a:r>
              <a:r>
                <a:rPr lang="de-DE" sz="1000" err="1"/>
                <a:t>from</a:t>
              </a:r>
              <a:r>
                <a:rPr lang="de-DE" sz="1000"/>
                <a:t> </a:t>
              </a:r>
              <a:r>
                <a:rPr lang="de-DE" sz="1000" err="1"/>
                <a:t>scratch</a:t>
              </a:r>
              <a:endParaRPr lang="de-DE" sz="1000"/>
            </a:p>
            <a:p>
              <a:pPr algn="ctr">
                <a:lnSpc>
                  <a:spcPct val="112000"/>
                </a:lnSpc>
              </a:pPr>
              <a:r>
                <a:rPr lang="de-DE" sz="1000">
                  <a:sym typeface="Wingdings" panose="05000000000000000000" pitchFamily="2" charset="2"/>
                </a:rPr>
                <a:t> „Rocket Science“</a:t>
              </a:r>
              <a:endParaRPr lang="de-DE" sz="1000"/>
            </a:p>
          </p:txBody>
        </p:sp>
      </p:grpSp>
      <p:sp>
        <p:nvSpPr>
          <p:cNvPr id="174" name="Foliennummernplatzhalter 173">
            <a:extLst>
              <a:ext uri="{FF2B5EF4-FFF2-40B4-BE49-F238E27FC236}">
                <a16:creationId xmlns:a16="http://schemas.microsoft.com/office/drawing/2014/main" id="{68D41009-C845-F54D-C76A-0AD0E6EA90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15</a:t>
            </a:fld>
            <a:endParaRPr lang="en-GB" noProof="0"/>
          </a:p>
        </p:txBody>
      </p:sp>
      <p:sp>
        <p:nvSpPr>
          <p:cNvPr id="175" name="Fußzeilenplatzhalter 174">
            <a:extLst>
              <a:ext uri="{FF2B5EF4-FFF2-40B4-BE49-F238E27FC236}">
                <a16:creationId xmlns:a16="http://schemas.microsoft.com/office/drawing/2014/main" id="{7C259232-F5F2-1668-D777-0D27B478A2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176" name="Datumsplatzhalter 175">
            <a:extLst>
              <a:ext uri="{FF2B5EF4-FFF2-40B4-BE49-F238E27FC236}">
                <a16:creationId xmlns:a16="http://schemas.microsoft.com/office/drawing/2014/main" id="{D0D47C70-DEB6-26A6-695A-638A39AC88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9283190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894EC5-06D8-6E03-50A8-798D57F61E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Qualitative </a:t>
            </a:r>
            <a:r>
              <a:rPr lang="de-DE" err="1"/>
              <a:t>Comparison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Hydrogen Transport Options</a:t>
            </a:r>
            <a:endParaRPr lang="en-US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AFF7503-1C61-C063-5249-C58B1074B0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ABC3848-AEF4-4F63-48FF-EE06C3794D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16</a:t>
            </a:fld>
            <a:endParaRPr lang="en-GB" noProof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C27276E5-A5C6-F15F-BCC6-393E5B02DA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59EA5573-B888-1AEB-44DB-06E828C7DE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BD075C5B-9F34-2517-7771-104F8567FD1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86953846"/>
              </p:ext>
            </p:extLst>
          </p:nvPr>
        </p:nvGraphicFramePr>
        <p:xfrm>
          <a:off x="1036948" y="1715678"/>
          <a:ext cx="8691515" cy="4147758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1891199">
                  <a:extLst>
                    <a:ext uri="{9D8B030D-6E8A-4147-A177-3AD203B41FA5}">
                      <a16:colId xmlns:a16="http://schemas.microsoft.com/office/drawing/2014/main" val="3525332250"/>
                    </a:ext>
                  </a:extLst>
                </a:gridCol>
                <a:gridCol w="1700079">
                  <a:extLst>
                    <a:ext uri="{9D8B030D-6E8A-4147-A177-3AD203B41FA5}">
                      <a16:colId xmlns:a16="http://schemas.microsoft.com/office/drawing/2014/main" val="3424442181"/>
                    </a:ext>
                  </a:extLst>
                </a:gridCol>
                <a:gridCol w="1700079">
                  <a:extLst>
                    <a:ext uri="{9D8B030D-6E8A-4147-A177-3AD203B41FA5}">
                      <a16:colId xmlns:a16="http://schemas.microsoft.com/office/drawing/2014/main" val="780161789"/>
                    </a:ext>
                  </a:extLst>
                </a:gridCol>
                <a:gridCol w="1700079">
                  <a:extLst>
                    <a:ext uri="{9D8B030D-6E8A-4147-A177-3AD203B41FA5}">
                      <a16:colId xmlns:a16="http://schemas.microsoft.com/office/drawing/2014/main" val="1843781675"/>
                    </a:ext>
                  </a:extLst>
                </a:gridCol>
                <a:gridCol w="1700079">
                  <a:extLst>
                    <a:ext uri="{9D8B030D-6E8A-4147-A177-3AD203B41FA5}">
                      <a16:colId xmlns:a16="http://schemas.microsoft.com/office/drawing/2014/main" val="2296031087"/>
                    </a:ext>
                  </a:extLst>
                </a:gridCol>
              </a:tblGrid>
              <a:tr h="1333208">
                <a:tc>
                  <a:txBody>
                    <a:bodyPr/>
                    <a:lstStyle/>
                    <a:p>
                      <a:pPr algn="l"/>
                      <a:r>
                        <a:rPr lang="de-DE" sz="1400">
                          <a:effectLst/>
                        </a:rPr>
                        <a:t> </a:t>
                      </a:r>
                      <a:endParaRPr lang="en-US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err="1">
                          <a:effectLst/>
                        </a:rPr>
                        <a:t>Ammonia</a:t>
                      </a:r>
                      <a:r>
                        <a:rPr lang="de-DE" sz="1400">
                          <a:effectLst/>
                        </a:rPr>
                        <a:t> </a:t>
                      </a:r>
                    </a:p>
                    <a:p>
                      <a:pPr algn="ctr"/>
                      <a:r>
                        <a:rPr lang="de-DE" sz="1400">
                          <a:effectLst/>
                        </a:rPr>
                        <a:t>incl. H2-Release/</a:t>
                      </a:r>
                      <a:r>
                        <a:rPr lang="de-DE" sz="1400" err="1">
                          <a:effectLst/>
                        </a:rPr>
                        <a:t>Cracking</a:t>
                      </a:r>
                      <a:r>
                        <a:rPr lang="de-DE" sz="1400">
                          <a:effectLst/>
                        </a:rPr>
                        <a:t> (NH</a:t>
                      </a:r>
                      <a:r>
                        <a:rPr lang="de-DE" sz="1400" baseline="-25000">
                          <a:effectLst/>
                        </a:rPr>
                        <a:t>3</a:t>
                      </a:r>
                      <a:r>
                        <a:rPr lang="de-DE" sz="1400">
                          <a:effectLst/>
                        </a:rPr>
                        <a:t>)</a:t>
                      </a:r>
                      <a:endParaRPr lang="en-US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>
                          <a:effectLst/>
                        </a:rPr>
                        <a:t>Liquid Hydrogen</a:t>
                      </a:r>
                    </a:p>
                    <a:p>
                      <a:pPr algn="ctr"/>
                      <a:r>
                        <a:rPr lang="de-DE" sz="1400">
                          <a:effectLst/>
                        </a:rPr>
                        <a:t>(LH</a:t>
                      </a:r>
                      <a:r>
                        <a:rPr lang="de-DE" sz="1400" baseline="-25000">
                          <a:effectLst/>
                        </a:rPr>
                        <a:t>2</a:t>
                      </a:r>
                      <a:r>
                        <a:rPr lang="de-DE" sz="1400">
                          <a:effectLst/>
                        </a:rPr>
                        <a:t>)</a:t>
                      </a:r>
                      <a:endParaRPr lang="en-US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>
                          <a:effectLst/>
                        </a:rPr>
                        <a:t>Liquid Organic Hydrogen Carriers (LOHC)</a:t>
                      </a:r>
                      <a:endParaRPr lang="en-US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>
                          <a:effectLst/>
                        </a:rPr>
                        <a:t>Pipeline Transport</a:t>
                      </a:r>
                      <a:endParaRPr lang="en-US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470752676"/>
                  </a:ext>
                </a:extLst>
              </a:tr>
              <a:tr h="799924">
                <a:tc>
                  <a:txBody>
                    <a:bodyPr/>
                    <a:lstStyle/>
                    <a:p>
                      <a:pPr algn="ctr"/>
                      <a:r>
                        <a:rPr lang="de-DE" sz="140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echnological </a:t>
                      </a:r>
                      <a:r>
                        <a:rPr lang="de-DE" sz="140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adiness</a:t>
                      </a:r>
                      <a:endParaRPr lang="en-US" sz="140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6350" cap="flat" cmpd="sng" algn="ctr">
                      <a:noFill/>
                      <a:prstDash val="solid"/>
                      <a:miter lim="800000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400">
                          <a:solidFill>
                            <a:srgbClr val="FF0000"/>
                          </a:solidFill>
                          <a:effectLst/>
                        </a:rPr>
                        <a:t>̶ </a:t>
                      </a:r>
                      <a:endParaRPr lang="en-US" sz="180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400">
                          <a:effectLst/>
                        </a:rPr>
                        <a:t>o</a:t>
                      </a:r>
                      <a:endParaRPr lang="en-US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400">
                          <a:solidFill>
                            <a:srgbClr val="FF0000"/>
                          </a:solidFill>
                          <a:effectLst/>
                        </a:rPr>
                        <a:t>̶  </a:t>
                      </a:r>
                      <a:endParaRPr lang="en-US" sz="180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400" dirty="0">
                          <a:effectLst/>
                        </a:rPr>
                        <a:t>o</a:t>
                      </a:r>
                      <a:endParaRPr lang="en-US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890134296"/>
                  </a:ext>
                </a:extLst>
              </a:tr>
              <a:tr h="474030">
                <a:tc>
                  <a:txBody>
                    <a:bodyPr/>
                    <a:lstStyle/>
                    <a:p>
                      <a:pPr algn="ctr"/>
                      <a:r>
                        <a:rPr lang="de-DE" sz="1400" err="1">
                          <a:solidFill>
                            <a:schemeClr val="bg1"/>
                          </a:solidFill>
                          <a:effectLst/>
                        </a:rPr>
                        <a:t>Flexibility</a:t>
                      </a:r>
                      <a:endParaRPr lang="en-US" sz="14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400">
                          <a:effectLst/>
                        </a:rPr>
                        <a:t>o</a:t>
                      </a:r>
                      <a:endParaRPr lang="en-US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400">
                          <a:solidFill>
                            <a:srgbClr val="00B050"/>
                          </a:solidFill>
                          <a:effectLst/>
                        </a:rPr>
                        <a:t>+</a:t>
                      </a:r>
                      <a:endParaRPr lang="en-US" sz="180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2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̶</a:t>
                      </a: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642540580"/>
                  </a:ext>
                </a:extLst>
              </a:tr>
              <a:tr h="47403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err="1">
                          <a:solidFill>
                            <a:schemeClr val="bg1"/>
                          </a:solidFill>
                          <a:effectLst/>
                        </a:rPr>
                        <a:t>Safety</a:t>
                      </a:r>
                      <a:endParaRPr lang="en-US" sz="14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2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</a:t>
                      </a: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400">
                          <a:effectLst/>
                        </a:rPr>
                        <a:t>o</a:t>
                      </a:r>
                      <a:endParaRPr lang="en-US" sz="1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400">
                          <a:solidFill>
                            <a:srgbClr val="00B050"/>
                          </a:solidFill>
                          <a:effectLst/>
                        </a:rPr>
                        <a:t>++</a:t>
                      </a:r>
                      <a:endParaRPr lang="en-US" sz="180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400">
                          <a:solidFill>
                            <a:srgbClr val="00B050"/>
                          </a:solidFill>
                          <a:effectLst/>
                        </a:rPr>
                        <a:t>++</a:t>
                      </a:r>
                      <a:endParaRPr lang="en-US" sz="180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538587116"/>
                  </a:ext>
                </a:extLst>
              </a:tr>
              <a:tr h="533283">
                <a:tc>
                  <a:txBody>
                    <a:bodyPr/>
                    <a:lstStyle/>
                    <a:p>
                      <a:pPr algn="ctr"/>
                      <a:r>
                        <a:rPr lang="de-DE" sz="1400" err="1">
                          <a:solidFill>
                            <a:schemeClr val="bg1"/>
                          </a:solidFill>
                          <a:effectLst/>
                        </a:rPr>
                        <a:t>Scalibility</a:t>
                      </a:r>
                      <a:endParaRPr lang="en-US" sz="14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400">
                          <a:solidFill>
                            <a:srgbClr val="00B050"/>
                          </a:solidFill>
                          <a:effectLst/>
                        </a:rPr>
                        <a:t>+</a:t>
                      </a:r>
                      <a:endParaRPr lang="en-US" sz="180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>
                          <a:solidFill>
                            <a:srgbClr val="FF0000"/>
                          </a:solidFill>
                          <a:effectLst/>
                        </a:rPr>
                        <a:t>̶ </a:t>
                      </a:r>
                      <a:endParaRPr lang="en-US" sz="180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400">
                          <a:solidFill>
                            <a:srgbClr val="00B050"/>
                          </a:solidFill>
                          <a:effectLst/>
                        </a:rPr>
                        <a:t>+</a:t>
                      </a:r>
                      <a:endParaRPr lang="en-US" sz="180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400">
                          <a:solidFill>
                            <a:srgbClr val="00B050"/>
                          </a:solidFill>
                          <a:effectLst/>
                        </a:rPr>
                        <a:t>+</a:t>
                      </a:r>
                      <a:endParaRPr lang="en-US" sz="180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620837329"/>
                  </a:ext>
                </a:extLst>
              </a:tr>
              <a:tr h="533283">
                <a:tc>
                  <a:txBody>
                    <a:bodyPr/>
                    <a:lstStyle/>
                    <a:p>
                      <a:pPr algn="ctr"/>
                      <a:r>
                        <a:rPr lang="de-DE" sz="1400" err="1">
                          <a:solidFill>
                            <a:schemeClr val="bg1"/>
                          </a:solidFill>
                          <a:effectLst/>
                        </a:rPr>
                        <a:t>Implementability</a:t>
                      </a:r>
                      <a:endParaRPr lang="en-US" sz="140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400">
                          <a:solidFill>
                            <a:srgbClr val="00B050"/>
                          </a:solidFill>
                          <a:effectLst/>
                        </a:rPr>
                        <a:t>+</a:t>
                      </a:r>
                      <a:endParaRPr lang="en-US" sz="180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400">
                          <a:solidFill>
                            <a:schemeClr val="tx1"/>
                          </a:solidFill>
                          <a:effectLst/>
                        </a:rPr>
                        <a:t>o</a:t>
                      </a:r>
                      <a:endParaRPr lang="en-US" sz="18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400">
                          <a:solidFill>
                            <a:srgbClr val="00B050"/>
                          </a:solidFill>
                          <a:effectLst/>
                        </a:rPr>
                        <a:t>+</a:t>
                      </a:r>
                      <a:endParaRPr lang="en-US" sz="180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400" dirty="0">
                          <a:solidFill>
                            <a:srgbClr val="00B050"/>
                          </a:solidFill>
                          <a:effectLst/>
                        </a:rPr>
                        <a:t>+</a:t>
                      </a:r>
                      <a:endParaRPr lang="en-US" sz="1800" dirty="0">
                        <a:solidFill>
                          <a:srgbClr val="00B05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56693707"/>
                  </a:ext>
                </a:extLst>
              </a:tr>
            </a:tbl>
          </a:graphicData>
        </a:graphic>
      </p:graphicFrame>
      <p:pic>
        <p:nvPicPr>
          <p:cNvPr id="10" name="Grafik 9" descr="Ein Bild, das Design, Darstellung, Kunst enthält.&#10;&#10;Automatisch generierte Beschreibung mit mittlerer Zuverlässigkeit">
            <a:extLst>
              <a:ext uri="{FF2B5EF4-FFF2-40B4-BE49-F238E27FC236}">
                <a16:creationId xmlns:a16="http://schemas.microsoft.com/office/drawing/2014/main" id="{FE984B81-D4D8-0992-9771-282A1E0988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5422" y="1872812"/>
            <a:ext cx="798552" cy="798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4612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DABA9A4-6E6E-6E9B-08E5-7A800A9587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8812" y="856197"/>
            <a:ext cx="10874373" cy="1226451"/>
          </a:xfrm>
        </p:spPr>
        <p:txBody>
          <a:bodyPr/>
          <a:lstStyle/>
          <a:p>
            <a:r>
              <a:rPr lang="en-US" sz="2800">
                <a:latin typeface="+mj-lt"/>
                <a:cs typeface="Calibri" panose="020F0502020204030204" pitchFamily="34" charset="0"/>
              </a:rPr>
              <a:t>Hydrogen Economy: Chicken-Egg-Problem</a:t>
            </a:r>
          </a:p>
          <a:p>
            <a:r>
              <a:rPr lang="en-US" sz="2800">
                <a:latin typeface="+mj-lt"/>
                <a:cs typeface="Calibri" panose="020F0502020204030204" pitchFamily="34" charset="0"/>
              </a:rPr>
              <a:t>Question: Which basket to transport eggs from/to the chicken?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11C766E-AA5E-7DD3-598C-112FC78C5BA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Problem </a:t>
            </a:r>
            <a:r>
              <a:rPr lang="de-DE" err="1"/>
              <a:t>definition</a:t>
            </a:r>
            <a:endParaRPr lang="en-US"/>
          </a:p>
        </p:txBody>
      </p:sp>
      <p:pic>
        <p:nvPicPr>
          <p:cNvPr id="8" name="Grafik 7" descr="Ein Bild, das Vogel, Huhn, Clipart, Hühnervogel enthält.&#10;&#10;Automatisch generierte Beschreibung">
            <a:extLst>
              <a:ext uri="{FF2B5EF4-FFF2-40B4-BE49-F238E27FC236}">
                <a16:creationId xmlns:a16="http://schemas.microsoft.com/office/drawing/2014/main" id="{0BA5D1E9-F6F1-3B03-D424-056E0A0400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6916" y="2552170"/>
            <a:ext cx="2154079" cy="2154079"/>
          </a:xfrm>
          <a:prstGeom prst="rect">
            <a:avLst/>
          </a:prstGeom>
        </p:spPr>
      </p:pic>
      <p:pic>
        <p:nvPicPr>
          <p:cNvPr id="10" name="Grafik 9" descr="Ein Bild, das Kreis enthält.&#10;&#10;Automatisch generierte Beschreibung">
            <a:extLst>
              <a:ext uri="{FF2B5EF4-FFF2-40B4-BE49-F238E27FC236}">
                <a16:creationId xmlns:a16="http://schemas.microsoft.com/office/drawing/2014/main" id="{40B8FFA0-5124-7013-53B2-22C7B68DB87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798" y="2768803"/>
            <a:ext cx="2129609" cy="2129609"/>
          </a:xfrm>
          <a:prstGeom prst="rect">
            <a:avLst/>
          </a:prstGeom>
        </p:spPr>
      </p:pic>
      <p:pic>
        <p:nvPicPr>
          <p:cNvPr id="17" name="Grafik 16" descr="Ein Bild, das Design, Darstellung, Kunst enthält.&#10;&#10;Automatisch generierte Beschreibung mit mittlerer Zuverlässigkeit">
            <a:extLst>
              <a:ext uri="{FF2B5EF4-FFF2-40B4-BE49-F238E27FC236}">
                <a16:creationId xmlns:a16="http://schemas.microsoft.com/office/drawing/2014/main" id="{048B6B70-31AA-63AD-2F59-8299A075BFD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6857" y="3641445"/>
            <a:ext cx="2129608" cy="2129608"/>
          </a:xfrm>
          <a:prstGeom prst="rect">
            <a:avLst/>
          </a:prstGeom>
        </p:spPr>
      </p:pic>
      <p:pic>
        <p:nvPicPr>
          <p:cNvPr id="23" name="Grafik 22" descr="Fragezeichen mit einfarbiger Füllung">
            <a:extLst>
              <a:ext uri="{FF2B5EF4-FFF2-40B4-BE49-F238E27FC236}">
                <a16:creationId xmlns:a16="http://schemas.microsoft.com/office/drawing/2014/main" id="{858E54D6-0233-FF7C-80AF-DDD406D3648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414461" y="2436338"/>
            <a:ext cx="914400" cy="914400"/>
          </a:xfrm>
          <a:prstGeom prst="rect">
            <a:avLst/>
          </a:prstGeom>
        </p:spPr>
      </p:pic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E6CDA07F-6B86-4CA2-4CD7-AACA942474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2</a:t>
            </a:fld>
            <a:endParaRPr lang="en-GB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ACC7BBCF-5A53-5D79-8E07-DEF3C802BB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6E64C9C8-0CF4-002E-C792-3ACAA60070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9369705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C697361-A5AE-6152-CBF4-6B50ECCA4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2" y="1011569"/>
            <a:ext cx="8497887" cy="396000"/>
          </a:xfrm>
        </p:spPr>
        <p:txBody>
          <a:bodyPr/>
          <a:lstStyle/>
          <a:p>
            <a:r>
              <a:rPr lang="en-US"/>
              <a:t>What I am </a:t>
            </a:r>
            <a:r>
              <a:rPr lang="en-US" b="1"/>
              <a:t>not</a:t>
            </a:r>
            <a:r>
              <a:rPr lang="en-US"/>
              <a:t> focusing o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94C6101-3BF9-6602-0310-068FBE56C5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Scope of Presentation</a:t>
            </a:r>
          </a:p>
          <a:p>
            <a:endParaRPr lang="en-US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145BBD4-673C-236F-8790-93D5EC004361}"/>
              </a:ext>
            </a:extLst>
          </p:cNvPr>
          <p:cNvGrpSpPr/>
          <p:nvPr/>
        </p:nvGrpSpPr>
        <p:grpSpPr>
          <a:xfrm>
            <a:off x="658812" y="2207578"/>
            <a:ext cx="7578407" cy="502815"/>
            <a:chOff x="8687733" y="2849925"/>
            <a:chExt cx="6932499" cy="502815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31BBB231-CA48-0342-0095-4D32213D058D}"/>
                </a:ext>
              </a:extLst>
            </p:cNvPr>
            <p:cNvSpPr/>
            <p:nvPr/>
          </p:nvSpPr>
          <p:spPr>
            <a:xfrm>
              <a:off x="8687733" y="2849925"/>
              <a:ext cx="6932499" cy="50281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0" tIns="144000" rIns="144000" bIns="144000" rtlCol="0" anchor="t" anchorCtr="0"/>
            <a:lstStyle/>
            <a:p>
              <a:pPr>
                <a:lnSpc>
                  <a:spcPct val="113000"/>
                </a:lnSpc>
              </a:pPr>
              <a:r>
                <a:rPr lang="de-DE" sz="1400" b="1">
                  <a:solidFill>
                    <a:schemeClr val="bg1"/>
                  </a:solidFill>
                </a:rPr>
                <a:t>  Import vs. Export </a:t>
              </a:r>
              <a:r>
                <a:rPr lang="de-DE" sz="1400" b="1" err="1">
                  <a:solidFill>
                    <a:schemeClr val="bg1"/>
                  </a:solidFill>
                </a:rPr>
                <a:t>of</a:t>
              </a:r>
              <a:r>
                <a:rPr lang="de-DE" sz="1400" b="1">
                  <a:solidFill>
                    <a:schemeClr val="bg1"/>
                  </a:solidFill>
                </a:rPr>
                <a:t> Hydrogen </a:t>
              </a:r>
              <a:r>
                <a:rPr lang="de-DE" sz="1400" b="1">
                  <a:solidFill>
                    <a:schemeClr val="bg1"/>
                  </a:solidFill>
                  <a:sym typeface="Wingdings" panose="05000000000000000000" pitchFamily="2" charset="2"/>
                </a:rPr>
                <a:t> Market </a:t>
              </a:r>
              <a:r>
                <a:rPr lang="de-DE" sz="1400" b="1" err="1">
                  <a:solidFill>
                    <a:schemeClr val="bg1"/>
                  </a:solidFill>
                  <a:sym typeface="Wingdings" panose="05000000000000000000" pitchFamily="2" charset="2"/>
                </a:rPr>
                <a:t>prices</a:t>
              </a:r>
              <a:r>
                <a:rPr lang="de-DE" sz="1400" b="1">
                  <a:solidFill>
                    <a:schemeClr val="bg1"/>
                  </a:solidFill>
                  <a:sym typeface="Wingdings" panose="05000000000000000000" pitchFamily="2" charset="2"/>
                </a:rPr>
                <a:t> and </a:t>
              </a:r>
              <a:r>
                <a:rPr lang="de-DE" sz="1400" b="1" err="1">
                  <a:solidFill>
                    <a:schemeClr val="bg1"/>
                  </a:solidFill>
                  <a:sym typeface="Wingdings" panose="05000000000000000000" pitchFamily="2" charset="2"/>
                </a:rPr>
                <a:t>availability</a:t>
              </a:r>
              <a:r>
                <a:rPr lang="de-DE" sz="1400" b="1">
                  <a:solidFill>
                    <a:schemeClr val="bg1"/>
                  </a:solidFill>
                  <a:sym typeface="Wingdings" panose="05000000000000000000" pitchFamily="2" charset="2"/>
                </a:rPr>
                <a:t> </a:t>
              </a:r>
              <a:r>
                <a:rPr lang="de-DE" sz="1400" b="1" err="1">
                  <a:solidFill>
                    <a:schemeClr val="bg1"/>
                  </a:solidFill>
                  <a:sym typeface="Wingdings" panose="05000000000000000000" pitchFamily="2" charset="2"/>
                </a:rPr>
                <a:t>are</a:t>
              </a:r>
              <a:r>
                <a:rPr lang="de-DE" sz="1400" b="1">
                  <a:solidFill>
                    <a:schemeClr val="bg1"/>
                  </a:solidFill>
                  <a:sym typeface="Wingdings" panose="05000000000000000000" pitchFamily="2" charset="2"/>
                </a:rPr>
                <a:t> </a:t>
              </a:r>
              <a:r>
                <a:rPr lang="de-DE" sz="1400" b="1" err="1">
                  <a:solidFill>
                    <a:schemeClr val="bg1"/>
                  </a:solidFill>
                  <a:sym typeface="Wingdings" panose="05000000000000000000" pitchFamily="2" charset="2"/>
                </a:rPr>
                <a:t>determining</a:t>
              </a:r>
              <a:endParaRPr lang="de-DE" sz="1400">
                <a:solidFill>
                  <a:schemeClr val="bg1"/>
                </a:solidFill>
              </a:endParaRPr>
            </a:p>
          </p:txBody>
        </p:sp>
        <p:pic>
          <p:nvPicPr>
            <p:cNvPr id="11" name="Grafik 10" descr="Ein Bild, das Messanzeige enthält.&#10;&#10;Automatisch generierte Beschreibung">
              <a:extLst>
                <a:ext uri="{FF2B5EF4-FFF2-40B4-BE49-F238E27FC236}">
                  <a16:creationId xmlns:a16="http://schemas.microsoft.com/office/drawing/2014/main" id="{FA3CDD72-B650-76A3-7CA4-6DF2685E148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99700" y="2936232"/>
              <a:ext cx="330200" cy="330200"/>
            </a:xfrm>
            <a:prstGeom prst="rect">
              <a:avLst/>
            </a:prstGeom>
          </p:spPr>
        </p:pic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CE69A0B4-8A9A-BC8D-3980-5432B0FEAF5A}"/>
              </a:ext>
            </a:extLst>
          </p:cNvPr>
          <p:cNvGrpSpPr/>
          <p:nvPr/>
        </p:nvGrpSpPr>
        <p:grpSpPr>
          <a:xfrm>
            <a:off x="658811" y="1550570"/>
            <a:ext cx="7578407" cy="502815"/>
            <a:chOff x="8687734" y="2849925"/>
            <a:chExt cx="7079587" cy="502815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34A3EE84-EB96-5E45-E2DE-231BCFCC3570}"/>
                </a:ext>
              </a:extLst>
            </p:cNvPr>
            <p:cNvSpPr/>
            <p:nvPr/>
          </p:nvSpPr>
          <p:spPr>
            <a:xfrm>
              <a:off x="8687734" y="2849925"/>
              <a:ext cx="7079587" cy="50281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0" tIns="144000" rIns="144000" bIns="144000" rtlCol="0" anchor="t" anchorCtr="0"/>
            <a:lstStyle/>
            <a:p>
              <a:pPr>
                <a:lnSpc>
                  <a:spcPct val="113000"/>
                </a:lnSpc>
              </a:pPr>
              <a:r>
                <a:rPr lang="de-DE" sz="1400" b="1">
                  <a:solidFill>
                    <a:schemeClr val="bg1"/>
                  </a:solidFill>
                </a:rPr>
                <a:t>  </a:t>
              </a:r>
              <a:r>
                <a:rPr lang="de-DE" sz="1400" b="1" err="1">
                  <a:solidFill>
                    <a:schemeClr val="bg1"/>
                  </a:solidFill>
                </a:rPr>
                <a:t>Electricity</a:t>
              </a:r>
              <a:r>
                <a:rPr lang="de-DE" sz="1400" b="1">
                  <a:solidFill>
                    <a:schemeClr val="bg1"/>
                  </a:solidFill>
                </a:rPr>
                <a:t> vs. Hydrogen </a:t>
              </a:r>
              <a:r>
                <a:rPr lang="de-DE" sz="1400" b="1">
                  <a:solidFill>
                    <a:schemeClr val="bg1"/>
                  </a:solidFill>
                  <a:sym typeface="Wingdings" panose="05000000000000000000" pitchFamily="2" charset="2"/>
                </a:rPr>
                <a:t> End </a:t>
              </a:r>
              <a:r>
                <a:rPr lang="de-DE" sz="1400" b="1" err="1">
                  <a:solidFill>
                    <a:schemeClr val="bg1"/>
                  </a:solidFill>
                  <a:sym typeface="Wingdings" panose="05000000000000000000" pitchFamily="2" charset="2"/>
                </a:rPr>
                <a:t>use</a:t>
              </a:r>
              <a:r>
                <a:rPr lang="de-DE" sz="1400" b="1">
                  <a:solidFill>
                    <a:schemeClr val="bg1"/>
                  </a:solidFill>
                  <a:sym typeface="Wingdings" panose="05000000000000000000" pitchFamily="2" charset="2"/>
                </a:rPr>
                <a:t> and costs </a:t>
              </a:r>
              <a:r>
                <a:rPr lang="de-DE" sz="1400" b="1" err="1">
                  <a:solidFill>
                    <a:schemeClr val="bg1"/>
                  </a:solidFill>
                  <a:sym typeface="Wingdings" panose="05000000000000000000" pitchFamily="2" charset="2"/>
                </a:rPr>
                <a:t>are</a:t>
              </a:r>
              <a:r>
                <a:rPr lang="de-DE" sz="1400" b="1">
                  <a:solidFill>
                    <a:schemeClr val="bg1"/>
                  </a:solidFill>
                  <a:sym typeface="Wingdings" panose="05000000000000000000" pitchFamily="2" charset="2"/>
                </a:rPr>
                <a:t> </a:t>
              </a:r>
              <a:r>
                <a:rPr lang="de-DE" sz="1400" b="1" err="1">
                  <a:solidFill>
                    <a:schemeClr val="bg1"/>
                  </a:solidFill>
                  <a:sym typeface="Wingdings" panose="05000000000000000000" pitchFamily="2" charset="2"/>
                </a:rPr>
                <a:t>the</a:t>
              </a:r>
              <a:r>
                <a:rPr lang="de-DE" sz="1400" b="1">
                  <a:solidFill>
                    <a:schemeClr val="bg1"/>
                  </a:solidFill>
                  <a:sym typeface="Wingdings" panose="05000000000000000000" pitchFamily="2" charset="2"/>
                </a:rPr>
                <a:t> </a:t>
              </a:r>
              <a:r>
                <a:rPr lang="de-DE" sz="1400" b="1" err="1">
                  <a:solidFill>
                    <a:schemeClr val="bg1"/>
                  </a:solidFill>
                  <a:sym typeface="Wingdings" panose="05000000000000000000" pitchFamily="2" charset="2"/>
                </a:rPr>
                <a:t>key</a:t>
              </a:r>
              <a:r>
                <a:rPr lang="de-DE" sz="1400" b="1">
                  <a:solidFill>
                    <a:schemeClr val="bg1"/>
                  </a:solidFill>
                  <a:sym typeface="Wingdings" panose="05000000000000000000" pitchFamily="2" charset="2"/>
                </a:rPr>
                <a:t> </a:t>
              </a:r>
              <a:r>
                <a:rPr lang="de-DE" sz="1400" b="1" err="1">
                  <a:solidFill>
                    <a:schemeClr val="bg1"/>
                  </a:solidFill>
                  <a:sym typeface="Wingdings" panose="05000000000000000000" pitchFamily="2" charset="2"/>
                </a:rPr>
                <a:t>criteria</a:t>
              </a:r>
              <a:endParaRPr lang="de-DE" sz="1400" b="1">
                <a:solidFill>
                  <a:schemeClr val="bg1"/>
                </a:solidFill>
              </a:endParaRPr>
            </a:p>
          </p:txBody>
        </p:sp>
        <p:pic>
          <p:nvPicPr>
            <p:cNvPr id="14" name="Grafik 13" descr="Ein Bild, das Messanzeige enthält.&#10;&#10;Automatisch generierte Beschreibung">
              <a:extLst>
                <a:ext uri="{FF2B5EF4-FFF2-40B4-BE49-F238E27FC236}">
                  <a16:creationId xmlns:a16="http://schemas.microsoft.com/office/drawing/2014/main" id="{985BF76F-61D0-C8EE-2E55-0A5D502C112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99700" y="2936232"/>
              <a:ext cx="330200" cy="330200"/>
            </a:xfrm>
            <a:prstGeom prst="rect">
              <a:avLst/>
            </a:prstGeom>
          </p:spPr>
        </p:pic>
      </p:grpSp>
      <p:sp>
        <p:nvSpPr>
          <p:cNvPr id="15" name="Titel 1">
            <a:extLst>
              <a:ext uri="{FF2B5EF4-FFF2-40B4-BE49-F238E27FC236}">
                <a16:creationId xmlns:a16="http://schemas.microsoft.com/office/drawing/2014/main" id="{93535922-3085-9BC8-E427-77C8979C6B1D}"/>
              </a:ext>
            </a:extLst>
          </p:cNvPr>
          <p:cNvSpPr txBox="1">
            <a:spLocks/>
          </p:cNvSpPr>
          <p:nvPr/>
        </p:nvSpPr>
        <p:spPr bwMode="gray">
          <a:xfrm>
            <a:off x="658812" y="3471043"/>
            <a:ext cx="8497887" cy="39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5000"/>
              </a:lnSpc>
              <a:spcBef>
                <a:spcPct val="0"/>
              </a:spcBef>
              <a:buNone/>
              <a:defRPr sz="22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What I </a:t>
            </a:r>
            <a:r>
              <a:rPr lang="en-US" b="1"/>
              <a:t>am</a:t>
            </a:r>
            <a:r>
              <a:rPr lang="en-US"/>
              <a:t> focusing o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C3E2F1C-A89F-96BD-F40D-C43BF2520C06}"/>
              </a:ext>
            </a:extLst>
          </p:cNvPr>
          <p:cNvSpPr/>
          <p:nvPr/>
        </p:nvSpPr>
        <p:spPr>
          <a:xfrm>
            <a:off x="1216058" y="4647347"/>
            <a:ext cx="7021160" cy="5028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144000" rIns="144000" bIns="144000" rtlCol="0" anchor="t" anchorCtr="0"/>
          <a:lstStyle/>
          <a:p>
            <a:pPr>
              <a:lnSpc>
                <a:spcPct val="113000"/>
              </a:lnSpc>
            </a:pPr>
            <a:r>
              <a:rPr lang="de-DE" sz="1400">
                <a:solidFill>
                  <a:schemeClr val="bg1"/>
                </a:solidFill>
                <a:sym typeface="Wingdings" panose="05000000000000000000" pitchFamily="2" charset="2"/>
              </a:rPr>
              <a:t> </a:t>
            </a:r>
            <a:r>
              <a:rPr lang="de-DE" sz="1400">
                <a:solidFill>
                  <a:schemeClr val="bg1"/>
                </a:solidFill>
              </a:rPr>
              <a:t>Possible hydrogen </a:t>
            </a:r>
            <a:r>
              <a:rPr lang="de-DE" sz="1400" err="1">
                <a:solidFill>
                  <a:schemeClr val="bg1"/>
                </a:solidFill>
              </a:rPr>
              <a:t>transport</a:t>
            </a:r>
            <a:r>
              <a:rPr lang="de-DE" sz="1400">
                <a:solidFill>
                  <a:schemeClr val="bg1"/>
                </a:solidFill>
              </a:rPr>
              <a:t> </a:t>
            </a:r>
            <a:r>
              <a:rPr lang="de-DE" sz="1400" err="1">
                <a:solidFill>
                  <a:schemeClr val="bg1"/>
                </a:solidFill>
              </a:rPr>
              <a:t>options</a:t>
            </a:r>
            <a:r>
              <a:rPr lang="de-DE" sz="1400">
                <a:solidFill>
                  <a:schemeClr val="bg1"/>
                </a:solidFill>
              </a:rPr>
              <a:t> and </a:t>
            </a:r>
            <a:r>
              <a:rPr lang="de-DE" sz="1400" err="1">
                <a:solidFill>
                  <a:schemeClr val="bg1"/>
                </a:solidFill>
              </a:rPr>
              <a:t>key</a:t>
            </a:r>
            <a:r>
              <a:rPr lang="de-DE" sz="1400">
                <a:solidFill>
                  <a:schemeClr val="bg1"/>
                </a:solidFill>
              </a:rPr>
              <a:t> </a:t>
            </a:r>
            <a:r>
              <a:rPr lang="de-DE" sz="1400" err="1">
                <a:solidFill>
                  <a:schemeClr val="bg1"/>
                </a:solidFill>
              </a:rPr>
              <a:t>decision</a:t>
            </a:r>
            <a:r>
              <a:rPr lang="de-DE" sz="1400">
                <a:solidFill>
                  <a:schemeClr val="bg1"/>
                </a:solidFill>
              </a:rPr>
              <a:t> </a:t>
            </a:r>
            <a:r>
              <a:rPr lang="de-DE" sz="1400" err="1">
                <a:solidFill>
                  <a:schemeClr val="bg1"/>
                </a:solidFill>
              </a:rPr>
              <a:t>criteria</a:t>
            </a:r>
            <a:endParaRPr lang="de-DE" sz="1400">
              <a:solidFill>
                <a:schemeClr val="bg1"/>
              </a:solidFill>
            </a:endParaRP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4F0C633C-1260-FC67-3715-B7FCB86EC118}"/>
              </a:ext>
            </a:extLst>
          </p:cNvPr>
          <p:cNvGrpSpPr/>
          <p:nvPr/>
        </p:nvGrpSpPr>
        <p:grpSpPr>
          <a:xfrm>
            <a:off x="658811" y="4010044"/>
            <a:ext cx="7578407" cy="502815"/>
            <a:chOff x="8687734" y="2849925"/>
            <a:chExt cx="7079587" cy="502815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B1BA1B41-2EAA-6265-E37B-222D42F0B6F6}"/>
                </a:ext>
              </a:extLst>
            </p:cNvPr>
            <p:cNvSpPr/>
            <p:nvPr/>
          </p:nvSpPr>
          <p:spPr>
            <a:xfrm>
              <a:off x="8687734" y="2849925"/>
              <a:ext cx="7079587" cy="50281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0" tIns="144000" rIns="144000" bIns="144000" rtlCol="0" anchor="t" anchorCtr="0"/>
            <a:lstStyle/>
            <a:p>
              <a:pPr>
                <a:lnSpc>
                  <a:spcPct val="113000"/>
                </a:lnSpc>
              </a:pPr>
              <a:r>
                <a:rPr lang="de-DE" sz="1400" b="1">
                  <a:solidFill>
                    <a:schemeClr val="bg1"/>
                  </a:solidFill>
                </a:rPr>
                <a:t>  </a:t>
              </a:r>
              <a:r>
                <a:rPr lang="de-DE" sz="1400" b="1" err="1">
                  <a:solidFill>
                    <a:schemeClr val="bg1"/>
                  </a:solidFill>
                </a:rPr>
                <a:t>What</a:t>
              </a:r>
              <a:r>
                <a:rPr lang="de-DE" sz="1400" b="1">
                  <a:solidFill>
                    <a:schemeClr val="bg1"/>
                  </a:solidFill>
                </a:rPr>
                <a:t> </a:t>
              </a:r>
              <a:r>
                <a:rPr lang="de-DE" sz="1400" b="1" err="1">
                  <a:solidFill>
                    <a:schemeClr val="bg1"/>
                  </a:solidFill>
                </a:rPr>
                <a:t>is</a:t>
              </a:r>
              <a:r>
                <a:rPr lang="de-DE" sz="1400" b="1">
                  <a:solidFill>
                    <a:schemeClr val="bg1"/>
                  </a:solidFill>
                </a:rPr>
                <a:t> </a:t>
              </a:r>
              <a:r>
                <a:rPr lang="de-DE" sz="1400" b="1" err="1">
                  <a:solidFill>
                    <a:schemeClr val="bg1"/>
                  </a:solidFill>
                </a:rPr>
                <a:t>the</a:t>
              </a:r>
              <a:r>
                <a:rPr lang="de-DE" sz="1400" b="1">
                  <a:solidFill>
                    <a:schemeClr val="bg1"/>
                  </a:solidFill>
                </a:rPr>
                <a:t> optimal </a:t>
              </a:r>
              <a:r>
                <a:rPr lang="de-DE" sz="1400" b="1" err="1">
                  <a:solidFill>
                    <a:schemeClr val="bg1"/>
                  </a:solidFill>
                </a:rPr>
                <a:t>basket</a:t>
              </a:r>
              <a:r>
                <a:rPr lang="de-DE" sz="1400" b="1">
                  <a:solidFill>
                    <a:schemeClr val="bg1"/>
                  </a:solidFill>
                </a:rPr>
                <a:t> </a:t>
              </a:r>
              <a:r>
                <a:rPr lang="de-DE" sz="1400" b="1" err="1">
                  <a:solidFill>
                    <a:schemeClr val="bg1"/>
                  </a:solidFill>
                </a:rPr>
                <a:t>for</a:t>
              </a:r>
              <a:r>
                <a:rPr lang="de-DE" sz="1400" b="1">
                  <a:solidFill>
                    <a:schemeClr val="bg1"/>
                  </a:solidFill>
                </a:rPr>
                <a:t> </a:t>
              </a:r>
              <a:r>
                <a:rPr lang="de-DE" sz="1400" b="1" err="1">
                  <a:solidFill>
                    <a:schemeClr val="bg1"/>
                  </a:solidFill>
                </a:rPr>
                <a:t>my</a:t>
              </a:r>
              <a:r>
                <a:rPr lang="de-DE" sz="1400" b="1">
                  <a:solidFill>
                    <a:schemeClr val="bg1"/>
                  </a:solidFill>
                </a:rPr>
                <a:t> egg?</a:t>
              </a:r>
            </a:p>
          </p:txBody>
        </p:sp>
        <p:pic>
          <p:nvPicPr>
            <p:cNvPr id="22" name="Grafik 21" descr="Ein Bild, das Messanzeige enthält.&#10;&#10;Automatisch generierte Beschreibung">
              <a:extLst>
                <a:ext uri="{FF2B5EF4-FFF2-40B4-BE49-F238E27FC236}">
                  <a16:creationId xmlns:a16="http://schemas.microsoft.com/office/drawing/2014/main" id="{5BE148EF-848E-C145-4E80-927388583C6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99700" y="2936232"/>
              <a:ext cx="330200" cy="330200"/>
            </a:xfrm>
            <a:prstGeom prst="rect">
              <a:avLst/>
            </a:prstGeom>
          </p:spPr>
        </p:pic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B3226C1F-1FFA-A041-8BF9-0A816E1F091B}"/>
              </a:ext>
            </a:extLst>
          </p:cNvPr>
          <p:cNvGrpSpPr/>
          <p:nvPr/>
        </p:nvGrpSpPr>
        <p:grpSpPr>
          <a:xfrm>
            <a:off x="8380426" y="3052385"/>
            <a:ext cx="3692439" cy="3105360"/>
            <a:chOff x="8380426" y="3052385"/>
            <a:chExt cx="3692439" cy="3105360"/>
          </a:xfrm>
        </p:grpSpPr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7E6091E9-A275-6ECD-0840-60BFEF6C00D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11146547" y="4172972"/>
              <a:ext cx="926318" cy="998442"/>
            </a:xfrm>
            <a:prstGeom prst="rect">
              <a:avLst/>
            </a:prstGeom>
          </p:spPr>
        </p:pic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72002016-30C8-1EAC-47DD-3EC8D97CBA03}"/>
                </a:ext>
              </a:extLst>
            </p:cNvPr>
            <p:cNvGrpSpPr/>
            <p:nvPr/>
          </p:nvGrpSpPr>
          <p:grpSpPr>
            <a:xfrm>
              <a:off x="9671145" y="3052385"/>
              <a:ext cx="1182398" cy="3105360"/>
              <a:chOff x="9603360" y="3052385"/>
              <a:chExt cx="1182398" cy="3105360"/>
            </a:xfrm>
          </p:grpSpPr>
          <p:pic>
            <p:nvPicPr>
              <p:cNvPr id="7" name="Grafik 6">
                <a:extLst>
                  <a:ext uri="{FF2B5EF4-FFF2-40B4-BE49-F238E27FC236}">
                    <a16:creationId xmlns:a16="http://schemas.microsoft.com/office/drawing/2014/main" id="{EEDDCAAA-EF1E-7113-F4E1-3B234780B6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rcRect/>
              <a:stretch/>
            </p:blipFill>
            <p:spPr>
              <a:xfrm>
                <a:off x="9603360" y="4675783"/>
                <a:ext cx="1182398" cy="797265"/>
              </a:xfrm>
              <a:prstGeom prst="rect">
                <a:avLst/>
              </a:prstGeom>
            </p:spPr>
          </p:pic>
          <p:pic>
            <p:nvPicPr>
              <p:cNvPr id="8" name="Grafik 7">
                <a:extLst>
                  <a:ext uri="{FF2B5EF4-FFF2-40B4-BE49-F238E27FC236}">
                    <a16:creationId xmlns:a16="http://schemas.microsoft.com/office/drawing/2014/main" id="{371CB74D-CE41-524A-104D-F4B3640593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rcRect/>
              <a:stretch/>
            </p:blipFill>
            <p:spPr>
              <a:xfrm>
                <a:off x="9603360" y="5287599"/>
                <a:ext cx="1182398" cy="870146"/>
              </a:xfrm>
              <a:prstGeom prst="rect">
                <a:avLst/>
              </a:prstGeom>
            </p:spPr>
          </p:pic>
          <p:pic>
            <p:nvPicPr>
              <p:cNvPr id="19" name="Grafik 18">
                <a:extLst>
                  <a:ext uri="{FF2B5EF4-FFF2-40B4-BE49-F238E27FC236}">
                    <a16:creationId xmlns:a16="http://schemas.microsoft.com/office/drawing/2014/main" id="{E7C3878F-776B-4AC7-6B8C-49D68849FAC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rcRect/>
              <a:stretch/>
            </p:blipFill>
            <p:spPr>
              <a:xfrm>
                <a:off x="9603360" y="3709575"/>
                <a:ext cx="1182398" cy="1098481"/>
              </a:xfrm>
              <a:prstGeom prst="rect">
                <a:avLst/>
              </a:prstGeom>
            </p:spPr>
          </p:pic>
          <p:pic>
            <p:nvPicPr>
              <p:cNvPr id="26" name="Grafik 25">
                <a:extLst>
                  <a:ext uri="{FF2B5EF4-FFF2-40B4-BE49-F238E27FC236}">
                    <a16:creationId xmlns:a16="http://schemas.microsoft.com/office/drawing/2014/main" id="{E1701191-8600-1804-BA07-4533255723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rcRect/>
              <a:stretch/>
            </p:blipFill>
            <p:spPr>
              <a:xfrm>
                <a:off x="9603360" y="3052385"/>
                <a:ext cx="1182398" cy="1066819"/>
              </a:xfrm>
              <a:prstGeom prst="rect">
                <a:avLst/>
              </a:prstGeom>
            </p:spPr>
          </p:pic>
        </p:grpSp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60BFE3D5-721C-314C-8D05-1561DEE08B5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/>
          </p:blipFill>
          <p:spPr>
            <a:xfrm>
              <a:off x="8380426" y="4245910"/>
              <a:ext cx="997713" cy="997713"/>
            </a:xfrm>
            <a:prstGeom prst="rect">
              <a:avLst/>
            </a:prstGeom>
          </p:spPr>
        </p:pic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4EDC0B85-45AB-39A1-EBE7-E302C6384D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9353037" y="4557609"/>
              <a:ext cx="343210" cy="484532"/>
            </a:xfrm>
            <a:prstGeom prst="rect">
              <a:avLst/>
            </a:prstGeom>
          </p:spPr>
        </p:pic>
        <p:pic>
          <p:nvPicPr>
            <p:cNvPr id="34" name="Grafik 33">
              <a:extLst>
                <a:ext uri="{FF2B5EF4-FFF2-40B4-BE49-F238E27FC236}">
                  <a16:creationId xmlns:a16="http://schemas.microsoft.com/office/drawing/2014/main" id="{96AF6155-1662-CC8A-0D48-D50FCC2BA89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10828440" y="4557609"/>
              <a:ext cx="343210" cy="484532"/>
            </a:xfrm>
            <a:prstGeom prst="rect">
              <a:avLst/>
            </a:prstGeom>
          </p:spPr>
        </p:pic>
      </p:grp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7155D38E-2ACF-7691-619E-E91F1DB931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3</a:t>
            </a:fld>
            <a:endParaRPr lang="en-GB" noProof="0"/>
          </a:p>
        </p:txBody>
      </p:sp>
      <p:sp>
        <p:nvSpPr>
          <p:cNvPr id="18" name="Fußzeilenplatzhalter 17">
            <a:extLst>
              <a:ext uri="{FF2B5EF4-FFF2-40B4-BE49-F238E27FC236}">
                <a16:creationId xmlns:a16="http://schemas.microsoft.com/office/drawing/2014/main" id="{DBBC21D9-2949-7942-42EC-AC43D7C69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23" name="Datumsplatzhalter 22">
            <a:extLst>
              <a:ext uri="{FF2B5EF4-FFF2-40B4-BE49-F238E27FC236}">
                <a16:creationId xmlns:a16="http://schemas.microsoft.com/office/drawing/2014/main" id="{80A54FD6-CE14-43F5-57DD-A8DF8BCAE7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4D26D81-5543-6D9E-0E96-C80E2A0538DA}"/>
              </a:ext>
            </a:extLst>
          </p:cNvPr>
          <p:cNvSpPr/>
          <p:nvPr/>
        </p:nvSpPr>
        <p:spPr>
          <a:xfrm>
            <a:off x="1216058" y="5325799"/>
            <a:ext cx="7021160" cy="7711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144000" rIns="144000" bIns="144000" rtlCol="0" anchor="t" anchorCtr="0"/>
          <a:lstStyle/>
          <a:p>
            <a:pPr>
              <a:lnSpc>
                <a:spcPct val="113000"/>
              </a:lnSpc>
            </a:pPr>
            <a:r>
              <a:rPr lang="de-DE" sz="1400">
                <a:solidFill>
                  <a:schemeClr val="bg1"/>
                </a:solidFill>
                <a:sym typeface="Wingdings" panose="05000000000000000000" pitchFamily="2" charset="2"/>
              </a:rPr>
              <a:t>Technologies:	</a:t>
            </a:r>
            <a:r>
              <a:rPr lang="de-DE" sz="1400" err="1">
                <a:solidFill>
                  <a:schemeClr val="bg1"/>
                </a:solidFill>
                <a:sym typeface="Wingdings" panose="05000000000000000000" pitchFamily="2" charset="2"/>
              </a:rPr>
              <a:t>Ammonia</a:t>
            </a:r>
            <a:r>
              <a:rPr lang="de-DE" sz="1400">
                <a:solidFill>
                  <a:schemeClr val="bg1"/>
                </a:solidFill>
                <a:sym typeface="Wingdings" panose="05000000000000000000" pitchFamily="2" charset="2"/>
              </a:rPr>
              <a:t> (NH3), Liquid Hydrogen (LH2), Liquid </a:t>
            </a:r>
            <a:r>
              <a:rPr lang="de-DE" sz="1400" err="1">
                <a:solidFill>
                  <a:schemeClr val="bg1"/>
                </a:solidFill>
                <a:sym typeface="Wingdings" panose="05000000000000000000" pitchFamily="2" charset="2"/>
              </a:rPr>
              <a:t>Organic</a:t>
            </a:r>
            <a:r>
              <a:rPr lang="de-DE" sz="1400">
                <a:solidFill>
                  <a:schemeClr val="bg1"/>
                </a:solidFill>
                <a:sym typeface="Wingdings" panose="05000000000000000000" pitchFamily="2" charset="2"/>
              </a:rPr>
              <a:t> 		Hydrogen Carriers (LOHC), Pipelines </a:t>
            </a:r>
            <a:r>
              <a:rPr lang="de-DE" sz="1400" err="1">
                <a:solidFill>
                  <a:schemeClr val="bg1"/>
                </a:solidFill>
                <a:sym typeface="Wingdings" panose="05000000000000000000" pitchFamily="2" charset="2"/>
              </a:rPr>
              <a:t>to</a:t>
            </a:r>
            <a:r>
              <a:rPr lang="de-DE" sz="1400">
                <a:solidFill>
                  <a:schemeClr val="bg1"/>
                </a:solidFill>
                <a:sym typeface="Wingdings" panose="05000000000000000000" pitchFamily="2" charset="2"/>
              </a:rPr>
              <a:t> a </a:t>
            </a:r>
            <a:r>
              <a:rPr lang="de-DE" sz="1400" err="1">
                <a:solidFill>
                  <a:schemeClr val="bg1"/>
                </a:solidFill>
                <a:sym typeface="Wingdings" panose="05000000000000000000" pitchFamily="2" charset="2"/>
              </a:rPr>
              <a:t>certain</a:t>
            </a:r>
            <a:r>
              <a:rPr lang="de-DE" sz="1400">
                <a:solidFill>
                  <a:schemeClr val="bg1"/>
                </a:solidFill>
                <a:sym typeface="Wingdings" panose="05000000000000000000" pitchFamily="2" charset="2"/>
              </a:rPr>
              <a:t> </a:t>
            </a:r>
            <a:r>
              <a:rPr lang="de-DE" sz="1400" err="1">
                <a:solidFill>
                  <a:schemeClr val="bg1"/>
                </a:solidFill>
                <a:sym typeface="Wingdings" panose="05000000000000000000" pitchFamily="2" charset="2"/>
              </a:rPr>
              <a:t>extent</a:t>
            </a:r>
            <a:r>
              <a:rPr lang="de-DE" sz="1400">
                <a:solidFill>
                  <a:schemeClr val="bg1"/>
                </a:solidFill>
                <a:sym typeface="Wingdings" panose="05000000000000000000" pitchFamily="2" charset="2"/>
              </a:rPr>
              <a:t> </a:t>
            </a:r>
            <a:endParaRPr lang="de-DE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01397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88B2BA1-DC90-BD33-EA56-127B59C778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843892"/>
            <a:ext cx="10418761" cy="396000"/>
          </a:xfrm>
        </p:spPr>
        <p:txBody>
          <a:bodyPr/>
          <a:lstStyle/>
          <a:p>
            <a:r>
              <a:rPr lang="de-DE" sz="2400" err="1"/>
              <a:t>There</a:t>
            </a:r>
            <a:r>
              <a:rPr lang="de-DE" sz="2400"/>
              <a:t> </a:t>
            </a:r>
            <a:r>
              <a:rPr lang="de-DE" sz="2400" err="1"/>
              <a:t>are</a:t>
            </a:r>
            <a:r>
              <a:rPr lang="de-DE" sz="2400"/>
              <a:t> </a:t>
            </a:r>
            <a:r>
              <a:rPr lang="de-DE" sz="2400" b="1" err="1"/>
              <a:t>three</a:t>
            </a:r>
            <a:r>
              <a:rPr lang="de-DE" sz="2400" b="1"/>
              <a:t> relevant </a:t>
            </a:r>
            <a:r>
              <a:rPr lang="de-DE" sz="2400" b="1" err="1"/>
              <a:t>criteria</a:t>
            </a:r>
            <a:r>
              <a:rPr lang="de-DE" sz="2400" b="1"/>
              <a:t> </a:t>
            </a:r>
            <a:r>
              <a:rPr lang="de-DE" sz="2400" err="1"/>
              <a:t>for</a:t>
            </a:r>
            <a:r>
              <a:rPr lang="de-DE" sz="2400"/>
              <a:t> </a:t>
            </a:r>
            <a:r>
              <a:rPr lang="de-DE" sz="2400" err="1"/>
              <a:t>evaluating</a:t>
            </a:r>
            <a:r>
              <a:rPr lang="de-DE" sz="2400"/>
              <a:t> </a:t>
            </a:r>
            <a:r>
              <a:rPr lang="de-DE" sz="2400" b="1"/>
              <a:t>hydrogen </a:t>
            </a:r>
            <a:r>
              <a:rPr lang="de-DE" sz="2400" b="1" err="1"/>
              <a:t>transport</a:t>
            </a:r>
            <a:r>
              <a:rPr lang="de-DE" sz="2400" b="1"/>
              <a:t> </a:t>
            </a:r>
            <a:r>
              <a:rPr lang="de-DE" sz="2400" err="1"/>
              <a:t>options</a:t>
            </a:r>
            <a:br>
              <a:rPr lang="en-GB" sz="2400"/>
            </a:br>
            <a:endParaRPr lang="en-US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544F5D73-0D29-11C7-4A71-4CE4C96DA27B}"/>
              </a:ext>
            </a:extLst>
          </p:cNvPr>
          <p:cNvSpPr/>
          <p:nvPr/>
        </p:nvSpPr>
        <p:spPr>
          <a:xfrm>
            <a:off x="2380453" y="1896594"/>
            <a:ext cx="7278693" cy="146928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144000" rIns="144000" bIns="144000" rtlCol="0" anchor="t" anchorCtr="0"/>
          <a:lstStyle/>
          <a:p>
            <a:pPr marL="342900" indent="-342900">
              <a:lnSpc>
                <a:spcPct val="113000"/>
              </a:lnSpc>
              <a:buFont typeface="+mj-lt"/>
              <a:buAutoNum type="arabicPeriod"/>
            </a:pPr>
            <a:r>
              <a:rPr lang="de-DE" sz="1400" b="1">
                <a:solidFill>
                  <a:schemeClr val="tx1"/>
                </a:solidFill>
              </a:rPr>
              <a:t>Carrier Density</a:t>
            </a:r>
          </a:p>
          <a:p>
            <a:pPr marL="342900" indent="-342900">
              <a:lnSpc>
                <a:spcPct val="113000"/>
              </a:lnSpc>
              <a:buFont typeface="+mj-lt"/>
              <a:buAutoNum type="arabicPeriod"/>
            </a:pPr>
            <a:r>
              <a:rPr lang="de-DE" sz="1400" b="1">
                <a:solidFill>
                  <a:schemeClr val="tx1"/>
                </a:solidFill>
              </a:rPr>
              <a:t>H</a:t>
            </a:r>
            <a:r>
              <a:rPr lang="de-DE" sz="1400" b="1" baseline="-25000">
                <a:solidFill>
                  <a:schemeClr val="tx1"/>
                </a:solidFill>
              </a:rPr>
              <a:t>2</a:t>
            </a:r>
            <a:r>
              <a:rPr lang="de-DE" sz="1400" b="1">
                <a:solidFill>
                  <a:schemeClr val="tx1"/>
                </a:solidFill>
              </a:rPr>
              <a:t>-Purity</a:t>
            </a:r>
          </a:p>
          <a:p>
            <a:pPr marL="342900" indent="-342900">
              <a:lnSpc>
                <a:spcPct val="113000"/>
              </a:lnSpc>
              <a:buFont typeface="+mj-lt"/>
              <a:buAutoNum type="arabicPeriod"/>
            </a:pPr>
            <a:r>
              <a:rPr lang="de-DE" sz="1400" b="1">
                <a:solidFill>
                  <a:schemeClr val="tx1"/>
                </a:solidFill>
              </a:rPr>
              <a:t>Use </a:t>
            </a:r>
            <a:r>
              <a:rPr lang="de-DE" sz="1400" b="1" err="1">
                <a:solidFill>
                  <a:schemeClr val="tx1"/>
                </a:solidFill>
              </a:rPr>
              <a:t>of</a:t>
            </a:r>
            <a:r>
              <a:rPr lang="de-DE" sz="1400" b="1">
                <a:solidFill>
                  <a:schemeClr val="tx1"/>
                </a:solidFill>
              </a:rPr>
              <a:t> </a:t>
            </a:r>
            <a:r>
              <a:rPr lang="de-DE" sz="1400" b="1" err="1">
                <a:solidFill>
                  <a:schemeClr val="tx1"/>
                </a:solidFill>
              </a:rPr>
              <a:t>existing</a:t>
            </a:r>
            <a:r>
              <a:rPr lang="de-DE" sz="1400" b="1">
                <a:solidFill>
                  <a:schemeClr val="tx1"/>
                </a:solidFill>
              </a:rPr>
              <a:t> </a:t>
            </a:r>
            <a:r>
              <a:rPr lang="de-DE" sz="1400" b="1" err="1">
                <a:solidFill>
                  <a:schemeClr val="tx1"/>
                </a:solidFill>
              </a:rPr>
              <a:t>infrastructure</a:t>
            </a:r>
            <a:endParaRPr lang="de-DE" sz="1400" b="1">
              <a:solidFill>
                <a:schemeClr val="tx1"/>
              </a:solidFill>
            </a:endParaRPr>
          </a:p>
          <a:p>
            <a:pPr marL="342900" indent="-342900">
              <a:lnSpc>
                <a:spcPct val="113000"/>
              </a:lnSpc>
              <a:buFont typeface="+mj-lt"/>
              <a:buAutoNum type="arabicPeriod"/>
            </a:pPr>
            <a:r>
              <a:rPr lang="de-DE" sz="1400" b="1">
                <a:solidFill>
                  <a:schemeClr val="tx1"/>
                </a:solidFill>
              </a:rPr>
              <a:t>Demand and </a:t>
            </a:r>
            <a:r>
              <a:rPr lang="de-DE" sz="1400" b="1" err="1">
                <a:solidFill>
                  <a:schemeClr val="tx1"/>
                </a:solidFill>
              </a:rPr>
              <a:t>supply</a:t>
            </a:r>
            <a:r>
              <a:rPr lang="de-DE" sz="1400" b="1">
                <a:solidFill>
                  <a:schemeClr val="tx1"/>
                </a:solidFill>
              </a:rPr>
              <a:t> </a:t>
            </a:r>
            <a:r>
              <a:rPr lang="de-DE" sz="1400" b="1" err="1">
                <a:solidFill>
                  <a:schemeClr val="tx1"/>
                </a:solidFill>
              </a:rPr>
              <a:t>of</a:t>
            </a:r>
            <a:r>
              <a:rPr lang="de-DE" sz="1400" b="1">
                <a:solidFill>
                  <a:schemeClr val="tx1"/>
                </a:solidFill>
              </a:rPr>
              <a:t> hydrogen </a:t>
            </a:r>
            <a:r>
              <a:rPr lang="de-DE" sz="1400" b="1" err="1">
                <a:solidFill>
                  <a:schemeClr val="tx1"/>
                </a:solidFill>
              </a:rPr>
              <a:t>or</a:t>
            </a:r>
            <a:r>
              <a:rPr lang="de-DE" sz="1400" b="1">
                <a:solidFill>
                  <a:schemeClr val="tx1"/>
                </a:solidFill>
              </a:rPr>
              <a:t> hydrogen derivative</a:t>
            </a:r>
          </a:p>
          <a:p>
            <a:pPr marL="342900" indent="-342900">
              <a:lnSpc>
                <a:spcPct val="113000"/>
              </a:lnSpc>
              <a:buFont typeface="+mj-lt"/>
              <a:buAutoNum type="arabicPeriod"/>
            </a:pPr>
            <a:r>
              <a:rPr lang="de-DE" sz="1400" b="1">
                <a:solidFill>
                  <a:schemeClr val="tx1"/>
                </a:solidFill>
              </a:rPr>
              <a:t>GHG-Emissions</a:t>
            </a:r>
          </a:p>
          <a:p>
            <a:pPr marL="342900" indent="-342900">
              <a:lnSpc>
                <a:spcPct val="113000"/>
              </a:lnSpc>
              <a:buFont typeface="+mj-lt"/>
              <a:buAutoNum type="arabicPeriod"/>
            </a:pPr>
            <a:endParaRPr lang="de-DE" sz="1400" b="1">
              <a:solidFill>
                <a:schemeClr val="tx1"/>
              </a:solidFill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E687CA82-968E-BFC6-6D7C-EC1156C5E5ED}"/>
              </a:ext>
            </a:extLst>
          </p:cNvPr>
          <p:cNvSpPr/>
          <p:nvPr/>
        </p:nvSpPr>
        <p:spPr>
          <a:xfrm>
            <a:off x="2380453" y="1572145"/>
            <a:ext cx="7278693" cy="330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144000" rIns="144000" bIns="144000" rtlCol="0" anchor="ctr" anchorCtr="0"/>
          <a:lstStyle/>
          <a:p>
            <a:r>
              <a:rPr lang="en-GB" sz="1600" b="1"/>
              <a:t>Cost Efficiency</a:t>
            </a:r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786C670B-C597-81BB-035A-9039A239C553}"/>
              </a:ext>
            </a:extLst>
          </p:cNvPr>
          <p:cNvSpPr/>
          <p:nvPr/>
        </p:nvSpPr>
        <p:spPr>
          <a:xfrm>
            <a:off x="2380453" y="3759373"/>
            <a:ext cx="7278693" cy="10032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144000" rIns="144000" bIns="144000" rtlCol="0" anchor="t" anchorCtr="0"/>
          <a:lstStyle/>
          <a:p>
            <a:pPr marL="342900" marR="0" lvl="0" indent="-342900" algn="l" defTabSz="914400" rtl="0" eaLnBrk="1" fontAlgn="auto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se 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isting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frastructure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i.e., 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rt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rminals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orage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hips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&amp; 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ipelines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indent="-342900">
              <a:lnSpc>
                <a:spcPct val="113000"/>
              </a:lnSpc>
              <a:buFont typeface="+mj-lt"/>
              <a:buAutoNum type="arabicPeriod"/>
            </a:pPr>
            <a:r>
              <a:rPr lang="de-DE" sz="1400" b="1" dirty="0">
                <a:solidFill>
                  <a:schemeClr val="tx1"/>
                </a:solidFill>
              </a:rPr>
              <a:t>Technology </a:t>
            </a:r>
            <a:r>
              <a:rPr lang="de-DE" sz="1400" b="1" dirty="0" err="1">
                <a:solidFill>
                  <a:schemeClr val="tx1"/>
                </a:solidFill>
              </a:rPr>
              <a:t>readiness</a:t>
            </a:r>
            <a:r>
              <a:rPr lang="de-DE" sz="1400" b="1" dirty="0">
                <a:solidFill>
                  <a:schemeClr val="tx1"/>
                </a:solidFill>
              </a:rPr>
              <a:t> </a:t>
            </a:r>
            <a:r>
              <a:rPr lang="de-DE" sz="1400" b="1" dirty="0" err="1">
                <a:solidFill>
                  <a:schemeClr val="tx1"/>
                </a:solidFill>
              </a:rPr>
              <a:t>level</a:t>
            </a:r>
            <a:r>
              <a:rPr lang="de-DE" sz="1400" b="1" dirty="0">
                <a:solidFill>
                  <a:schemeClr val="tx1"/>
                </a:solidFill>
              </a:rPr>
              <a:t> (TRL)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330C0211-B544-AF7E-8167-1611596FAEAA}"/>
              </a:ext>
            </a:extLst>
          </p:cNvPr>
          <p:cNvSpPr/>
          <p:nvPr/>
        </p:nvSpPr>
        <p:spPr>
          <a:xfrm>
            <a:off x="2380453" y="3477544"/>
            <a:ext cx="7278693" cy="330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144000" rIns="144000" bIns="144000" rtlCol="0" anchor="ctr" anchorCtr="0"/>
          <a:lstStyle/>
          <a:p>
            <a:r>
              <a:rPr lang="en-GB" sz="1600" b="1"/>
              <a:t>Availability</a:t>
            </a:r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DCFF7156-FA88-52D0-2CA6-64A1E86DE448}"/>
              </a:ext>
            </a:extLst>
          </p:cNvPr>
          <p:cNvSpPr/>
          <p:nvPr/>
        </p:nvSpPr>
        <p:spPr>
          <a:xfrm>
            <a:off x="2380453" y="5156122"/>
            <a:ext cx="7278693" cy="8280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144000" rIns="144000" bIns="144000" rtlCol="0" anchor="t" anchorCtr="0"/>
          <a:lstStyle/>
          <a:p>
            <a:pPr marL="342900" indent="-342900">
              <a:lnSpc>
                <a:spcPct val="113000"/>
              </a:lnSpc>
              <a:buFont typeface="+mj-lt"/>
              <a:buAutoNum type="arabicPeriod"/>
            </a:pPr>
            <a:r>
              <a:rPr lang="de-DE" sz="1400" b="1" err="1">
                <a:solidFill>
                  <a:schemeClr val="tx1"/>
                </a:solidFill>
              </a:rPr>
              <a:t>Regulatory</a:t>
            </a:r>
            <a:r>
              <a:rPr lang="de-DE" sz="1400" b="1">
                <a:solidFill>
                  <a:schemeClr val="tx1"/>
                </a:solidFill>
              </a:rPr>
              <a:t> Framework</a:t>
            </a:r>
          </a:p>
          <a:p>
            <a:pPr marL="342900" indent="-342900">
              <a:lnSpc>
                <a:spcPct val="113000"/>
              </a:lnSpc>
              <a:buFont typeface="+mj-lt"/>
              <a:buAutoNum type="arabicPeriod"/>
            </a:pPr>
            <a:r>
              <a:rPr lang="de-DE" sz="1400" b="1">
                <a:solidFill>
                  <a:schemeClr val="tx1"/>
                </a:solidFill>
              </a:rPr>
              <a:t>Public Acceptance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470270C5-4389-23DD-4D69-30E939806B1A}"/>
              </a:ext>
            </a:extLst>
          </p:cNvPr>
          <p:cNvSpPr/>
          <p:nvPr/>
        </p:nvSpPr>
        <p:spPr>
          <a:xfrm>
            <a:off x="2380453" y="4874292"/>
            <a:ext cx="7278693" cy="330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144000" rIns="144000" bIns="144000" rtlCol="0" anchor="ctr" anchorCtr="0"/>
          <a:lstStyle/>
          <a:p>
            <a:r>
              <a:rPr lang="en-GB" sz="1600" b="1"/>
              <a:t>Safety</a:t>
            </a:r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EE60E08-F5E5-F65E-48EF-129551BFB6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8812" y="503482"/>
            <a:ext cx="8497887" cy="180000"/>
          </a:xfrm>
        </p:spPr>
        <p:txBody>
          <a:bodyPr/>
          <a:lstStyle/>
          <a:p>
            <a:r>
              <a:rPr lang="en-GB"/>
              <a:t>Main topics</a:t>
            </a:r>
          </a:p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750DB93-95E7-4DD7-A351-A0033D642A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4</a:t>
            </a:fld>
            <a:endParaRPr lang="en-GB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4A5184D-CAD1-8CE2-653D-1CD27ED4F9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D972E012-E1AC-2F4C-9825-0B1F5A4EDD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184453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A0B3B4E7-02EB-A204-1B01-3FB8A2286B1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/>
              <a:t>1. </a:t>
            </a:r>
            <a:r>
              <a:rPr lang="de-DE" err="1"/>
              <a:t>Cost</a:t>
            </a:r>
            <a:r>
              <a:rPr lang="de-DE"/>
              <a:t> Efficienc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6765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7CB53F27-7AB3-C594-83F2-7F716F6860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843892"/>
            <a:ext cx="10205832" cy="396000"/>
          </a:xfrm>
        </p:spPr>
        <p:txBody>
          <a:bodyPr/>
          <a:lstStyle/>
          <a:p>
            <a:r>
              <a:rPr lang="de-DE"/>
              <a:t>The </a:t>
            </a:r>
            <a:r>
              <a:rPr lang="de-DE" b="1" err="1"/>
              <a:t>cost</a:t>
            </a:r>
            <a:r>
              <a:rPr lang="de-DE" b="1"/>
              <a:t> </a:t>
            </a:r>
            <a:r>
              <a:rPr lang="de-DE" b="1" err="1"/>
              <a:t>efficiency</a:t>
            </a:r>
            <a:r>
              <a:rPr lang="de-DE" b="1"/>
              <a:t>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heavily</a:t>
            </a:r>
            <a:r>
              <a:rPr lang="de-DE"/>
              <a:t> </a:t>
            </a:r>
            <a:r>
              <a:rPr lang="de-DE" err="1"/>
              <a:t>depending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b="1" err="1"/>
              <a:t>assumptions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model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E544419-D65E-039F-C114-E329B6CA57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Cost Efficiency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1E22024B-4290-697E-7ECE-1C46696C667B}"/>
              </a:ext>
            </a:extLst>
          </p:cNvPr>
          <p:cNvSpPr txBox="1"/>
          <p:nvPr/>
        </p:nvSpPr>
        <p:spPr>
          <a:xfrm>
            <a:off x="2510205" y="6374829"/>
            <a:ext cx="6102853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900"/>
              <a:t>Source: </a:t>
            </a:r>
            <a:r>
              <a:rPr lang="en-US" sz="900" err="1"/>
              <a:t>Hampp</a:t>
            </a:r>
            <a:r>
              <a:rPr lang="en-US" sz="900"/>
              <a:t> et al. (2023); https://doi.org/10.1371/journal.pone.0281380</a:t>
            </a:r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243114D7-9AA6-0403-F042-FF03D979227E}"/>
              </a:ext>
            </a:extLst>
          </p:cNvPr>
          <p:cNvSpPr txBox="1">
            <a:spLocks/>
          </p:cNvSpPr>
          <p:nvPr/>
        </p:nvSpPr>
        <p:spPr bwMode="gray">
          <a:xfrm>
            <a:off x="785019" y="5746165"/>
            <a:ext cx="10621962" cy="46535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68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317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96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06400" indent="-130175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40400" indent="-134938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>
                <a:solidFill>
                  <a:schemeClr val="bg1"/>
                </a:solidFill>
              </a:rPr>
              <a:t>Authors conclusion: </a:t>
            </a:r>
            <a:r>
              <a:rPr lang="en-US" sz="1400">
                <a:solidFill>
                  <a:schemeClr val="bg1"/>
                </a:solidFill>
              </a:rPr>
              <a:t>“no single exporter or Energy Supply Chain shows a unique techno-economic advantage over the others”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2D20323-E4D5-F1A7-8E08-A615A387E4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480" y="1696483"/>
            <a:ext cx="6453719" cy="3843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485CC16A-4E94-32AF-7522-35B52EA4499A}"/>
              </a:ext>
            </a:extLst>
          </p:cNvPr>
          <p:cNvGrpSpPr/>
          <p:nvPr/>
        </p:nvGrpSpPr>
        <p:grpSpPr>
          <a:xfrm>
            <a:off x="576902" y="5541723"/>
            <a:ext cx="462038" cy="465356"/>
            <a:chOff x="2317153" y="1843570"/>
            <a:chExt cx="462038" cy="465356"/>
          </a:xfrm>
        </p:grpSpPr>
        <p:sp>
          <p:nvSpPr>
            <p:cNvPr id="17" name="Oval 464">
              <a:extLst>
                <a:ext uri="{FF2B5EF4-FFF2-40B4-BE49-F238E27FC236}">
                  <a16:creationId xmlns:a16="http://schemas.microsoft.com/office/drawing/2014/main" id="{34074313-61E8-F2E8-273C-8B7723FB0BF5}"/>
                </a:ext>
              </a:extLst>
            </p:cNvPr>
            <p:cNvSpPr/>
            <p:nvPr/>
          </p:nvSpPr>
          <p:spPr>
            <a:xfrm>
              <a:off x="2317153" y="1843570"/>
              <a:ext cx="462038" cy="465356"/>
            </a:xfrm>
            <a:prstGeom prst="ellipse">
              <a:avLst/>
            </a:prstGeom>
            <a:ln w="190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en-US" sz="1100"/>
            </a:p>
          </p:txBody>
        </p:sp>
        <p:pic>
          <p:nvPicPr>
            <p:cNvPr id="15" name="Grafik 14" descr="Glühlampe mit einfarbiger Füllung">
              <a:extLst>
                <a:ext uri="{FF2B5EF4-FFF2-40B4-BE49-F238E27FC236}">
                  <a16:creationId xmlns:a16="http://schemas.microsoft.com/office/drawing/2014/main" id="{6869852B-3A0D-DD91-9878-B540225A437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350172" y="1875544"/>
              <a:ext cx="396000" cy="396000"/>
            </a:xfrm>
            <a:prstGeom prst="rect">
              <a:avLst/>
            </a:prstGeom>
          </p:spPr>
        </p:pic>
      </p:grpSp>
      <p:sp>
        <p:nvSpPr>
          <p:cNvPr id="8" name="Textfeld 7">
            <a:extLst>
              <a:ext uri="{FF2B5EF4-FFF2-40B4-BE49-F238E27FC236}">
                <a16:creationId xmlns:a16="http://schemas.microsoft.com/office/drawing/2014/main" id="{48166EEC-C780-5DC7-B673-DAB4FD659498}"/>
              </a:ext>
            </a:extLst>
          </p:cNvPr>
          <p:cNvSpPr txBox="1"/>
          <p:nvPr/>
        </p:nvSpPr>
        <p:spPr>
          <a:xfrm>
            <a:off x="1718728" y="1364206"/>
            <a:ext cx="588947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err="1"/>
              <a:t>Levelised</a:t>
            </a:r>
            <a:r>
              <a:rPr lang="en-US" sz="1200" b="1"/>
              <a:t> Cost of Hydrogen (</a:t>
            </a:r>
            <a:r>
              <a:rPr lang="en-US" sz="1200" b="1" err="1"/>
              <a:t>LCoH</a:t>
            </a:r>
            <a:r>
              <a:rPr lang="en-US" sz="1200" b="1"/>
              <a:t>) for Energy Supply Chains to Germany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0E40DD8-B030-C651-9715-BE7E3ABBFF3D}"/>
              </a:ext>
            </a:extLst>
          </p:cNvPr>
          <p:cNvSpPr txBox="1"/>
          <p:nvPr/>
        </p:nvSpPr>
        <p:spPr>
          <a:xfrm>
            <a:off x="8314620" y="1605524"/>
            <a:ext cx="3199718" cy="40532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3000"/>
              </a:lnSpc>
              <a:spcAft>
                <a:spcPts val="1200"/>
              </a:spcAft>
            </a:pPr>
            <a:r>
              <a:rPr lang="de-DE" sz="1600" b="1" err="1">
                <a:solidFill>
                  <a:schemeClr val="tx1"/>
                </a:solidFill>
              </a:rPr>
              <a:t>Important</a:t>
            </a:r>
            <a:r>
              <a:rPr lang="de-DE" sz="1600" b="1">
                <a:solidFill>
                  <a:schemeClr val="tx1"/>
                </a:solidFill>
              </a:rPr>
              <a:t> </a:t>
            </a:r>
            <a:r>
              <a:rPr lang="de-DE" sz="1600" b="1" err="1">
                <a:solidFill>
                  <a:schemeClr val="tx1"/>
                </a:solidFill>
              </a:rPr>
              <a:t>cost</a:t>
            </a:r>
            <a:r>
              <a:rPr lang="de-DE" sz="1600" b="1">
                <a:solidFill>
                  <a:schemeClr val="tx1"/>
                </a:solidFill>
              </a:rPr>
              <a:t>-drivers:</a:t>
            </a:r>
          </a:p>
          <a:p>
            <a:pPr marL="342900" indent="-342900">
              <a:lnSpc>
                <a:spcPct val="113000"/>
              </a:lnSpc>
              <a:spcAft>
                <a:spcPts val="1200"/>
              </a:spcAft>
              <a:buFont typeface="+mj-lt"/>
              <a:buAutoNum type="arabicPeriod"/>
            </a:pPr>
            <a:r>
              <a:rPr lang="de-DE" sz="1600">
                <a:solidFill>
                  <a:schemeClr val="tx1"/>
                </a:solidFill>
              </a:rPr>
              <a:t>H</a:t>
            </a:r>
            <a:r>
              <a:rPr lang="de-DE" sz="1600" baseline="-25000">
                <a:solidFill>
                  <a:schemeClr val="tx1"/>
                </a:solidFill>
              </a:rPr>
              <a:t>2</a:t>
            </a:r>
            <a:r>
              <a:rPr lang="de-DE" sz="1600">
                <a:solidFill>
                  <a:schemeClr val="tx1"/>
                </a:solidFill>
              </a:rPr>
              <a:t>-Purity (98 vs. 99.5 %)</a:t>
            </a:r>
          </a:p>
          <a:p>
            <a:pPr marL="342900" indent="-342900">
              <a:lnSpc>
                <a:spcPct val="113000"/>
              </a:lnSpc>
              <a:spcAft>
                <a:spcPts val="1200"/>
              </a:spcAft>
              <a:buFont typeface="+mj-lt"/>
              <a:buAutoNum type="arabicPeriod"/>
            </a:pPr>
            <a:r>
              <a:rPr lang="de-DE" sz="1600" err="1">
                <a:solidFill>
                  <a:schemeClr val="tx1"/>
                </a:solidFill>
              </a:rPr>
              <a:t>Existing</a:t>
            </a:r>
            <a:r>
              <a:rPr lang="de-DE" sz="1600">
                <a:solidFill>
                  <a:schemeClr val="tx1"/>
                </a:solidFill>
              </a:rPr>
              <a:t> </a:t>
            </a:r>
            <a:r>
              <a:rPr lang="de-DE" sz="1600" err="1">
                <a:solidFill>
                  <a:schemeClr val="tx1"/>
                </a:solidFill>
              </a:rPr>
              <a:t>infrastructure</a:t>
            </a:r>
            <a:endParaRPr lang="de-DE" sz="1600">
              <a:solidFill>
                <a:schemeClr val="tx1"/>
              </a:solidFill>
            </a:endParaRPr>
          </a:p>
          <a:p>
            <a:pPr marL="342900" indent="-342900">
              <a:lnSpc>
                <a:spcPct val="113000"/>
              </a:lnSpc>
              <a:spcAft>
                <a:spcPts val="1200"/>
              </a:spcAft>
              <a:buFont typeface="+mj-lt"/>
              <a:buAutoNum type="arabicPeriod"/>
            </a:pPr>
            <a:r>
              <a:rPr lang="de-DE" sz="1600">
                <a:solidFill>
                  <a:schemeClr val="tx1"/>
                </a:solidFill>
              </a:rPr>
              <a:t>Hydrogen </a:t>
            </a:r>
            <a:r>
              <a:rPr lang="de-DE" sz="1600" err="1">
                <a:solidFill>
                  <a:schemeClr val="tx1"/>
                </a:solidFill>
              </a:rPr>
              <a:t>or</a:t>
            </a:r>
            <a:r>
              <a:rPr lang="de-DE" sz="1600">
                <a:solidFill>
                  <a:schemeClr val="tx1"/>
                </a:solidFill>
              </a:rPr>
              <a:t> hydrogen derivative</a:t>
            </a:r>
          </a:p>
          <a:p>
            <a:pPr marL="342900" indent="-342900">
              <a:lnSpc>
                <a:spcPct val="113000"/>
              </a:lnSpc>
              <a:spcAft>
                <a:spcPts val="1200"/>
              </a:spcAft>
              <a:buFont typeface="+mj-lt"/>
              <a:buAutoNum type="arabicPeriod"/>
            </a:pPr>
            <a:r>
              <a:rPr lang="de-DE" sz="1600"/>
              <a:t>Energy </a:t>
            </a:r>
            <a:r>
              <a:rPr lang="de-DE" sz="1600" err="1"/>
              <a:t>cost</a:t>
            </a:r>
            <a:r>
              <a:rPr lang="de-DE" sz="1600"/>
              <a:t> </a:t>
            </a:r>
            <a:r>
              <a:rPr lang="de-DE" sz="1600" err="1"/>
              <a:t>for</a:t>
            </a:r>
            <a:r>
              <a:rPr lang="de-DE" sz="1600"/>
              <a:t> (Re-) </a:t>
            </a:r>
            <a:r>
              <a:rPr lang="de-DE" sz="1600" err="1"/>
              <a:t>Conversions</a:t>
            </a:r>
            <a:endParaRPr lang="de-DE" sz="1600"/>
          </a:p>
          <a:p>
            <a:pPr marL="342900" indent="-342900">
              <a:lnSpc>
                <a:spcPct val="113000"/>
              </a:lnSpc>
              <a:spcAft>
                <a:spcPts val="1200"/>
              </a:spcAft>
              <a:buFont typeface="+mj-lt"/>
              <a:buAutoNum type="arabicPeriod"/>
            </a:pPr>
            <a:r>
              <a:rPr lang="de-DE" sz="1600" err="1">
                <a:solidFill>
                  <a:schemeClr val="tx1"/>
                </a:solidFill>
              </a:rPr>
              <a:t>Utilization</a:t>
            </a:r>
            <a:r>
              <a:rPr lang="de-DE" sz="1600">
                <a:solidFill>
                  <a:schemeClr val="tx1"/>
                </a:solidFill>
              </a:rPr>
              <a:t> </a:t>
            </a:r>
            <a:r>
              <a:rPr lang="de-DE" sz="1600" err="1">
                <a:solidFill>
                  <a:schemeClr val="tx1"/>
                </a:solidFill>
              </a:rPr>
              <a:t>of</a:t>
            </a:r>
            <a:r>
              <a:rPr lang="de-DE" sz="1600">
                <a:solidFill>
                  <a:schemeClr val="tx1"/>
                </a:solidFill>
              </a:rPr>
              <a:t> Pipeline/Infrastructure</a:t>
            </a:r>
          </a:p>
          <a:p>
            <a:pPr marL="342900" indent="-342900">
              <a:lnSpc>
                <a:spcPct val="113000"/>
              </a:lnSpc>
              <a:spcAft>
                <a:spcPts val="1200"/>
              </a:spcAft>
              <a:buFont typeface="+mj-lt"/>
              <a:buAutoNum type="arabicPeriod"/>
            </a:pPr>
            <a:r>
              <a:rPr lang="de-DE" sz="1600" err="1"/>
              <a:t>Safety</a:t>
            </a:r>
            <a:r>
              <a:rPr lang="de-DE" sz="1600"/>
              <a:t> &amp; </a:t>
            </a:r>
            <a:r>
              <a:rPr lang="de-DE" sz="1600" err="1"/>
              <a:t>regulatory</a:t>
            </a:r>
            <a:r>
              <a:rPr lang="de-DE" sz="1600"/>
              <a:t> </a:t>
            </a:r>
            <a:r>
              <a:rPr lang="de-DE" sz="1600" err="1"/>
              <a:t>measures</a:t>
            </a:r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6F78CDCB-5040-B3DF-B0E7-EB4AD8A075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6</a:t>
            </a:fld>
            <a:endParaRPr lang="en-GB" noProof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E157ACEF-F9BE-C5AC-D4E4-15C20673C6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67E23E12-372D-98F7-517C-70537FF5B8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2552673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Inhaltsplatzhalter 9">
            <a:extLst>
              <a:ext uri="{FF2B5EF4-FFF2-40B4-BE49-F238E27FC236}">
                <a16:creationId xmlns:a16="http://schemas.microsoft.com/office/drawing/2014/main" id="{61C19CC0-2CA3-4DCF-B18C-2449CF6F9B0C}"/>
              </a:ext>
            </a:extLst>
          </p:cNvPr>
          <p:cNvPicPr>
            <a:picLocks noGrp="1"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63374" y="3408220"/>
            <a:ext cx="2803818" cy="205198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E544419-D65E-039F-C114-E329B6CA57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/>
              <a:t>Best practice: </a:t>
            </a:r>
          </a:p>
          <a:p>
            <a:r>
              <a:rPr lang="en-US" sz="2000"/>
              <a:t>Meta-Analysis with several studies and assumptions</a:t>
            </a:r>
          </a:p>
          <a:p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6E717E-1415-CFC3-BB39-EFBFAAE054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/>
              <a:t>Worthy of discussion: </a:t>
            </a:r>
          </a:p>
          <a:p>
            <a:r>
              <a:rPr lang="en-US" sz="2000"/>
              <a:t>Modeling based on few sources and unrealistic assumptions</a:t>
            </a:r>
          </a:p>
          <a:p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C94FBC3-03BF-CA46-4F47-52855E3DFAE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err="1"/>
              <a:t>Cost</a:t>
            </a:r>
            <a:r>
              <a:rPr lang="de-DE"/>
              <a:t> Efficiency</a:t>
            </a:r>
            <a:endParaRPr lang="en-US"/>
          </a:p>
        </p:txBody>
      </p:sp>
      <p:pic>
        <p:nvPicPr>
          <p:cNvPr id="15" name="Grafik 14" descr="Glühlampe mit einfarbiger Füllung">
            <a:extLst>
              <a:ext uri="{FF2B5EF4-FFF2-40B4-BE49-F238E27FC236}">
                <a16:creationId xmlns:a16="http://schemas.microsoft.com/office/drawing/2014/main" id="{6869852B-3A0D-DD91-9878-B540225A437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967493" y="5610144"/>
            <a:ext cx="468000" cy="4680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758DC9C7-B01A-970B-E2CE-ABA847CE60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35493" y="3161904"/>
            <a:ext cx="3353447" cy="205990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3E3E0A16-0B84-ED0A-323B-97369EEFCFF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44049" y="2484652"/>
            <a:ext cx="2740122" cy="22938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21250A19-9DD5-0E9A-2B5D-EBD3BDC24B1E}"/>
              </a:ext>
            </a:extLst>
          </p:cNvPr>
          <p:cNvSpPr txBox="1"/>
          <p:nvPr/>
        </p:nvSpPr>
        <p:spPr>
          <a:xfrm>
            <a:off x="4332680" y="2276071"/>
            <a:ext cx="126510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err="1"/>
              <a:t>Hydrogenious</a:t>
            </a:r>
            <a:r>
              <a:rPr lang="en-US" sz="800"/>
              <a:t> TCO Comparison (2023)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4A9E3B5D-6881-6770-E546-2FFE5F0D16F8}"/>
              </a:ext>
            </a:extLst>
          </p:cNvPr>
          <p:cNvSpPr txBox="1"/>
          <p:nvPr/>
        </p:nvSpPr>
        <p:spPr>
          <a:xfrm>
            <a:off x="88490" y="4796816"/>
            <a:ext cx="234700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800"/>
              <a:t>Supply costs of green chemical energy carriers at the European border: A meta-analysis,</a:t>
            </a:r>
          </a:p>
          <a:p>
            <a:pPr algn="r"/>
            <a:r>
              <a:rPr lang="en-US" sz="800" err="1"/>
              <a:t>Genge</a:t>
            </a:r>
            <a:r>
              <a:rPr lang="en-US" sz="800"/>
              <a:t> et. al. (2023)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32EE9BE3-1499-68CC-DE87-95D9EA6DFCAB}"/>
              </a:ext>
            </a:extLst>
          </p:cNvPr>
          <p:cNvSpPr txBox="1"/>
          <p:nvPr/>
        </p:nvSpPr>
        <p:spPr>
          <a:xfrm>
            <a:off x="9308449" y="2452567"/>
            <a:ext cx="2740122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800"/>
              <a:t>Optionen für den Import grünen Wasserstoffs nach Deutschland bis zum Jahr 2030, ESYS</a:t>
            </a:r>
          </a:p>
          <a:p>
            <a:pPr>
              <a:spcAft>
                <a:spcPts val="600"/>
              </a:spcAft>
            </a:pPr>
            <a:r>
              <a:rPr lang="de-DE" sz="800" err="1"/>
              <a:t>Staiß</a:t>
            </a:r>
            <a:r>
              <a:rPr lang="de-DE" sz="800"/>
              <a:t>, F. et al. (2022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800"/>
              <a:t>NH3-Cracker CAPEX </a:t>
            </a:r>
            <a:r>
              <a:rPr lang="de-DE" sz="800" err="1"/>
              <a:t>based</a:t>
            </a:r>
            <a:r>
              <a:rPr lang="de-DE" sz="800"/>
              <a:t> on </a:t>
            </a:r>
            <a:r>
              <a:rPr lang="de-DE" sz="800" err="1"/>
              <a:t>deuterium</a:t>
            </a:r>
            <a:r>
              <a:rPr lang="de-DE" sz="800"/>
              <a:t> </a:t>
            </a:r>
            <a:r>
              <a:rPr lang="de-DE" sz="800" err="1"/>
              <a:t>cracker</a:t>
            </a:r>
            <a:endParaRPr lang="de-DE" sz="8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800"/>
              <a:t>Large </a:t>
            </a:r>
            <a:r>
              <a:rPr lang="de-DE" sz="800" err="1"/>
              <a:t>differences</a:t>
            </a:r>
            <a:r>
              <a:rPr lang="de-DE" sz="800"/>
              <a:t> in H</a:t>
            </a:r>
            <a:r>
              <a:rPr lang="de-DE" sz="800" baseline="-25000"/>
              <a:t>2</a:t>
            </a:r>
            <a:r>
              <a:rPr lang="de-DE" sz="800"/>
              <a:t>-throughput </a:t>
            </a:r>
            <a:r>
              <a:rPr lang="de-DE" sz="800" err="1"/>
              <a:t>between</a:t>
            </a:r>
            <a:r>
              <a:rPr lang="de-DE" sz="800"/>
              <a:t> </a:t>
            </a:r>
            <a:r>
              <a:rPr lang="de-DE" sz="800" err="1"/>
              <a:t>options</a:t>
            </a:r>
            <a:endParaRPr lang="en-US" sz="80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EF8F957-49D0-3C6F-438B-6B6A6A0D8B0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3928" y="2276071"/>
            <a:ext cx="3932042" cy="177166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8" name="Textfeld 27">
            <a:extLst>
              <a:ext uri="{FF2B5EF4-FFF2-40B4-BE49-F238E27FC236}">
                <a16:creationId xmlns:a16="http://schemas.microsoft.com/office/drawing/2014/main" id="{6269731B-346C-5F0D-96FA-87F926B16822}"/>
              </a:ext>
            </a:extLst>
          </p:cNvPr>
          <p:cNvSpPr txBox="1"/>
          <p:nvPr/>
        </p:nvSpPr>
        <p:spPr>
          <a:xfrm>
            <a:off x="6594216" y="5080684"/>
            <a:ext cx="246915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800"/>
              <a:t>Technology Review of H</a:t>
            </a:r>
            <a:r>
              <a:rPr lang="en-US" sz="800" baseline="-25000"/>
              <a:t>2</a:t>
            </a:r>
            <a:r>
              <a:rPr lang="en-US" sz="800"/>
              <a:t> Carriers; IRENA (2022)</a:t>
            </a:r>
          </a:p>
          <a:p>
            <a:pPr marL="171450" indent="-171450" algn="r">
              <a:buFont typeface="Arial" panose="020B0604020202020204" pitchFamily="34" charset="0"/>
              <a:buChar char="•"/>
            </a:pPr>
            <a:r>
              <a:rPr lang="en-US" sz="800"/>
              <a:t>Assumptions for carriers vary heavily</a:t>
            </a:r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id="{4E835AFD-93B9-BBD4-5A84-392C4B39AF98}"/>
              </a:ext>
            </a:extLst>
          </p:cNvPr>
          <p:cNvSpPr txBox="1">
            <a:spLocks/>
          </p:cNvSpPr>
          <p:nvPr/>
        </p:nvSpPr>
        <p:spPr bwMode="gray">
          <a:xfrm>
            <a:off x="785019" y="5746165"/>
            <a:ext cx="10621962" cy="53788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68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317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96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06400" indent="-130175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40400" indent="-134938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>
                <a:solidFill>
                  <a:schemeClr val="bg1"/>
                </a:solidFill>
              </a:rPr>
              <a:t>Cost parity </a:t>
            </a:r>
            <a:r>
              <a:rPr lang="en-US" sz="1400">
                <a:solidFill>
                  <a:schemeClr val="bg1"/>
                </a:solidFill>
              </a:rPr>
              <a:t>of the main hydrogen carriers throughout the study landscape.</a:t>
            </a:r>
          </a:p>
          <a:p>
            <a:pPr algn="ctr"/>
            <a:r>
              <a:rPr lang="en-US" sz="1400">
                <a:solidFill>
                  <a:schemeClr val="bg1"/>
                </a:solidFill>
                <a:sym typeface="Wingdings" panose="05000000000000000000" pitchFamily="2" charset="2"/>
              </a:rPr>
              <a:t> I</a:t>
            </a:r>
            <a:r>
              <a:rPr lang="en-US" sz="1400">
                <a:solidFill>
                  <a:schemeClr val="bg1"/>
                </a:solidFill>
              </a:rPr>
              <a:t>t really comes down to </a:t>
            </a:r>
            <a:r>
              <a:rPr lang="en-US" sz="1400" b="1">
                <a:solidFill>
                  <a:schemeClr val="bg1"/>
                </a:solidFill>
              </a:rPr>
              <a:t>qualitative factors, </a:t>
            </a:r>
            <a:r>
              <a:rPr lang="en-US" sz="1400">
                <a:solidFill>
                  <a:schemeClr val="bg1"/>
                </a:solidFill>
              </a:rPr>
              <a:t>which are usually </a:t>
            </a:r>
            <a:r>
              <a:rPr lang="en-US" sz="1400" b="1">
                <a:solidFill>
                  <a:schemeClr val="bg1"/>
                </a:solidFill>
              </a:rPr>
              <a:t>not included in many analysis!</a:t>
            </a:r>
            <a:endParaRPr lang="en-US" sz="1400">
              <a:solidFill>
                <a:schemeClr val="bg1"/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C2F6BF5D-2A5A-0D3F-CDCB-A1AF38BBFE67}"/>
              </a:ext>
            </a:extLst>
          </p:cNvPr>
          <p:cNvGrpSpPr/>
          <p:nvPr/>
        </p:nvGrpSpPr>
        <p:grpSpPr>
          <a:xfrm>
            <a:off x="576902" y="5541723"/>
            <a:ext cx="462038" cy="465356"/>
            <a:chOff x="2317153" y="1843570"/>
            <a:chExt cx="462038" cy="465356"/>
          </a:xfrm>
        </p:grpSpPr>
        <p:sp>
          <p:nvSpPr>
            <p:cNvPr id="10" name="Oval 464">
              <a:extLst>
                <a:ext uri="{FF2B5EF4-FFF2-40B4-BE49-F238E27FC236}">
                  <a16:creationId xmlns:a16="http://schemas.microsoft.com/office/drawing/2014/main" id="{98DC3FE6-58D9-0B15-94F1-7CDDACAC06BF}"/>
                </a:ext>
              </a:extLst>
            </p:cNvPr>
            <p:cNvSpPr/>
            <p:nvPr/>
          </p:nvSpPr>
          <p:spPr>
            <a:xfrm>
              <a:off x="2317153" y="1843570"/>
              <a:ext cx="462038" cy="465356"/>
            </a:xfrm>
            <a:prstGeom prst="ellipse">
              <a:avLst/>
            </a:prstGeom>
            <a:ln w="190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en-US" sz="1100"/>
            </a:p>
          </p:txBody>
        </p:sp>
        <p:pic>
          <p:nvPicPr>
            <p:cNvPr id="11" name="Grafik 10" descr="Glühlampe mit einfarbiger Füllung">
              <a:extLst>
                <a:ext uri="{FF2B5EF4-FFF2-40B4-BE49-F238E27FC236}">
                  <a16:creationId xmlns:a16="http://schemas.microsoft.com/office/drawing/2014/main" id="{29550270-3AC1-DC92-D0E2-28697C1BCB5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350172" y="1875544"/>
              <a:ext cx="396000" cy="396000"/>
            </a:xfrm>
            <a:prstGeom prst="rect">
              <a:avLst/>
            </a:prstGeom>
          </p:spPr>
        </p:pic>
      </p:grpSp>
      <p:sp>
        <p:nvSpPr>
          <p:cNvPr id="22" name="Foliennummernplatzhalter 21">
            <a:extLst>
              <a:ext uri="{FF2B5EF4-FFF2-40B4-BE49-F238E27FC236}">
                <a16:creationId xmlns:a16="http://schemas.microsoft.com/office/drawing/2014/main" id="{29C6A765-87DF-9863-07A0-DFE113D0C2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7</a:t>
            </a:fld>
            <a:endParaRPr lang="en-GB" noProof="0"/>
          </a:p>
        </p:txBody>
      </p:sp>
      <p:sp>
        <p:nvSpPr>
          <p:cNvPr id="23" name="Fußzeilenplatzhalter 22">
            <a:extLst>
              <a:ext uri="{FF2B5EF4-FFF2-40B4-BE49-F238E27FC236}">
                <a16:creationId xmlns:a16="http://schemas.microsoft.com/office/drawing/2014/main" id="{01F97EA3-27D4-06BE-FF30-0E80A3FF4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24" name="Datumsplatzhalter 23">
            <a:extLst>
              <a:ext uri="{FF2B5EF4-FFF2-40B4-BE49-F238E27FC236}">
                <a16:creationId xmlns:a16="http://schemas.microsoft.com/office/drawing/2014/main" id="{53884390-DD42-5BE6-CD02-9ED28860BE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765313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A0B3B4E7-02EB-A204-1B01-3FB8A2286B1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2. </a:t>
            </a:r>
            <a:r>
              <a:rPr lang="de-DE" dirty="0" err="1"/>
              <a:t>Availabil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2918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7CB53F27-7AB3-C594-83F2-7F716F6860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2" y="763657"/>
            <a:ext cx="8497887" cy="396000"/>
          </a:xfrm>
        </p:spPr>
        <p:txBody>
          <a:bodyPr/>
          <a:lstStyle/>
          <a:p>
            <a:r>
              <a:rPr lang="de-DE"/>
              <a:t>The </a:t>
            </a:r>
            <a:r>
              <a:rPr lang="de-DE" err="1"/>
              <a:t>availability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ransport</a:t>
            </a:r>
            <a:r>
              <a:rPr lang="de-DE"/>
              <a:t> </a:t>
            </a:r>
            <a:r>
              <a:rPr lang="de-DE" err="1"/>
              <a:t>option</a:t>
            </a:r>
            <a:r>
              <a:rPr lang="de-DE"/>
              <a:t> </a:t>
            </a:r>
            <a:r>
              <a:rPr lang="de-DE" err="1"/>
              <a:t>can</a:t>
            </a:r>
            <a:r>
              <a:rPr lang="de-DE"/>
              <a:t> </a:t>
            </a:r>
            <a:r>
              <a:rPr lang="de-DE" err="1"/>
              <a:t>be</a:t>
            </a:r>
            <a:r>
              <a:rPr lang="de-DE"/>
              <a:t> a huge </a:t>
            </a:r>
            <a:r>
              <a:rPr lang="de-DE" err="1"/>
              <a:t>bottleneck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E544419-D65E-039F-C114-E329B6CA57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Availability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B8DD9DA-23B3-E740-31F3-F8B70C4E120A}"/>
              </a:ext>
            </a:extLst>
          </p:cNvPr>
          <p:cNvSpPr/>
          <p:nvPr/>
        </p:nvSpPr>
        <p:spPr>
          <a:xfrm>
            <a:off x="8532404" y="1878820"/>
            <a:ext cx="1609633" cy="118337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B23CB48-F680-35DD-C744-CD9A3A2CFDAC}"/>
              </a:ext>
            </a:extLst>
          </p:cNvPr>
          <p:cNvSpPr/>
          <p:nvPr/>
        </p:nvSpPr>
        <p:spPr>
          <a:xfrm>
            <a:off x="8532402" y="4418801"/>
            <a:ext cx="1609633" cy="117939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78DFF2F-CF4B-7214-CAB0-9C465AD2DA28}"/>
              </a:ext>
            </a:extLst>
          </p:cNvPr>
          <p:cNvSpPr/>
          <p:nvPr/>
        </p:nvSpPr>
        <p:spPr>
          <a:xfrm>
            <a:off x="8532402" y="3136177"/>
            <a:ext cx="1609633" cy="11912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73737AF-F305-940D-E24C-22D679F76CE8}"/>
              </a:ext>
            </a:extLst>
          </p:cNvPr>
          <p:cNvSpPr/>
          <p:nvPr/>
        </p:nvSpPr>
        <p:spPr>
          <a:xfrm>
            <a:off x="1971852" y="1336274"/>
            <a:ext cx="1795905" cy="4826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>
              <a:lnSpc>
                <a:spcPct val="112000"/>
              </a:lnSpc>
            </a:pPr>
            <a:r>
              <a:rPr lang="de-DE" sz="1100"/>
              <a:t>Storage </a:t>
            </a:r>
            <a:r>
              <a:rPr lang="de-DE" sz="1100" err="1"/>
              <a:t>density</a:t>
            </a:r>
            <a:endParaRPr lang="de-DE" sz="110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30B1C6DC-8534-D735-42A6-CCC0C2D05942}"/>
              </a:ext>
            </a:extLst>
          </p:cNvPr>
          <p:cNvSpPr/>
          <p:nvPr/>
        </p:nvSpPr>
        <p:spPr>
          <a:xfrm>
            <a:off x="1971854" y="1875560"/>
            <a:ext cx="1795903" cy="118773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>
              <a:lnSpc>
                <a:spcPct val="112000"/>
              </a:lnSpc>
            </a:pPr>
            <a:r>
              <a:rPr lang="de-DE" sz="1000">
                <a:solidFill>
                  <a:schemeClr val="tx1"/>
                </a:solidFill>
              </a:rPr>
              <a:t>54 kg</a:t>
            </a:r>
            <a:r>
              <a:rPr lang="de-DE" sz="1000" baseline="-25000">
                <a:solidFill>
                  <a:schemeClr val="tx1"/>
                </a:solidFill>
              </a:rPr>
              <a:t>H2</a:t>
            </a:r>
            <a:r>
              <a:rPr lang="de-DE" sz="1000">
                <a:solidFill>
                  <a:schemeClr val="tx1"/>
                </a:solidFill>
              </a:rPr>
              <a:t>/m</a:t>
            </a:r>
            <a:r>
              <a:rPr lang="de-DE" sz="1000" baseline="30000">
                <a:solidFill>
                  <a:schemeClr val="tx1"/>
                </a:solidFill>
              </a:rPr>
              <a:t>3</a:t>
            </a:r>
            <a:r>
              <a:rPr lang="de-DE" sz="1000" baseline="-25000">
                <a:solidFill>
                  <a:schemeClr val="tx1"/>
                </a:solidFill>
              </a:rPr>
              <a:t>LOHC-BT</a:t>
            </a:r>
          </a:p>
          <a:p>
            <a:pPr marL="180975">
              <a:lnSpc>
                <a:spcPct val="112000"/>
              </a:lnSpc>
            </a:pPr>
            <a:r>
              <a:rPr lang="de-DE" sz="1000">
                <a:solidFill>
                  <a:schemeClr val="tx1"/>
                </a:solidFill>
              </a:rPr>
              <a:t>62 kg</a:t>
            </a:r>
            <a:r>
              <a:rPr lang="de-DE" sz="1000" baseline="-25000">
                <a:solidFill>
                  <a:schemeClr val="tx1"/>
                </a:solidFill>
              </a:rPr>
              <a:t>H2</a:t>
            </a:r>
            <a:r>
              <a:rPr lang="de-DE" sz="1000">
                <a:solidFill>
                  <a:schemeClr val="tx1"/>
                </a:solidFill>
              </a:rPr>
              <a:t>/</a:t>
            </a:r>
            <a:r>
              <a:rPr lang="de-DE" sz="1000" err="1">
                <a:solidFill>
                  <a:schemeClr val="tx1"/>
                </a:solidFill>
              </a:rPr>
              <a:t>t</a:t>
            </a:r>
            <a:r>
              <a:rPr lang="de-DE" sz="1000" baseline="-25000" err="1">
                <a:solidFill>
                  <a:schemeClr val="tx1"/>
                </a:solidFill>
              </a:rPr>
              <a:t>LOHC</a:t>
            </a:r>
            <a:r>
              <a:rPr lang="de-DE" sz="1000" baseline="-25000">
                <a:solidFill>
                  <a:schemeClr val="tx1"/>
                </a:solidFill>
              </a:rPr>
              <a:t>-BT</a:t>
            </a:r>
          </a:p>
          <a:p>
            <a:pPr marL="180975">
              <a:lnSpc>
                <a:spcPct val="112000"/>
              </a:lnSpc>
            </a:pPr>
            <a:endParaRPr lang="de-DE" sz="1000" baseline="-25000">
              <a:solidFill>
                <a:schemeClr val="tx1"/>
              </a:solidFill>
            </a:endParaRPr>
          </a:p>
          <a:p>
            <a:pPr marL="180975">
              <a:lnSpc>
                <a:spcPct val="112000"/>
              </a:lnSpc>
            </a:pPr>
            <a:r>
              <a:rPr lang="de-DE" sz="1000">
                <a:solidFill>
                  <a:schemeClr val="tx1"/>
                </a:solidFill>
              </a:rPr>
              <a:t>Storage at</a:t>
            </a:r>
            <a:br>
              <a:rPr lang="de-DE" sz="1000">
                <a:solidFill>
                  <a:schemeClr val="tx1"/>
                </a:solidFill>
              </a:rPr>
            </a:br>
            <a:r>
              <a:rPr lang="de-DE" sz="1000" b="1">
                <a:solidFill>
                  <a:schemeClr val="tx1"/>
                </a:solidFill>
              </a:rPr>
              <a:t>ambient </a:t>
            </a:r>
            <a:r>
              <a:rPr lang="de-DE" sz="1000" b="1" err="1">
                <a:solidFill>
                  <a:schemeClr val="tx1"/>
                </a:solidFill>
              </a:rPr>
              <a:t>conditions</a:t>
            </a:r>
            <a:endParaRPr lang="de-DE" sz="1000" b="1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31460AE9-E521-1498-5DED-5C27446DEE17}"/>
              </a:ext>
            </a:extLst>
          </p:cNvPr>
          <p:cNvSpPr/>
          <p:nvPr/>
        </p:nvSpPr>
        <p:spPr>
          <a:xfrm>
            <a:off x="1451152" y="1875559"/>
            <a:ext cx="450347" cy="118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 err="1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047B2104-F249-A5D7-E5F2-00F2194C51BA}"/>
              </a:ext>
            </a:extLst>
          </p:cNvPr>
          <p:cNvSpPr txBox="1"/>
          <p:nvPr/>
        </p:nvSpPr>
        <p:spPr>
          <a:xfrm rot="16200000">
            <a:off x="1127275" y="2260006"/>
            <a:ext cx="1045554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2000"/>
              </a:lnSpc>
            </a:pPr>
            <a:r>
              <a:rPr lang="de-DE" sz="1100" b="1"/>
              <a:t>LOHC-BT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DFCE61D5-CE06-BB19-9F00-1EF8454FC3F0}"/>
              </a:ext>
            </a:extLst>
          </p:cNvPr>
          <p:cNvSpPr/>
          <p:nvPr/>
        </p:nvSpPr>
        <p:spPr>
          <a:xfrm>
            <a:off x="1971852" y="3141666"/>
            <a:ext cx="1795905" cy="118773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>
              <a:lnSpc>
                <a:spcPct val="112000"/>
              </a:lnSpc>
            </a:pPr>
            <a:r>
              <a:rPr lang="de-DE" sz="1000">
                <a:solidFill>
                  <a:schemeClr val="tx1"/>
                </a:solidFill>
              </a:rPr>
              <a:t>115 kg</a:t>
            </a:r>
            <a:r>
              <a:rPr lang="de-DE" sz="1000" baseline="-25000">
                <a:solidFill>
                  <a:schemeClr val="tx1"/>
                </a:solidFill>
              </a:rPr>
              <a:t>H2</a:t>
            </a:r>
            <a:r>
              <a:rPr lang="de-DE" sz="1000">
                <a:solidFill>
                  <a:schemeClr val="tx1"/>
                </a:solidFill>
              </a:rPr>
              <a:t>/m</a:t>
            </a:r>
            <a:r>
              <a:rPr lang="de-DE" sz="1000" baseline="30000">
                <a:solidFill>
                  <a:schemeClr val="tx1"/>
                </a:solidFill>
              </a:rPr>
              <a:t>3</a:t>
            </a:r>
            <a:r>
              <a:rPr lang="de-DE" sz="1000" baseline="-25000">
                <a:solidFill>
                  <a:schemeClr val="tx1"/>
                </a:solidFill>
              </a:rPr>
              <a:t>NH3</a:t>
            </a:r>
          </a:p>
          <a:p>
            <a:pPr marL="180975">
              <a:lnSpc>
                <a:spcPct val="112000"/>
              </a:lnSpc>
            </a:pPr>
            <a:r>
              <a:rPr lang="de-DE" sz="1000">
                <a:solidFill>
                  <a:schemeClr val="tx1"/>
                </a:solidFill>
              </a:rPr>
              <a:t>170 kg</a:t>
            </a:r>
            <a:r>
              <a:rPr lang="de-DE" sz="1000" baseline="-25000">
                <a:solidFill>
                  <a:schemeClr val="tx1"/>
                </a:solidFill>
              </a:rPr>
              <a:t>H2</a:t>
            </a:r>
            <a:r>
              <a:rPr lang="de-DE" sz="1000">
                <a:solidFill>
                  <a:schemeClr val="tx1"/>
                </a:solidFill>
              </a:rPr>
              <a:t>/t</a:t>
            </a:r>
            <a:r>
              <a:rPr lang="de-DE" sz="1000" baseline="-25000">
                <a:solidFill>
                  <a:schemeClr val="tx1"/>
                </a:solidFill>
              </a:rPr>
              <a:t>NH3</a:t>
            </a:r>
          </a:p>
          <a:p>
            <a:pPr marL="180975">
              <a:lnSpc>
                <a:spcPct val="112000"/>
              </a:lnSpc>
            </a:pPr>
            <a:endParaRPr lang="de-DE" sz="1000" baseline="-25000">
              <a:solidFill>
                <a:schemeClr val="tx1"/>
              </a:solidFill>
            </a:endParaRPr>
          </a:p>
          <a:p>
            <a:pPr marL="180975">
              <a:lnSpc>
                <a:spcPct val="112000"/>
              </a:lnSpc>
            </a:pPr>
            <a:r>
              <a:rPr lang="de-DE" sz="1000">
                <a:solidFill>
                  <a:schemeClr val="tx1"/>
                </a:solidFill>
              </a:rPr>
              <a:t>Storage at -33 °C at</a:t>
            </a:r>
            <a:br>
              <a:rPr lang="de-DE" sz="1000">
                <a:solidFill>
                  <a:schemeClr val="tx1"/>
                </a:solidFill>
              </a:rPr>
            </a:br>
            <a:r>
              <a:rPr lang="de-DE" sz="1000" b="1" err="1">
                <a:solidFill>
                  <a:schemeClr val="tx1"/>
                </a:solidFill>
              </a:rPr>
              <a:t>cryogenic</a:t>
            </a:r>
            <a:r>
              <a:rPr lang="de-DE" sz="1000" b="1">
                <a:solidFill>
                  <a:schemeClr val="tx1"/>
                </a:solidFill>
              </a:rPr>
              <a:t> </a:t>
            </a:r>
            <a:r>
              <a:rPr lang="de-DE" sz="1000" b="1" err="1">
                <a:solidFill>
                  <a:schemeClr val="tx1"/>
                </a:solidFill>
              </a:rPr>
              <a:t>conditions</a:t>
            </a:r>
            <a:endParaRPr lang="de-DE" sz="1000" b="1">
              <a:solidFill>
                <a:schemeClr val="tx1"/>
              </a:solidFill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052A6C5-BFF0-7D94-AA8D-D6524DCAC4C8}"/>
              </a:ext>
            </a:extLst>
          </p:cNvPr>
          <p:cNvSpPr/>
          <p:nvPr/>
        </p:nvSpPr>
        <p:spPr>
          <a:xfrm>
            <a:off x="1971850" y="4418801"/>
            <a:ext cx="1795907" cy="118773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>
              <a:lnSpc>
                <a:spcPct val="112000"/>
              </a:lnSpc>
            </a:pPr>
            <a:r>
              <a:rPr lang="de-DE" sz="1000">
                <a:solidFill>
                  <a:schemeClr val="tx1"/>
                </a:solidFill>
              </a:rPr>
              <a:t>71 kg</a:t>
            </a:r>
            <a:r>
              <a:rPr lang="de-DE" sz="1000" baseline="-25000">
                <a:solidFill>
                  <a:schemeClr val="tx1"/>
                </a:solidFill>
              </a:rPr>
              <a:t>H2</a:t>
            </a:r>
            <a:r>
              <a:rPr lang="de-DE" sz="1000">
                <a:solidFill>
                  <a:schemeClr val="tx1"/>
                </a:solidFill>
              </a:rPr>
              <a:t>/m</a:t>
            </a:r>
            <a:r>
              <a:rPr lang="de-DE" sz="1000" baseline="30000">
                <a:solidFill>
                  <a:schemeClr val="tx1"/>
                </a:solidFill>
              </a:rPr>
              <a:t>3</a:t>
            </a:r>
            <a:r>
              <a:rPr lang="de-DE" sz="1000" baseline="-25000">
                <a:solidFill>
                  <a:schemeClr val="tx1"/>
                </a:solidFill>
              </a:rPr>
              <a:t>NH3</a:t>
            </a:r>
          </a:p>
          <a:p>
            <a:pPr marL="180975">
              <a:lnSpc>
                <a:spcPct val="112000"/>
              </a:lnSpc>
            </a:pPr>
            <a:endParaRPr lang="de-DE" sz="1000" baseline="-25000">
              <a:solidFill>
                <a:schemeClr val="tx1"/>
              </a:solidFill>
            </a:endParaRPr>
          </a:p>
          <a:p>
            <a:pPr marL="180975">
              <a:lnSpc>
                <a:spcPct val="112000"/>
              </a:lnSpc>
            </a:pPr>
            <a:r>
              <a:rPr lang="de-DE" sz="1000">
                <a:solidFill>
                  <a:schemeClr val="tx1"/>
                </a:solidFill>
              </a:rPr>
              <a:t>Storage at -253 °C at</a:t>
            </a:r>
            <a:br>
              <a:rPr lang="de-DE" sz="1000">
                <a:solidFill>
                  <a:schemeClr val="tx1"/>
                </a:solidFill>
              </a:rPr>
            </a:br>
            <a:r>
              <a:rPr lang="de-DE" sz="1000" b="1" err="1">
                <a:solidFill>
                  <a:schemeClr val="tx1"/>
                </a:solidFill>
              </a:rPr>
              <a:t>cryogenic</a:t>
            </a:r>
            <a:r>
              <a:rPr lang="de-DE" sz="1000" b="1">
                <a:solidFill>
                  <a:schemeClr val="tx1"/>
                </a:solidFill>
              </a:rPr>
              <a:t> </a:t>
            </a:r>
            <a:r>
              <a:rPr lang="de-DE" sz="1000" b="1" err="1">
                <a:solidFill>
                  <a:schemeClr val="tx1"/>
                </a:solidFill>
              </a:rPr>
              <a:t>conditions</a:t>
            </a:r>
            <a:endParaRPr lang="de-DE" sz="1000" b="1">
              <a:solidFill>
                <a:schemeClr val="tx1"/>
              </a:solidFill>
            </a:endParaRPr>
          </a:p>
          <a:p>
            <a:pPr>
              <a:lnSpc>
                <a:spcPct val="112000"/>
              </a:lnSpc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54157A5-C42F-B927-6944-F9540F7846AC}"/>
              </a:ext>
            </a:extLst>
          </p:cNvPr>
          <p:cNvSpPr/>
          <p:nvPr/>
        </p:nvSpPr>
        <p:spPr>
          <a:xfrm>
            <a:off x="8537267" y="1339535"/>
            <a:ext cx="1609635" cy="4826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8000">
              <a:lnSpc>
                <a:spcPct val="112000"/>
              </a:lnSpc>
            </a:pPr>
            <a:r>
              <a:rPr lang="de-DE" sz="1100" err="1"/>
              <a:t>Existing</a:t>
            </a:r>
            <a:r>
              <a:rPr lang="de-DE" sz="1100"/>
              <a:t> global </a:t>
            </a:r>
            <a:r>
              <a:rPr lang="de-DE" sz="1100" err="1"/>
              <a:t>fleet</a:t>
            </a:r>
            <a:endParaRPr lang="de-DE" sz="110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A304E91-17A2-B997-3BFA-F149906E9245}"/>
              </a:ext>
            </a:extLst>
          </p:cNvPr>
          <p:cNvSpPr/>
          <p:nvPr/>
        </p:nvSpPr>
        <p:spPr>
          <a:xfrm>
            <a:off x="1451150" y="3141406"/>
            <a:ext cx="450347" cy="118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 err="1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7BB7157B-2C3D-1E7E-6E50-067D1848CF5D}"/>
              </a:ext>
            </a:extLst>
          </p:cNvPr>
          <p:cNvSpPr txBox="1"/>
          <p:nvPr/>
        </p:nvSpPr>
        <p:spPr>
          <a:xfrm rot="16200000">
            <a:off x="1127273" y="3454841"/>
            <a:ext cx="1045554" cy="4087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2000"/>
              </a:lnSpc>
            </a:pPr>
            <a:r>
              <a:rPr lang="de-DE" sz="1100" b="1" err="1"/>
              <a:t>Ammonia</a:t>
            </a:r>
            <a:br>
              <a:rPr lang="de-DE" sz="1100" b="1"/>
            </a:br>
            <a:r>
              <a:rPr lang="de-DE" sz="800"/>
              <a:t>(incl. </a:t>
            </a:r>
            <a:r>
              <a:rPr lang="de-DE" sz="800" err="1"/>
              <a:t>Cracking</a:t>
            </a:r>
            <a:r>
              <a:rPr lang="de-DE" sz="800"/>
              <a:t>)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ACC67023-5AAE-8B72-DAB8-DE2CA8F18800}"/>
              </a:ext>
            </a:extLst>
          </p:cNvPr>
          <p:cNvSpPr/>
          <p:nvPr/>
        </p:nvSpPr>
        <p:spPr>
          <a:xfrm>
            <a:off x="1451149" y="4424227"/>
            <a:ext cx="450347" cy="118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 baseline="-25000" err="1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3C9B8FDE-5DAA-3A3D-1A9E-A716982DDC9C}"/>
              </a:ext>
            </a:extLst>
          </p:cNvPr>
          <p:cNvSpPr txBox="1"/>
          <p:nvPr/>
        </p:nvSpPr>
        <p:spPr>
          <a:xfrm rot="16200000">
            <a:off x="1127272" y="4808674"/>
            <a:ext cx="1045554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2000"/>
              </a:lnSpc>
            </a:pPr>
            <a:r>
              <a:rPr lang="de-DE" sz="1100" b="1" err="1"/>
              <a:t>Liquified</a:t>
            </a:r>
            <a:r>
              <a:rPr lang="de-DE" sz="1100" b="1"/>
              <a:t> H</a:t>
            </a:r>
            <a:r>
              <a:rPr lang="de-DE" sz="1100" b="1" baseline="-25000"/>
              <a:t>2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13656FC1-7AB3-3F2D-4C13-8679C4BE4BF4}"/>
              </a:ext>
            </a:extLst>
          </p:cNvPr>
          <p:cNvSpPr/>
          <p:nvPr/>
        </p:nvSpPr>
        <p:spPr>
          <a:xfrm>
            <a:off x="3829362" y="1324925"/>
            <a:ext cx="4637136" cy="4826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>
              <a:lnSpc>
                <a:spcPct val="112000"/>
              </a:lnSpc>
            </a:pPr>
            <a:r>
              <a:rPr lang="de-DE" sz="1100"/>
              <a:t>Potential </a:t>
            </a:r>
            <a:r>
              <a:rPr lang="de-DE" sz="1100" err="1"/>
              <a:t>vessel</a:t>
            </a:r>
            <a:r>
              <a:rPr lang="de-DE" sz="1100"/>
              <a:t> </a:t>
            </a:r>
            <a:r>
              <a:rPr lang="de-DE" sz="1100" err="1"/>
              <a:t>transport</a:t>
            </a:r>
            <a:r>
              <a:rPr lang="de-DE" sz="1100"/>
              <a:t> &amp; hydrogen </a:t>
            </a:r>
            <a:r>
              <a:rPr lang="de-DE" sz="1100" err="1"/>
              <a:t>transport</a:t>
            </a:r>
            <a:r>
              <a:rPr lang="de-DE" sz="1100"/>
              <a:t> </a:t>
            </a:r>
            <a:r>
              <a:rPr lang="de-DE" sz="1100" err="1"/>
              <a:t>volumes</a:t>
            </a:r>
            <a:endParaRPr lang="de-DE" sz="110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9A12C74-7127-E357-09C3-6A19E43DE730}"/>
              </a:ext>
            </a:extLst>
          </p:cNvPr>
          <p:cNvSpPr/>
          <p:nvPr/>
        </p:nvSpPr>
        <p:spPr>
          <a:xfrm>
            <a:off x="5506580" y="1861525"/>
            <a:ext cx="2959920" cy="118337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>
              <a:lnSpc>
                <a:spcPct val="112000"/>
              </a:lnSpc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8" name="Textplatzhalter 8">
            <a:extLst>
              <a:ext uri="{FF2B5EF4-FFF2-40B4-BE49-F238E27FC236}">
                <a16:creationId xmlns:a16="http://schemas.microsoft.com/office/drawing/2014/main" id="{E61A988C-7061-C31E-B2AF-AD395CFD4D24}"/>
              </a:ext>
            </a:extLst>
          </p:cNvPr>
          <p:cNvSpPr txBox="1">
            <a:spLocks/>
          </p:cNvSpPr>
          <p:nvPr/>
        </p:nvSpPr>
        <p:spPr>
          <a:xfrm>
            <a:off x="5612982" y="1968191"/>
            <a:ext cx="2874960" cy="67049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6800" indent="-136525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31763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9600" indent="-136525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06400" indent="-130175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40400" indent="-134938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000" u="sng"/>
              <a:t>Potential </a:t>
            </a:r>
            <a:r>
              <a:rPr lang="de-DE" sz="1000" u="sng" err="1"/>
              <a:t>transport</a:t>
            </a:r>
            <a:r>
              <a:rPr lang="de-DE" sz="1000" u="sng"/>
              <a:t> in Very Large </a:t>
            </a:r>
            <a:r>
              <a:rPr lang="de-DE" sz="1000" u="sng" err="1"/>
              <a:t>Crude</a:t>
            </a:r>
            <a:r>
              <a:rPr lang="de-DE" sz="1000" u="sng"/>
              <a:t> Carriers</a:t>
            </a:r>
            <a:br>
              <a:rPr lang="de-DE" sz="1000"/>
            </a:br>
            <a:endParaRPr lang="de-DE" sz="1000"/>
          </a:p>
          <a:p>
            <a:pPr lvl="2"/>
            <a:r>
              <a:rPr lang="de-DE" sz="1000"/>
              <a:t>VLCC (280,000 DWT) </a:t>
            </a:r>
            <a:r>
              <a:rPr lang="de-DE" sz="1000" err="1"/>
              <a:t>can</a:t>
            </a:r>
            <a:r>
              <a:rPr lang="de-DE" sz="1000"/>
              <a:t> carry </a:t>
            </a:r>
            <a:r>
              <a:rPr lang="de-DE" sz="1000" b="1"/>
              <a:t>17,000 </a:t>
            </a:r>
            <a:r>
              <a:rPr lang="de-DE" sz="1000" b="1" err="1"/>
              <a:t>tonnes</a:t>
            </a:r>
            <a:r>
              <a:rPr lang="de-DE" sz="1000" b="1"/>
              <a:t> </a:t>
            </a:r>
            <a:r>
              <a:rPr lang="de-DE" sz="1000" b="1" err="1"/>
              <a:t>of</a:t>
            </a:r>
            <a:r>
              <a:rPr lang="de-DE" sz="1000" b="1"/>
              <a:t> hydrogen</a:t>
            </a:r>
          </a:p>
          <a:p>
            <a:pPr lvl="2"/>
            <a:r>
              <a:rPr lang="de-DE" sz="1000"/>
              <a:t>Upgrade </a:t>
            </a:r>
            <a:r>
              <a:rPr lang="de-DE" sz="1000" err="1"/>
              <a:t>to</a:t>
            </a:r>
            <a:r>
              <a:rPr lang="de-DE" sz="1000"/>
              <a:t> 450,000 DWT* possible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984E5373-FFC1-9280-1BB0-12D28E0F4B0D}"/>
              </a:ext>
            </a:extLst>
          </p:cNvPr>
          <p:cNvSpPr/>
          <p:nvPr/>
        </p:nvSpPr>
        <p:spPr>
          <a:xfrm>
            <a:off x="5501638" y="3118883"/>
            <a:ext cx="2964860" cy="11912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>
              <a:lnSpc>
                <a:spcPct val="112000"/>
              </a:lnSpc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D1EDFE42-48BD-8AC7-4F47-FB989EBAD491}"/>
              </a:ext>
            </a:extLst>
          </p:cNvPr>
          <p:cNvSpPr txBox="1">
            <a:spLocks/>
          </p:cNvSpPr>
          <p:nvPr/>
        </p:nvSpPr>
        <p:spPr>
          <a:xfrm>
            <a:off x="5612982" y="3205491"/>
            <a:ext cx="2672945" cy="67049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6800" indent="-136525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31763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9600" indent="-136525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06400" indent="-130175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40400" indent="-134938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000" u="sng"/>
              <a:t>Transport in LPG </a:t>
            </a:r>
            <a:r>
              <a:rPr lang="de-DE" sz="1000" u="sng" err="1"/>
              <a:t>vessels</a:t>
            </a:r>
            <a:br>
              <a:rPr lang="de-DE" sz="1000" u="sng"/>
            </a:br>
            <a:endParaRPr lang="de-DE" sz="1000" u="sng"/>
          </a:p>
          <a:p>
            <a:pPr lvl="2"/>
            <a:r>
              <a:rPr lang="de-DE" sz="1000"/>
              <a:t>80k m</a:t>
            </a:r>
            <a:r>
              <a:rPr lang="de-DE" sz="1000" baseline="30000"/>
              <a:t>3</a:t>
            </a:r>
            <a:r>
              <a:rPr lang="de-DE" sz="1000"/>
              <a:t> LPG </a:t>
            </a:r>
            <a:r>
              <a:rPr lang="de-DE" sz="1000" err="1"/>
              <a:t>vessel</a:t>
            </a:r>
            <a:r>
              <a:rPr lang="de-DE" sz="1000"/>
              <a:t> </a:t>
            </a:r>
            <a:r>
              <a:rPr lang="de-DE" sz="1000" err="1"/>
              <a:t>can</a:t>
            </a:r>
            <a:r>
              <a:rPr lang="de-DE" sz="1000"/>
              <a:t> carry </a:t>
            </a:r>
            <a:r>
              <a:rPr lang="de-DE" sz="1000" b="1"/>
              <a:t>9,800 </a:t>
            </a:r>
            <a:r>
              <a:rPr lang="de-DE" sz="1000" b="1" err="1"/>
              <a:t>tonnes</a:t>
            </a:r>
            <a:r>
              <a:rPr lang="de-DE" sz="1000" b="1"/>
              <a:t> </a:t>
            </a:r>
            <a:r>
              <a:rPr lang="de-DE" sz="1000" b="1" err="1"/>
              <a:t>of</a:t>
            </a:r>
            <a:r>
              <a:rPr lang="de-DE" sz="1000" b="1"/>
              <a:t> hydrogen</a:t>
            </a:r>
          </a:p>
          <a:p>
            <a:pPr lvl="2"/>
            <a:r>
              <a:rPr lang="de-DE" sz="1000" err="1"/>
              <a:t>If</a:t>
            </a:r>
            <a:r>
              <a:rPr lang="de-DE" sz="1000"/>
              <a:t> LNG-</a:t>
            </a:r>
            <a:r>
              <a:rPr lang="de-DE" sz="1000" err="1"/>
              <a:t>ships</a:t>
            </a:r>
            <a:r>
              <a:rPr lang="de-DE" sz="1000"/>
              <a:t> </a:t>
            </a:r>
            <a:r>
              <a:rPr lang="de-DE" sz="1000" err="1"/>
              <a:t>can</a:t>
            </a:r>
            <a:r>
              <a:rPr lang="de-DE" sz="1000"/>
              <a:t> </a:t>
            </a:r>
            <a:r>
              <a:rPr lang="de-DE" sz="1000" err="1"/>
              <a:t>be</a:t>
            </a:r>
            <a:r>
              <a:rPr lang="de-DE" sz="1000"/>
              <a:t> </a:t>
            </a:r>
            <a:r>
              <a:rPr lang="de-DE" sz="1000" err="1"/>
              <a:t>repurposed</a:t>
            </a:r>
            <a:r>
              <a:rPr lang="de-DE" sz="1000"/>
              <a:t> +200</a:t>
            </a:r>
          </a:p>
          <a:p>
            <a:pPr lvl="2"/>
            <a:endParaRPr lang="de-DE" sz="1000"/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C63E1642-26F1-7E3E-384A-7D2E4219AA0F}"/>
              </a:ext>
            </a:extLst>
          </p:cNvPr>
          <p:cNvSpPr/>
          <p:nvPr/>
        </p:nvSpPr>
        <p:spPr>
          <a:xfrm>
            <a:off x="5501638" y="4397519"/>
            <a:ext cx="2964860" cy="118337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>
              <a:lnSpc>
                <a:spcPct val="112000"/>
              </a:lnSpc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32" name="Textplatzhalter 8">
            <a:extLst>
              <a:ext uri="{FF2B5EF4-FFF2-40B4-BE49-F238E27FC236}">
                <a16:creationId xmlns:a16="http://schemas.microsoft.com/office/drawing/2014/main" id="{4E34BE69-73F7-E6C4-E8FE-5D68D8EF8EAE}"/>
              </a:ext>
            </a:extLst>
          </p:cNvPr>
          <p:cNvSpPr txBox="1">
            <a:spLocks/>
          </p:cNvSpPr>
          <p:nvPr/>
        </p:nvSpPr>
        <p:spPr>
          <a:xfrm>
            <a:off x="5612982" y="4449052"/>
            <a:ext cx="2581505" cy="79521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6800" indent="-136525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31763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9600" indent="-136525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06400" indent="-130175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40400" indent="-134938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AU" sz="1000" u="sng"/>
              <a:t>Transport in LH</a:t>
            </a:r>
            <a:r>
              <a:rPr lang="en-AU" sz="1000" baseline="-25000"/>
              <a:t>2</a:t>
            </a:r>
            <a:r>
              <a:rPr lang="en-AU" sz="1000" u="sng"/>
              <a:t> vessels</a:t>
            </a:r>
          </a:p>
          <a:p>
            <a:pPr lvl="1"/>
            <a:endParaRPr lang="en-AU" sz="1000" u="sng"/>
          </a:p>
          <a:p>
            <a:pPr lvl="2"/>
            <a:r>
              <a:rPr lang="en-AU" sz="1000"/>
              <a:t>The only existing LH</a:t>
            </a:r>
            <a:r>
              <a:rPr lang="en-AU" sz="1000" baseline="-25000"/>
              <a:t>2</a:t>
            </a:r>
            <a:r>
              <a:rPr lang="en-AU" sz="1000"/>
              <a:t> vessel ‘</a:t>
            </a:r>
            <a:r>
              <a:rPr lang="en-AU" sz="1000" err="1"/>
              <a:t>Suiso</a:t>
            </a:r>
            <a:r>
              <a:rPr lang="en-AU" sz="1000"/>
              <a:t> Frontier’ from Kawasaki can potentially carry </a:t>
            </a:r>
            <a:r>
              <a:rPr lang="en-AU" sz="1000" b="1"/>
              <a:t>9,000 tonnes of hydrogen</a:t>
            </a:r>
          </a:p>
          <a:p>
            <a:pPr lvl="2"/>
            <a:r>
              <a:rPr lang="en-AU" sz="1000"/>
              <a:t>But </a:t>
            </a:r>
            <a:r>
              <a:rPr lang="en-AU" sz="1000" b="1"/>
              <a:t>currently carries </a:t>
            </a:r>
            <a:r>
              <a:rPr lang="en-AU" sz="1000"/>
              <a:t>only </a:t>
            </a:r>
            <a:r>
              <a:rPr lang="en-AU" sz="1000" b="1"/>
              <a:t>75 tons</a:t>
            </a:r>
            <a:endParaRPr lang="en-AU" sz="1000"/>
          </a:p>
        </p:txBody>
      </p:sp>
      <p:pic>
        <p:nvPicPr>
          <p:cNvPr id="33" name="Grafik 32" descr="Ein Bild, das Wasser, Transport, draußen, Wasserfahrzeug enthält.&#10;&#10;Automatisch generierte Beschreibung">
            <a:extLst>
              <a:ext uri="{FF2B5EF4-FFF2-40B4-BE49-F238E27FC236}">
                <a16:creationId xmlns:a16="http://schemas.microsoft.com/office/drawing/2014/main" id="{4276AEF0-CF1F-C0AA-FDB4-2E6337D3BB6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14"/>
          <a:stretch/>
        </p:blipFill>
        <p:spPr>
          <a:xfrm>
            <a:off x="3829360" y="1861525"/>
            <a:ext cx="1609633" cy="1187739"/>
          </a:xfrm>
          <a:prstGeom prst="rect">
            <a:avLst/>
          </a:prstGeom>
        </p:spPr>
      </p:pic>
      <p:pic>
        <p:nvPicPr>
          <p:cNvPr id="34" name="Grafik 33" descr="Ein Bild, das Transport, draußen, Schiff, Wasserfahrzeug enthält.&#10;&#10;Automatisch generierte Beschreibung">
            <a:extLst>
              <a:ext uri="{FF2B5EF4-FFF2-40B4-BE49-F238E27FC236}">
                <a16:creationId xmlns:a16="http://schemas.microsoft.com/office/drawing/2014/main" id="{DB327F6F-9F49-BEF4-C0A7-B35B201EC00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19" r="18463"/>
          <a:stretch/>
        </p:blipFill>
        <p:spPr>
          <a:xfrm>
            <a:off x="3823540" y="3122380"/>
            <a:ext cx="1609633" cy="1187739"/>
          </a:xfrm>
          <a:prstGeom prst="rect">
            <a:avLst/>
          </a:prstGeom>
        </p:spPr>
      </p:pic>
      <p:pic>
        <p:nvPicPr>
          <p:cNvPr id="35" name="Grafik 34" descr="Ein Bild, das draußen, Transport, Himmel, Boot enthält.&#10;&#10;Automatisch generierte Beschreibung">
            <a:extLst>
              <a:ext uri="{FF2B5EF4-FFF2-40B4-BE49-F238E27FC236}">
                <a16:creationId xmlns:a16="http://schemas.microsoft.com/office/drawing/2014/main" id="{385EAB40-5E45-47BB-7374-B23E9500B43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62" r="5073"/>
          <a:stretch/>
        </p:blipFill>
        <p:spPr>
          <a:xfrm>
            <a:off x="3832124" y="4401505"/>
            <a:ext cx="1601049" cy="1187738"/>
          </a:xfrm>
          <a:prstGeom prst="rect">
            <a:avLst/>
          </a:prstGeom>
        </p:spPr>
      </p:pic>
      <p:sp>
        <p:nvSpPr>
          <p:cNvPr id="36" name="Textplatzhalter 8">
            <a:extLst>
              <a:ext uri="{FF2B5EF4-FFF2-40B4-BE49-F238E27FC236}">
                <a16:creationId xmlns:a16="http://schemas.microsoft.com/office/drawing/2014/main" id="{9D5542C8-57BD-9463-8ECE-E1E0B12BFB0C}"/>
              </a:ext>
            </a:extLst>
          </p:cNvPr>
          <p:cNvSpPr txBox="1">
            <a:spLocks/>
          </p:cNvSpPr>
          <p:nvPr/>
        </p:nvSpPr>
        <p:spPr>
          <a:xfrm>
            <a:off x="8532404" y="2732380"/>
            <a:ext cx="1609631" cy="23209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6800" indent="-136525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31763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9600" indent="-136525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06400" indent="-130175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40400" indent="-134938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sz="1000"/>
              <a:t>~ 800 </a:t>
            </a:r>
            <a:r>
              <a:rPr lang="de-DE" sz="1000" err="1"/>
              <a:t>vessels</a:t>
            </a:r>
            <a:endParaRPr lang="de-DE" sz="1000"/>
          </a:p>
        </p:txBody>
      </p:sp>
      <p:sp>
        <p:nvSpPr>
          <p:cNvPr id="37" name="Textplatzhalter 8">
            <a:extLst>
              <a:ext uri="{FF2B5EF4-FFF2-40B4-BE49-F238E27FC236}">
                <a16:creationId xmlns:a16="http://schemas.microsoft.com/office/drawing/2014/main" id="{FF8297EB-F22A-D567-6191-E485BD7C87F0}"/>
              </a:ext>
            </a:extLst>
          </p:cNvPr>
          <p:cNvSpPr txBox="1">
            <a:spLocks/>
          </p:cNvSpPr>
          <p:nvPr/>
        </p:nvSpPr>
        <p:spPr>
          <a:xfrm>
            <a:off x="8694661" y="3966879"/>
            <a:ext cx="1348344" cy="36053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6800" indent="-136525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31763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9600" indent="-136525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06400" indent="-130175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40400" indent="-134938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sz="1000"/>
              <a:t>~ 50 </a:t>
            </a:r>
            <a:r>
              <a:rPr lang="de-DE" sz="1000" err="1"/>
              <a:t>vessels</a:t>
            </a:r>
            <a:endParaRPr lang="de-DE" sz="1000"/>
          </a:p>
        </p:txBody>
      </p:sp>
      <p:pic>
        <p:nvPicPr>
          <p:cNvPr id="76" name="Grafik 102">
            <a:extLst>
              <a:ext uri="{FF2B5EF4-FFF2-40B4-BE49-F238E27FC236}">
                <a16:creationId xmlns:a16="http://schemas.microsoft.com/office/drawing/2014/main" id="{2694E6EB-BEB9-BEB0-EBE7-C10D6C7F177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1520372" y="4924946"/>
            <a:ext cx="399086" cy="230437"/>
          </a:xfrm>
          <a:prstGeom prst="rect">
            <a:avLst/>
          </a:prstGeom>
        </p:spPr>
      </p:pic>
      <p:sp>
        <p:nvSpPr>
          <p:cNvPr id="77" name="Textplatzhalter 8">
            <a:extLst>
              <a:ext uri="{FF2B5EF4-FFF2-40B4-BE49-F238E27FC236}">
                <a16:creationId xmlns:a16="http://schemas.microsoft.com/office/drawing/2014/main" id="{92983816-C33F-C988-9C0F-F074C172D2E9}"/>
              </a:ext>
            </a:extLst>
          </p:cNvPr>
          <p:cNvSpPr txBox="1">
            <a:spLocks/>
          </p:cNvSpPr>
          <p:nvPr/>
        </p:nvSpPr>
        <p:spPr>
          <a:xfrm>
            <a:off x="8532401" y="5237658"/>
            <a:ext cx="1595165" cy="36053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6800" indent="-136525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31763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9600" indent="-136525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06400" indent="-130175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40400" indent="-134938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sz="1000"/>
              <a:t>1 </a:t>
            </a:r>
            <a:r>
              <a:rPr lang="de-DE" sz="1000" err="1"/>
              <a:t>vessel</a:t>
            </a:r>
            <a:endParaRPr lang="de-DE" sz="1000"/>
          </a:p>
        </p:txBody>
      </p:sp>
      <p:sp>
        <p:nvSpPr>
          <p:cNvPr id="78" name="Oval 99">
            <a:extLst>
              <a:ext uri="{FF2B5EF4-FFF2-40B4-BE49-F238E27FC236}">
                <a16:creationId xmlns:a16="http://schemas.microsoft.com/office/drawing/2014/main" id="{10965EDF-C51B-E459-A0AD-B3A04F1EA5BC}"/>
              </a:ext>
            </a:extLst>
          </p:cNvPr>
          <p:cNvSpPr/>
          <p:nvPr/>
        </p:nvSpPr>
        <p:spPr>
          <a:xfrm>
            <a:off x="9337218" y="4931780"/>
            <a:ext cx="45719" cy="4571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en-US" sz="1100" err="1"/>
          </a:p>
        </p:txBody>
      </p:sp>
      <p:sp>
        <p:nvSpPr>
          <p:cNvPr id="79" name="Textplatzhalter 8">
            <a:extLst>
              <a:ext uri="{FF2B5EF4-FFF2-40B4-BE49-F238E27FC236}">
                <a16:creationId xmlns:a16="http://schemas.microsoft.com/office/drawing/2014/main" id="{7D6A48C0-7982-85F0-5152-BAE09CEC35BA}"/>
              </a:ext>
            </a:extLst>
          </p:cNvPr>
          <p:cNvSpPr txBox="1">
            <a:spLocks/>
          </p:cNvSpPr>
          <p:nvPr/>
        </p:nvSpPr>
        <p:spPr>
          <a:xfrm>
            <a:off x="10173850" y="5278497"/>
            <a:ext cx="1900760" cy="24104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6800" indent="-136525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31763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9600" indent="-136525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06400" indent="-130175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40400" indent="-134938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/>
            <a:r>
              <a:rPr lang="de-DE" sz="1000"/>
              <a:t>*DWT = Deadweight </a:t>
            </a:r>
            <a:r>
              <a:rPr lang="de-DE" sz="1000" err="1"/>
              <a:t>tonnage</a:t>
            </a:r>
            <a:endParaRPr lang="de-DE" sz="1000"/>
          </a:p>
        </p:txBody>
      </p:sp>
      <p:pic>
        <p:nvPicPr>
          <p:cNvPr id="83" name="Grafik 82" descr="Eier im Korb Silhouette">
            <a:extLst>
              <a:ext uri="{FF2B5EF4-FFF2-40B4-BE49-F238E27FC236}">
                <a16:creationId xmlns:a16="http://schemas.microsoft.com/office/drawing/2014/main" id="{BF0D8373-7959-8C4A-4801-3350907F007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45216" y="1971491"/>
            <a:ext cx="316101" cy="316101"/>
          </a:xfrm>
          <a:prstGeom prst="rect">
            <a:avLst/>
          </a:prstGeom>
        </p:spPr>
      </p:pic>
      <p:pic>
        <p:nvPicPr>
          <p:cNvPr id="84" name="Grafik 83" descr="Eier im Korb Silhouette">
            <a:extLst>
              <a:ext uri="{FF2B5EF4-FFF2-40B4-BE49-F238E27FC236}">
                <a16:creationId xmlns:a16="http://schemas.microsoft.com/office/drawing/2014/main" id="{E7182C41-2141-350A-D753-94E24A2CAD8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005779" y="1971491"/>
            <a:ext cx="316101" cy="316101"/>
          </a:xfrm>
          <a:prstGeom prst="rect">
            <a:avLst/>
          </a:prstGeom>
        </p:spPr>
      </p:pic>
      <p:pic>
        <p:nvPicPr>
          <p:cNvPr id="85" name="Grafik 84" descr="Eier im Korb Silhouette">
            <a:extLst>
              <a:ext uri="{FF2B5EF4-FFF2-40B4-BE49-F238E27FC236}">
                <a16:creationId xmlns:a16="http://schemas.microsoft.com/office/drawing/2014/main" id="{9F8D1774-BBED-A23B-78D6-E6595141990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66342" y="1971491"/>
            <a:ext cx="316101" cy="316101"/>
          </a:xfrm>
          <a:prstGeom prst="rect">
            <a:avLst/>
          </a:prstGeom>
        </p:spPr>
      </p:pic>
      <p:pic>
        <p:nvPicPr>
          <p:cNvPr id="86" name="Grafik 85" descr="Eier im Korb Silhouette">
            <a:extLst>
              <a:ext uri="{FF2B5EF4-FFF2-40B4-BE49-F238E27FC236}">
                <a16:creationId xmlns:a16="http://schemas.microsoft.com/office/drawing/2014/main" id="{ABB3FA28-F8CC-C832-84D5-AE657E9E184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726904" y="1971491"/>
            <a:ext cx="316101" cy="316101"/>
          </a:xfrm>
          <a:prstGeom prst="rect">
            <a:avLst/>
          </a:prstGeom>
        </p:spPr>
      </p:pic>
      <p:pic>
        <p:nvPicPr>
          <p:cNvPr id="90" name="Grafik 89" descr="Eier im Korb Silhouette">
            <a:extLst>
              <a:ext uri="{FF2B5EF4-FFF2-40B4-BE49-F238E27FC236}">
                <a16:creationId xmlns:a16="http://schemas.microsoft.com/office/drawing/2014/main" id="{395E852C-1860-8FC6-8526-FA6FE15F02B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45216" y="2358737"/>
            <a:ext cx="316101" cy="316101"/>
          </a:xfrm>
          <a:prstGeom prst="rect">
            <a:avLst/>
          </a:prstGeom>
        </p:spPr>
      </p:pic>
      <p:pic>
        <p:nvPicPr>
          <p:cNvPr id="91" name="Grafik 90" descr="Eier im Korb Silhouette">
            <a:extLst>
              <a:ext uri="{FF2B5EF4-FFF2-40B4-BE49-F238E27FC236}">
                <a16:creationId xmlns:a16="http://schemas.microsoft.com/office/drawing/2014/main" id="{DF2B0A07-A647-E0AA-092C-369299BF276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005779" y="2358737"/>
            <a:ext cx="316101" cy="316101"/>
          </a:xfrm>
          <a:prstGeom prst="rect">
            <a:avLst/>
          </a:prstGeom>
        </p:spPr>
      </p:pic>
      <p:pic>
        <p:nvPicPr>
          <p:cNvPr id="92" name="Grafik 91" descr="Eier im Korb Silhouette">
            <a:extLst>
              <a:ext uri="{FF2B5EF4-FFF2-40B4-BE49-F238E27FC236}">
                <a16:creationId xmlns:a16="http://schemas.microsoft.com/office/drawing/2014/main" id="{4339ADF3-4709-1C3A-1B23-E0BA398D993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66342" y="2358737"/>
            <a:ext cx="316101" cy="316101"/>
          </a:xfrm>
          <a:prstGeom prst="rect">
            <a:avLst/>
          </a:prstGeom>
        </p:spPr>
      </p:pic>
      <p:pic>
        <p:nvPicPr>
          <p:cNvPr id="93" name="Grafik 92" descr="Eier im Korb Silhouette">
            <a:extLst>
              <a:ext uri="{FF2B5EF4-FFF2-40B4-BE49-F238E27FC236}">
                <a16:creationId xmlns:a16="http://schemas.microsoft.com/office/drawing/2014/main" id="{5907B7C4-9E57-1275-942B-7D096CBEEFD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726904" y="2358737"/>
            <a:ext cx="316101" cy="316101"/>
          </a:xfrm>
          <a:prstGeom prst="rect">
            <a:avLst/>
          </a:prstGeom>
        </p:spPr>
      </p:pic>
      <p:pic>
        <p:nvPicPr>
          <p:cNvPr id="94" name="Grafik 93" descr="Eier im Korb Silhouette">
            <a:extLst>
              <a:ext uri="{FF2B5EF4-FFF2-40B4-BE49-F238E27FC236}">
                <a16:creationId xmlns:a16="http://schemas.microsoft.com/office/drawing/2014/main" id="{0AF2EC88-93D7-4918-FF97-36A223529E5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209993" y="3529833"/>
            <a:ext cx="316101" cy="316101"/>
          </a:xfrm>
          <a:prstGeom prst="rect">
            <a:avLst/>
          </a:prstGeom>
        </p:spPr>
      </p:pic>
      <p:sp>
        <p:nvSpPr>
          <p:cNvPr id="96" name="Rechteck 95">
            <a:extLst>
              <a:ext uri="{FF2B5EF4-FFF2-40B4-BE49-F238E27FC236}">
                <a16:creationId xmlns:a16="http://schemas.microsoft.com/office/drawing/2014/main" id="{E06C39C7-B85A-3E2D-D55E-C629E96252E1}"/>
              </a:ext>
            </a:extLst>
          </p:cNvPr>
          <p:cNvSpPr/>
          <p:nvPr/>
        </p:nvSpPr>
        <p:spPr>
          <a:xfrm>
            <a:off x="9366342" y="3392365"/>
            <a:ext cx="476866" cy="50659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2000"/>
              </a:lnSpc>
            </a:pPr>
            <a:endParaRPr lang="de-DE" sz="1100">
              <a:solidFill>
                <a:schemeClr val="tx1"/>
              </a:solidFill>
            </a:endParaRPr>
          </a:p>
        </p:txBody>
      </p:sp>
      <p:pic>
        <p:nvPicPr>
          <p:cNvPr id="97" name="Grafik 96" descr="Eier im Korb Silhouette">
            <a:extLst>
              <a:ext uri="{FF2B5EF4-FFF2-40B4-BE49-F238E27FC236}">
                <a16:creationId xmlns:a16="http://schemas.microsoft.com/office/drawing/2014/main" id="{0353CEC9-B6E6-8941-0AAA-58825C5ED3E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325588" y="4880332"/>
            <a:ext cx="316101" cy="316101"/>
          </a:xfrm>
          <a:prstGeom prst="rect">
            <a:avLst/>
          </a:prstGeom>
        </p:spPr>
      </p:pic>
      <p:sp>
        <p:nvSpPr>
          <p:cNvPr id="101" name="Textfeld 100">
            <a:extLst>
              <a:ext uri="{FF2B5EF4-FFF2-40B4-BE49-F238E27FC236}">
                <a16:creationId xmlns:a16="http://schemas.microsoft.com/office/drawing/2014/main" id="{0EBF3EC2-D4B9-873C-0EE8-DDF03B9DB4B7}"/>
              </a:ext>
            </a:extLst>
          </p:cNvPr>
          <p:cNvSpPr txBox="1"/>
          <p:nvPr/>
        </p:nvSpPr>
        <p:spPr>
          <a:xfrm>
            <a:off x="10571114" y="4931780"/>
            <a:ext cx="113995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/>
              <a:t>= 100 vessels</a:t>
            </a:r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8AF9803C-9415-C1A9-1584-36C2328B7D56}"/>
              </a:ext>
            </a:extLst>
          </p:cNvPr>
          <p:cNvSpPr txBox="1">
            <a:spLocks/>
          </p:cNvSpPr>
          <p:nvPr/>
        </p:nvSpPr>
        <p:spPr bwMode="gray">
          <a:xfrm>
            <a:off x="785019" y="5746165"/>
            <a:ext cx="10621962" cy="465356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68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317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96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06400" indent="-130175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40400" indent="-134938" algn="l" defTabSz="914400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35000"/>
              <a:buFont typeface="Arial" panose="020B0604020202020204" pitchFamily="34" charset="0"/>
              <a:buChar char="›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4637" lvl="3" indent="0" algn="ctr">
              <a:buNone/>
            </a:pPr>
            <a:r>
              <a:rPr lang="en-US" sz="1400" b="1" dirty="0">
                <a:solidFill>
                  <a:schemeClr val="bg1"/>
                </a:solidFill>
              </a:rPr>
              <a:t>IEA: </a:t>
            </a:r>
            <a:r>
              <a:rPr lang="en-US" sz="1400" dirty="0">
                <a:solidFill>
                  <a:schemeClr val="bg1"/>
                </a:solidFill>
              </a:rPr>
              <a:t>Meeting the potential tripling of NH</a:t>
            </a:r>
            <a:r>
              <a:rPr lang="en-US" sz="1400" baseline="-25000" dirty="0">
                <a:solidFill>
                  <a:schemeClr val="bg1"/>
                </a:solidFill>
              </a:rPr>
              <a:t>3</a:t>
            </a:r>
            <a:r>
              <a:rPr lang="en-US" sz="1400" dirty="0">
                <a:solidFill>
                  <a:schemeClr val="bg1"/>
                </a:solidFill>
              </a:rPr>
              <a:t> trade</a:t>
            </a:r>
            <a:r>
              <a:rPr lang="en-US" sz="1400" b="1" dirty="0">
                <a:solidFill>
                  <a:schemeClr val="bg1"/>
                </a:solidFill>
              </a:rPr>
              <a:t>, building enough NH</a:t>
            </a:r>
            <a:r>
              <a:rPr lang="en-US" sz="1400" b="1" baseline="-25000" dirty="0">
                <a:solidFill>
                  <a:schemeClr val="bg1"/>
                </a:solidFill>
              </a:rPr>
              <a:t>3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tankers could create </a:t>
            </a:r>
            <a:r>
              <a:rPr lang="en-US" sz="1400" b="1" dirty="0">
                <a:solidFill>
                  <a:schemeClr val="bg1"/>
                </a:solidFill>
              </a:rPr>
              <a:t>bottlenecks</a:t>
            </a:r>
            <a:r>
              <a:rPr lang="en-US" sz="1400" dirty="0">
                <a:solidFill>
                  <a:schemeClr val="bg1"/>
                </a:solidFill>
              </a:rPr>
              <a:t> in the short term.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FAAE0CF1-6A8E-6F19-F2B7-C95960E0F510}"/>
              </a:ext>
            </a:extLst>
          </p:cNvPr>
          <p:cNvGrpSpPr/>
          <p:nvPr/>
        </p:nvGrpSpPr>
        <p:grpSpPr>
          <a:xfrm>
            <a:off x="576902" y="5541723"/>
            <a:ext cx="462038" cy="465356"/>
            <a:chOff x="2317153" y="1843570"/>
            <a:chExt cx="462038" cy="465356"/>
          </a:xfrm>
        </p:grpSpPr>
        <p:sp>
          <p:nvSpPr>
            <p:cNvPr id="38" name="Oval 464">
              <a:extLst>
                <a:ext uri="{FF2B5EF4-FFF2-40B4-BE49-F238E27FC236}">
                  <a16:creationId xmlns:a16="http://schemas.microsoft.com/office/drawing/2014/main" id="{B0FEE393-C586-9080-F921-C24D53F443F8}"/>
                </a:ext>
              </a:extLst>
            </p:cNvPr>
            <p:cNvSpPr/>
            <p:nvPr/>
          </p:nvSpPr>
          <p:spPr>
            <a:xfrm>
              <a:off x="2317153" y="1843570"/>
              <a:ext cx="462038" cy="465356"/>
            </a:xfrm>
            <a:prstGeom prst="ellipse">
              <a:avLst/>
            </a:prstGeom>
            <a:ln w="190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en-US" sz="1100"/>
            </a:p>
          </p:txBody>
        </p:sp>
        <p:pic>
          <p:nvPicPr>
            <p:cNvPr id="39" name="Grafik 38" descr="Glühlampe mit einfarbiger Füllung">
              <a:extLst>
                <a:ext uri="{FF2B5EF4-FFF2-40B4-BE49-F238E27FC236}">
                  <a16:creationId xmlns:a16="http://schemas.microsoft.com/office/drawing/2014/main" id="{6F7AC8B9-02A9-C80A-D93D-43F2ECCDFBA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350172" y="1875544"/>
              <a:ext cx="396000" cy="396000"/>
            </a:xfrm>
            <a:prstGeom prst="rect">
              <a:avLst/>
            </a:prstGeom>
          </p:spPr>
        </p:pic>
      </p:grpSp>
      <p:sp>
        <p:nvSpPr>
          <p:cNvPr id="42" name="Textfeld 41">
            <a:extLst>
              <a:ext uri="{FF2B5EF4-FFF2-40B4-BE49-F238E27FC236}">
                <a16:creationId xmlns:a16="http://schemas.microsoft.com/office/drawing/2014/main" id="{BEB28C7F-B086-E2F2-D563-03492C3F2938}"/>
              </a:ext>
            </a:extLst>
          </p:cNvPr>
          <p:cNvSpPr txBox="1"/>
          <p:nvPr/>
        </p:nvSpPr>
        <p:spPr>
          <a:xfrm>
            <a:off x="2510205" y="6374829"/>
            <a:ext cx="6102853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900"/>
              <a:t>Source: IEA, Global Hydrogen Review 2023, Page 123</a:t>
            </a:r>
          </a:p>
        </p:txBody>
      </p:sp>
      <p:sp>
        <p:nvSpPr>
          <p:cNvPr id="43" name="Foliennummernplatzhalter 42">
            <a:extLst>
              <a:ext uri="{FF2B5EF4-FFF2-40B4-BE49-F238E27FC236}">
                <a16:creationId xmlns:a16="http://schemas.microsoft.com/office/drawing/2014/main" id="{44EEEA46-3885-FDBD-5ECC-55B9FCAA7F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16CC9-9B48-4AB1-835D-825C27545B86}" type="slidenum">
              <a:rPr lang="en-GB" noProof="0" smtClean="0"/>
              <a:t>9</a:t>
            </a:fld>
            <a:endParaRPr lang="en-GB" noProof="0"/>
          </a:p>
        </p:txBody>
      </p:sp>
      <p:sp>
        <p:nvSpPr>
          <p:cNvPr id="44" name="Fußzeilenplatzhalter 43">
            <a:extLst>
              <a:ext uri="{FF2B5EF4-FFF2-40B4-BE49-F238E27FC236}">
                <a16:creationId xmlns:a16="http://schemas.microsoft.com/office/drawing/2014/main" id="{BA121858-3E4B-129F-97CF-0666AEC746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H2-Transportoptionen | 15.12.2023</a:t>
            </a:r>
          </a:p>
        </p:txBody>
      </p:sp>
      <p:sp>
        <p:nvSpPr>
          <p:cNvPr id="45" name="Datumsplatzhalter 44">
            <a:extLst>
              <a:ext uri="{FF2B5EF4-FFF2-40B4-BE49-F238E27FC236}">
                <a16:creationId xmlns:a16="http://schemas.microsoft.com/office/drawing/2014/main" id="{D96D267B-9B9A-44A2-4D70-6758B4508F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/>
              <a:t>Public | Hydrogenious LOHC Technologies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4931556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1e2add2b-042c-4558-90a7-7ea90fc313d2"/>
</p:tagLst>
</file>

<file path=ppt/theme/theme1.xml><?xml version="1.0" encoding="utf-8"?>
<a:theme xmlns:a="http://schemas.openxmlformats.org/drawingml/2006/main" name="Hydrogenious">
  <a:themeElements>
    <a:clrScheme name="Benutzerdefiniert 36">
      <a:dk1>
        <a:sysClr val="windowText" lastClr="000000"/>
      </a:dk1>
      <a:lt1>
        <a:sysClr val="window" lastClr="FFFFFF"/>
      </a:lt1>
      <a:dk2>
        <a:srgbClr val="D1CFCB"/>
      </a:dk2>
      <a:lt2>
        <a:srgbClr val="F9F7F3"/>
      </a:lt2>
      <a:accent1>
        <a:srgbClr val="FD445A"/>
      </a:accent1>
      <a:accent2>
        <a:srgbClr val="6400A0"/>
      </a:accent2>
      <a:accent3>
        <a:srgbClr val="8CC8E3"/>
      </a:accent3>
      <a:accent4>
        <a:srgbClr val="A3D1AF"/>
      </a:accent4>
      <a:accent5>
        <a:srgbClr val="D1CFCB"/>
      </a:accent5>
      <a:accent6>
        <a:srgbClr val="000000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lnSpc>
            <a:spcPct val="130000"/>
          </a:lnSpc>
          <a:defRPr sz="11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algn="l">
          <a:lnSpc>
            <a:spcPct val="130000"/>
          </a:lnSpc>
          <a:defRPr sz="11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DG_PowerPoint_Template_10-2022_B_akt_gült_Stand.pptx" id="{880D91DC-5DAA-4627-89C1-68A30FD12B1B}" vid="{36B5481B-DE83-413A-9ABA-72959B15BF66}"/>
    </a:ext>
  </a:extLst>
</a:theme>
</file>

<file path=ppt/theme/theme2.xml><?xml version="1.0" encoding="utf-8"?>
<a:theme xmlns:a="http://schemas.openxmlformats.org/drawingml/2006/main" name="Office">
  <a:themeElements>
    <a:clrScheme name="Benutzerdefiniert 277">
      <a:dk1>
        <a:sysClr val="windowText" lastClr="000000"/>
      </a:dk1>
      <a:lt1>
        <a:sysClr val="window" lastClr="FFFFFF"/>
      </a:lt1>
      <a:dk2>
        <a:srgbClr val="D1CFCB"/>
      </a:dk2>
      <a:lt2>
        <a:srgbClr val="D1CFCB"/>
      </a:lt2>
      <a:accent1>
        <a:srgbClr val="FD445A"/>
      </a:accent1>
      <a:accent2>
        <a:srgbClr val="6400A0"/>
      </a:accent2>
      <a:accent3>
        <a:srgbClr val="8CC8E3"/>
      </a:accent3>
      <a:accent4>
        <a:srgbClr val="A3D1AF"/>
      </a:accent4>
      <a:accent5>
        <a:srgbClr val="D1CFCB"/>
      </a:accent5>
      <a:accent6>
        <a:srgbClr val="000000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Benutzerdefiniert 277">
      <a:dk1>
        <a:sysClr val="windowText" lastClr="000000"/>
      </a:dk1>
      <a:lt1>
        <a:sysClr val="window" lastClr="FFFFFF"/>
      </a:lt1>
      <a:dk2>
        <a:srgbClr val="D1CFCB"/>
      </a:dk2>
      <a:lt2>
        <a:srgbClr val="D1CFCB"/>
      </a:lt2>
      <a:accent1>
        <a:srgbClr val="FD445A"/>
      </a:accent1>
      <a:accent2>
        <a:srgbClr val="6400A0"/>
      </a:accent2>
      <a:accent3>
        <a:srgbClr val="8CC8E3"/>
      </a:accent3>
      <a:accent4>
        <a:srgbClr val="A3D1AF"/>
      </a:accent4>
      <a:accent5>
        <a:srgbClr val="D1CFCB"/>
      </a:accent5>
      <a:accent6>
        <a:srgbClr val="000000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co</Template>
  <TotalTime>0</TotalTime>
  <Words>1115</Words>
  <Application>Microsoft Office PowerPoint</Application>
  <PresentationFormat>Breitbild</PresentationFormat>
  <Paragraphs>222</Paragraphs>
  <Slides>16</Slides>
  <Notes>1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0" baseType="lpstr">
      <vt:lpstr>Arial</vt:lpstr>
      <vt:lpstr>Calibri</vt:lpstr>
      <vt:lpstr>Times New Roman</vt:lpstr>
      <vt:lpstr>Hydrogenious</vt:lpstr>
      <vt:lpstr>H2-Transportoptionen</vt:lpstr>
      <vt:lpstr>PowerPoint-Präsentation</vt:lpstr>
      <vt:lpstr>What I am not focusing on</vt:lpstr>
      <vt:lpstr>There are three relevant criteria for evaluating hydrogen transport options </vt:lpstr>
      <vt:lpstr>1. Cost Efficiency</vt:lpstr>
      <vt:lpstr>The cost efficiency is heavily depending on the assumptions of the model</vt:lpstr>
      <vt:lpstr>PowerPoint-Präsentation</vt:lpstr>
      <vt:lpstr>2. Availability</vt:lpstr>
      <vt:lpstr>The availability of the transport option can be a huge bottleneck</vt:lpstr>
      <vt:lpstr>TRL - all technologies still have to mature and be scaled up to ensure availability</vt:lpstr>
      <vt:lpstr>3. Safety</vt:lpstr>
      <vt:lpstr>How can we enable a safe hydrogen supply chain?</vt:lpstr>
      <vt:lpstr>Always look at all these criteria to evaluate H2  transport options</vt:lpstr>
      <vt:lpstr>Let’s carry the  new energy world  together.</vt:lpstr>
      <vt:lpstr>How to locally store the transported hydrogen? Especially, if natural gas storage not sufficient/not usable for hydrogen</vt:lpstr>
      <vt:lpstr>Qualitative Comparison of Hydrogen Transport Op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to edit master title style  topic of the presentation</dc:title>
  <dc:creator>Dominik Bruckner</dc:creator>
  <cp:lastModifiedBy>Markus Albuscheit</cp:lastModifiedBy>
  <cp:revision>1</cp:revision>
  <dcterms:created xsi:type="dcterms:W3CDTF">2023-09-01T07:09:04Z</dcterms:created>
  <dcterms:modified xsi:type="dcterms:W3CDTF">2023-12-15T08:03:43Z</dcterms:modified>
</cp:coreProperties>
</file>